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heme/theme2.xml" ContentType="application/vnd.openxmlformats-officedocument.theme+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theme/theme4.xml" ContentType="application/vnd.openxmlformats-officedocument.theme+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theme/theme5.xml" ContentType="application/vnd.openxmlformats-officedocument.theme+xml"/>
  <Override PartName="/ppt/tags/tag2.xml" ContentType="application/vnd.openxmlformats-officedocument.presentationml.tags+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theme/theme6.xml" ContentType="application/vnd.openxmlformats-officedocument.theme+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theme/theme7.xml" ContentType="application/vnd.openxmlformats-officedocument.theme+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theme/theme8.xml" ContentType="application/vnd.openxmlformats-officedocument.theme+xml"/>
  <Override PartName="/ppt/tags/tag3.xml" ContentType="application/vnd.openxmlformats-officedocument.presentationml.tags+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theme/theme9.xml" ContentType="application/vnd.openxmlformats-officedocument.theme+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theme/theme10.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heme/theme11.xml" ContentType="application/vnd.openxmlformats-officedocument.theme+xml"/>
  <Override PartName="/ppt/theme/theme1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0" r:id="rId4"/>
    <p:sldMasterId id="2147483694" r:id="rId5"/>
    <p:sldMasterId id="2147483702" r:id="rId6"/>
    <p:sldMasterId id="2147483712" r:id="rId7"/>
    <p:sldMasterId id="2147483722" r:id="rId8"/>
    <p:sldMasterId id="2147483738" r:id="rId9"/>
    <p:sldMasterId id="2147483749" r:id="rId10"/>
    <p:sldMasterId id="2147483775" r:id="rId11"/>
    <p:sldMasterId id="2147483787" r:id="rId12"/>
    <p:sldMasterId id="2147483790" r:id="rId13"/>
  </p:sldMasterIdLst>
  <p:notesMasterIdLst>
    <p:notesMasterId r:id="rId23"/>
  </p:notesMasterIdLst>
  <p:handoutMasterIdLst>
    <p:handoutMasterId r:id="rId24"/>
  </p:handoutMasterIdLst>
  <p:sldIdLst>
    <p:sldId id="2147481801" r:id="rId14"/>
    <p:sldId id="2147483537" r:id="rId15"/>
    <p:sldId id="2147481810" r:id="rId16"/>
    <p:sldId id="262" r:id="rId17"/>
    <p:sldId id="2147483540" r:id="rId18"/>
    <p:sldId id="313" r:id="rId19"/>
    <p:sldId id="2147483538" r:id="rId20"/>
    <p:sldId id="2147481797" r:id="rId21"/>
    <p:sldId id="2147483541" r:id="rId22"/>
  </p:sldIdLst>
  <p:sldSz cx="12192000" cy="6858000"/>
  <p:notesSz cx="6735763" cy="9866313"/>
  <p:defaultTextStyle>
    <a:defPPr>
      <a:defRPr lang="ja-JP"/>
    </a:defPPr>
    <a:lvl1pPr marL="0" algn="l" defTabSz="478835" rtl="0" eaLnBrk="1" latinLnBrk="0" hangingPunct="1">
      <a:defRPr kumimoji="1" sz="1900" kern="1200">
        <a:solidFill>
          <a:schemeClr val="tx1"/>
        </a:solidFill>
        <a:latin typeface="+mn-lt"/>
        <a:ea typeface="+mn-ea"/>
        <a:cs typeface="+mn-cs"/>
      </a:defRPr>
    </a:lvl1pPr>
    <a:lvl2pPr marL="478835" algn="l" defTabSz="478835" rtl="0" eaLnBrk="1" latinLnBrk="0" hangingPunct="1">
      <a:defRPr kumimoji="1" sz="1900" kern="1200">
        <a:solidFill>
          <a:schemeClr val="tx1"/>
        </a:solidFill>
        <a:latin typeface="+mn-lt"/>
        <a:ea typeface="+mn-ea"/>
        <a:cs typeface="+mn-cs"/>
      </a:defRPr>
    </a:lvl2pPr>
    <a:lvl3pPr marL="957669" algn="l" defTabSz="478835" rtl="0" eaLnBrk="1" latinLnBrk="0" hangingPunct="1">
      <a:defRPr kumimoji="1" sz="1900" kern="1200">
        <a:solidFill>
          <a:schemeClr val="tx1"/>
        </a:solidFill>
        <a:latin typeface="+mn-lt"/>
        <a:ea typeface="+mn-ea"/>
        <a:cs typeface="+mn-cs"/>
      </a:defRPr>
    </a:lvl3pPr>
    <a:lvl4pPr marL="1436504" algn="l" defTabSz="478835" rtl="0" eaLnBrk="1" latinLnBrk="0" hangingPunct="1">
      <a:defRPr kumimoji="1" sz="1900" kern="1200">
        <a:solidFill>
          <a:schemeClr val="tx1"/>
        </a:solidFill>
        <a:latin typeface="+mn-lt"/>
        <a:ea typeface="+mn-ea"/>
        <a:cs typeface="+mn-cs"/>
      </a:defRPr>
    </a:lvl4pPr>
    <a:lvl5pPr marL="1915339" algn="l" defTabSz="478835" rtl="0" eaLnBrk="1" latinLnBrk="0" hangingPunct="1">
      <a:defRPr kumimoji="1" sz="1900" kern="1200">
        <a:solidFill>
          <a:schemeClr val="tx1"/>
        </a:solidFill>
        <a:latin typeface="+mn-lt"/>
        <a:ea typeface="+mn-ea"/>
        <a:cs typeface="+mn-cs"/>
      </a:defRPr>
    </a:lvl5pPr>
    <a:lvl6pPr marL="2394172" algn="l" defTabSz="478835" rtl="0" eaLnBrk="1" latinLnBrk="0" hangingPunct="1">
      <a:defRPr kumimoji="1" sz="1900" kern="1200">
        <a:solidFill>
          <a:schemeClr val="tx1"/>
        </a:solidFill>
        <a:latin typeface="+mn-lt"/>
        <a:ea typeface="+mn-ea"/>
        <a:cs typeface="+mn-cs"/>
      </a:defRPr>
    </a:lvl6pPr>
    <a:lvl7pPr marL="2873008" algn="l" defTabSz="478835" rtl="0" eaLnBrk="1" latinLnBrk="0" hangingPunct="1">
      <a:defRPr kumimoji="1" sz="1900" kern="1200">
        <a:solidFill>
          <a:schemeClr val="tx1"/>
        </a:solidFill>
        <a:latin typeface="+mn-lt"/>
        <a:ea typeface="+mn-ea"/>
        <a:cs typeface="+mn-cs"/>
      </a:defRPr>
    </a:lvl7pPr>
    <a:lvl8pPr marL="3351843" algn="l" defTabSz="478835" rtl="0" eaLnBrk="1" latinLnBrk="0" hangingPunct="1">
      <a:defRPr kumimoji="1" sz="1900" kern="1200">
        <a:solidFill>
          <a:schemeClr val="tx1"/>
        </a:solidFill>
        <a:latin typeface="+mn-lt"/>
        <a:ea typeface="+mn-ea"/>
        <a:cs typeface="+mn-cs"/>
      </a:defRPr>
    </a:lvl8pPr>
    <a:lvl9pPr marL="3830677" algn="l" defTabSz="478835" rtl="0" eaLnBrk="1" latinLnBrk="0" hangingPunct="1">
      <a:defRPr kumimoji="1" sz="1900" kern="1200">
        <a:solidFill>
          <a:schemeClr val="tx1"/>
        </a:solidFill>
        <a:latin typeface="+mn-lt"/>
        <a:ea typeface="+mn-ea"/>
        <a:cs typeface="+mn-cs"/>
      </a:defRPr>
    </a:lvl9pPr>
  </p:defaultTextStyle>
  <p:extLst>
    <p:ext uri="{521415D9-36F7-43E2-AB2F-B90AF26B5E84}">
      <p14:sectionLst xmlns:p14="http://schemas.microsoft.com/office/powerpoint/2010/main">
        <p14:section name="生涯としてやりたいこと" id="{E63FBC37-0C54-4AF2-90FF-C754832FEA89}">
          <p14:sldIdLst>
            <p14:sldId id="2147481801"/>
            <p14:sldId id="2147483537"/>
            <p14:sldId id="2147481810"/>
            <p14:sldId id="262"/>
            <p14:sldId id="2147483540"/>
            <p14:sldId id="313"/>
            <p14:sldId id="2147483538"/>
            <p14:sldId id="2147481797"/>
            <p14:sldId id="2147483541"/>
          </p14:sldIdLst>
        </p14:section>
        <p14:section name="既定のセクション" id="{E8C8CCC5-53E4-416B-A492-55CA8148CDF8}">
          <p14:sldIdLst/>
        </p14:section>
      </p14:sectionLst>
    </p:ext>
    <p:ext uri="{EFAFB233-063F-42B5-8137-9DF3F51BA10A}">
      <p15:sldGuideLst xmlns:p15="http://schemas.microsoft.com/office/powerpoint/2012/main">
        <p15:guide id="1" orient="horz" pos="4030" userDrawn="1">
          <p15:clr>
            <a:srgbClr val="A4A3A4"/>
          </p15:clr>
        </p15:guide>
        <p15:guide id="2" pos="7467"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CE6F2"/>
    <a:srgbClr val="4F81BD"/>
    <a:srgbClr val="CCFF99"/>
    <a:srgbClr val="B7F094"/>
    <a:srgbClr val="0000FF"/>
    <a:srgbClr val="D3E7F9"/>
    <a:srgbClr val="D6F0D8"/>
    <a:srgbClr val="003399"/>
    <a:srgbClr val="BEF8ED"/>
    <a:srgbClr val="FFFFFF"/>
  </p:clrMru>
  <p:extLst>
    <p:ext uri="{E76CE94A-603C-4142-B9EB-6D1370010A27}">
      <p14:discardImageEditData xmlns:p14="http://schemas.microsoft.com/office/powerpoint/2010/main" val="0"/>
    </p:ext>
    <p:ext uri="{D31A062A-798A-4329-ABDD-BBA856620510}">
      <p14:defaultImageDpi xmlns:p14="http://schemas.microsoft.com/office/powerpoint/2010/main" val="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E173A7D-8B66-4F68-A2A9-C70DC604F0B1}" vWet="8" dt="2025-04-30T02:56:42.152"/>
    <p1510:client id="{59853F53-FA96-42B5-BE18-09991C8E66AD}" v="4293" dt="2025-04-30T08:53:10.520"/>
  </p1510:revLst>
</p1510:revInfo>
</file>

<file path=ppt/tableStyles.xml><?xml version="1.0" encoding="utf-8"?>
<a:tblStyleLst xmlns:a="http://schemas.openxmlformats.org/drawingml/2006/main" def="{5C22544A-7EE6-4342-B048-85BDC9FD1C3A}">
  <a:tblStyle styleId="{5C22544A-7EE6-4342-B048-85BDC9FD1C3A}" styleName="中間 2 - アクセント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スタイル/表のグリッド線なし">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F5AB1C69-6EDB-4FF4-983F-18BD219EF322}" styleName="中間スタイル 2 - アクセント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5A111915-BE36-4E01-A7E5-04B1672EAD32}" styleName="淡色スタイル 2 - アクセント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 styleId="{17292A2E-F333-43FB-9621-5CBBE7FDCDCB}" styleName="淡色スタイル 2 - アクセント 4">
    <a:wholeTbl>
      <a:tcTxStyle>
        <a:fontRef idx="minor">
          <a:scrgbClr r="0" g="0" b="0"/>
        </a:fontRef>
        <a:schemeClr val="tx1"/>
      </a:tcTxStyle>
      <a:tcStyle>
        <a:tcBdr>
          <a:left>
            <a:lnRef idx="1">
              <a:schemeClr val="accent4"/>
            </a:lnRef>
          </a:left>
          <a:right>
            <a:lnRef idx="1">
              <a:schemeClr val="accent4"/>
            </a:lnRef>
          </a:right>
          <a:top>
            <a:lnRef idx="1">
              <a:schemeClr val="accent4"/>
            </a:lnRef>
          </a:top>
          <a:bottom>
            <a:lnRef idx="1">
              <a:schemeClr val="accent4"/>
            </a:lnRef>
          </a:bottom>
          <a:insideH>
            <a:ln>
              <a:noFill/>
            </a:ln>
          </a:insideH>
          <a:insideV>
            <a:ln>
              <a:noFill/>
            </a:ln>
          </a:insideV>
        </a:tcBdr>
        <a:fill>
          <a:noFill/>
        </a:fill>
      </a:tcStyle>
    </a:wholeTbl>
    <a:band1H>
      <a:tcStyle>
        <a:tcBdr>
          <a:top>
            <a:lnRef idx="1">
              <a:schemeClr val="accent4"/>
            </a:lnRef>
          </a:top>
          <a:bottom>
            <a:lnRef idx="1">
              <a:schemeClr val="accent4"/>
            </a:lnRef>
          </a:bottom>
        </a:tcBdr>
      </a:tcStyle>
    </a:band1H>
    <a:band1V>
      <a:tcStyle>
        <a:tcBdr>
          <a:left>
            <a:lnRef idx="1">
              <a:schemeClr val="accent4"/>
            </a:lnRef>
          </a:left>
          <a:right>
            <a:lnRef idx="1">
              <a:schemeClr val="accent4"/>
            </a:lnRef>
          </a:right>
        </a:tcBdr>
      </a:tcStyle>
    </a:band1V>
    <a:band2V>
      <a:tcStyle>
        <a:tcBdr>
          <a:left>
            <a:lnRef idx="1">
              <a:schemeClr val="accent4"/>
            </a:lnRef>
          </a:left>
          <a:right>
            <a:lnRef idx="1">
              <a:schemeClr val="accent4"/>
            </a:lnRef>
          </a:right>
        </a:tcBdr>
      </a:tcStyle>
    </a:band2V>
    <a:lastCol>
      <a:tcTxStyle b="on"/>
      <a:tcStyle>
        <a:tcBdr/>
      </a:tcStyle>
    </a:lastCol>
    <a:firstCol>
      <a:tcTxStyle b="on"/>
      <a:tcStyle>
        <a:tcBdr/>
      </a:tcStyle>
    </a:firstCol>
    <a:lastRow>
      <a:tcTxStyle b="on"/>
      <a:tcStyle>
        <a:tcBdr>
          <a:top>
            <a:ln w="50800" cmpd="dbl">
              <a:solidFill>
                <a:schemeClr val="accent4"/>
              </a:solidFill>
            </a:ln>
          </a:top>
        </a:tcBdr>
      </a:tcStyle>
    </a:lastRow>
    <a:firstRow>
      <a:tcTxStyle b="on">
        <a:fontRef idx="minor">
          <a:scrgbClr r="0" g="0" b="0"/>
        </a:fontRef>
        <a:schemeClr val="bg1"/>
      </a:tcTxStyle>
      <a:tcStyle>
        <a:tcBdr/>
        <a:fillRef idx="1">
          <a:schemeClr val="accent4"/>
        </a:fillRef>
      </a:tcStyle>
    </a:firstRow>
  </a:tblStyle>
  <a:tblStyle styleId="{912C8C85-51F0-491E-9774-3900AFEF0FD7}" styleName="淡色スタイル 2 - アクセント 6">
    <a:wholeTbl>
      <a:tcTxStyle>
        <a:fontRef idx="minor">
          <a:scrgbClr r="0" g="0" b="0"/>
        </a:fontRef>
        <a:schemeClr val="tx1"/>
      </a:tcTxStyle>
      <a:tcStyle>
        <a:tcBdr>
          <a:left>
            <a:lnRef idx="1">
              <a:schemeClr val="accent6"/>
            </a:lnRef>
          </a:left>
          <a:right>
            <a:lnRef idx="1">
              <a:schemeClr val="accent6"/>
            </a:lnRef>
          </a:right>
          <a:top>
            <a:lnRef idx="1">
              <a:schemeClr val="accent6"/>
            </a:lnRef>
          </a:top>
          <a:bottom>
            <a:lnRef idx="1">
              <a:schemeClr val="accent6"/>
            </a:lnRef>
          </a:bottom>
          <a:insideH>
            <a:ln>
              <a:noFill/>
            </a:ln>
          </a:insideH>
          <a:insideV>
            <a:ln>
              <a:noFill/>
            </a:ln>
          </a:insideV>
        </a:tcBdr>
        <a:fill>
          <a:noFill/>
        </a:fill>
      </a:tcStyle>
    </a:wholeTbl>
    <a:band1H>
      <a:tcStyle>
        <a:tcBdr>
          <a:top>
            <a:lnRef idx="1">
              <a:schemeClr val="accent6"/>
            </a:lnRef>
          </a:top>
          <a:bottom>
            <a:lnRef idx="1">
              <a:schemeClr val="accent6"/>
            </a:lnRef>
          </a:bottom>
        </a:tcBdr>
      </a:tcStyle>
    </a:band1H>
    <a:band1V>
      <a:tcStyle>
        <a:tcBdr>
          <a:left>
            <a:lnRef idx="1">
              <a:schemeClr val="accent6"/>
            </a:lnRef>
          </a:left>
          <a:right>
            <a:lnRef idx="1">
              <a:schemeClr val="accent6"/>
            </a:lnRef>
          </a:right>
        </a:tcBdr>
      </a:tcStyle>
    </a:band1V>
    <a:band2V>
      <a:tcStyle>
        <a:tcBdr>
          <a:left>
            <a:lnRef idx="1">
              <a:schemeClr val="accent6"/>
            </a:lnRef>
          </a:left>
          <a:right>
            <a:lnRef idx="1">
              <a:schemeClr val="accent6"/>
            </a:lnRef>
          </a:right>
        </a:tcBdr>
      </a:tcStyle>
    </a:band2V>
    <a:lastCol>
      <a:tcTxStyle b="on"/>
      <a:tcStyle>
        <a:tcBdr/>
      </a:tcStyle>
    </a:lastCol>
    <a:firstCol>
      <a:tcTxStyle b="on"/>
      <a:tcStyle>
        <a:tcBdr/>
      </a:tcStyle>
    </a:firstCol>
    <a:lastRow>
      <a:tcTxStyle b="on"/>
      <a:tcStyle>
        <a:tcBdr>
          <a:top>
            <a:ln w="50800" cmpd="dbl">
              <a:solidFill>
                <a:schemeClr val="accent6"/>
              </a:solidFill>
            </a:ln>
          </a:top>
        </a:tcBdr>
      </a:tcStyle>
    </a:lastRow>
    <a:firstRow>
      <a:tcTxStyle b="on">
        <a:fontRef idx="minor">
          <a:scrgbClr r="0" g="0" b="0"/>
        </a:fontRef>
        <a:schemeClr val="bg1"/>
      </a:tcTxStyle>
      <a:tcStyle>
        <a:tcBdr/>
        <a:fillRef idx="1">
          <a:schemeClr val="accent6"/>
        </a:fillRef>
      </a:tcStyle>
    </a:firstRow>
  </a:tblStyle>
  <a:tblStyle styleId="{69012ECD-51FC-41F1-AA8D-1B2483CD663E}" styleName="淡色スタイル 2 - アクセント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72833802-FEF1-4C79-8D5D-14CF1EAF98D9}" styleName="淡色スタイル 2 - アクセント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FABFCF23-3B69-468F-B69F-88F6DE6A72F2}" styleName="中間スタイル 1 - アクセント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00A15C55-8517-42AA-B614-E9B94910E393}" styleName="中間スタイル 2 - アクセント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7DF18680-E054-41AD-8BC1-D1AEF772440D}" styleName="中間スタイル 2 - アクセント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93296810-A885-4BE3-A3E7-6D5BEEA58F35}" styleName="中間スタイル 2 - アクセント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22838BEF-8BB2-4498-84A7-C5851F593DF1}" styleName="中間スタイル 4 - アクセント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25400" cmpd="sng">
              <a:solidFill>
                <a:schemeClr val="accent5"/>
              </a:solidFill>
            </a:ln>
          </a:top>
        </a:tcBdr>
        <a:fill>
          <a:solidFill>
            <a:schemeClr val="accent5">
              <a:tint val="20000"/>
            </a:schemeClr>
          </a:solidFill>
        </a:fill>
      </a:tcStyle>
    </a:lastRow>
    <a:firstRow>
      <a:tcTxStyle b="on"/>
      <a:tcStyle>
        <a:tcBdr/>
        <a:fill>
          <a:solidFill>
            <a:schemeClr val="accent5">
              <a:tint val="20000"/>
            </a:schemeClr>
          </a:solidFill>
        </a:fill>
      </a:tcStyle>
    </a:firstRow>
  </a:tblStyle>
  <a:tblStyle styleId="{5940675A-B579-460E-94D1-54222C63F5DA}" styleName="スタイルなし、表のグリッド線あり">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9D7B26C5-4107-4FEC-AEDC-1716B250A1EF}" styleName="スタイル (淡色)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p:scale>
          <a:sx n="75" d="100"/>
          <a:sy n="75" d="100"/>
        </p:scale>
        <p:origin x="702" y="264"/>
      </p:cViewPr>
      <p:guideLst>
        <p:guide orient="horz" pos="4030"/>
        <p:guide pos="7467"/>
      </p:guideLst>
    </p:cSldViewPr>
  </p:slideViewPr>
  <p:notesTextViewPr>
    <p:cViewPr>
      <p:scale>
        <a:sx n="1" d="1"/>
        <a:sy n="1" d="1"/>
      </p:scale>
      <p:origin x="0" y="0"/>
    </p:cViewPr>
  </p:notesTextViewPr>
  <p:notesViewPr>
    <p:cSldViewPr snapToGrid="0">
      <p:cViewPr varScale="1">
        <p:scale>
          <a:sx n="66" d="100"/>
          <a:sy n="66" d="100"/>
        </p:scale>
        <p:origin x="0" y="0"/>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Master" Target="slideMasters/slideMaster10.xml"/><Relationship Id="rId18" Type="http://schemas.openxmlformats.org/officeDocument/2006/relationships/slide" Target="slides/slide5.xml"/><Relationship Id="rId26" Type="http://schemas.openxmlformats.org/officeDocument/2006/relationships/viewProps" Target="viewProps.xml"/><Relationship Id="rId3" Type="http://schemas.openxmlformats.org/officeDocument/2006/relationships/customXml" Target="../customXml/item3.xml"/><Relationship Id="rId21" Type="http://schemas.openxmlformats.org/officeDocument/2006/relationships/slide" Target="slides/slide8.xml"/><Relationship Id="rId7" Type="http://schemas.openxmlformats.org/officeDocument/2006/relationships/slideMaster" Target="slideMasters/slideMaster4.xml"/><Relationship Id="rId12" Type="http://schemas.openxmlformats.org/officeDocument/2006/relationships/slideMaster" Target="slideMasters/slideMaster9.xml"/><Relationship Id="rId17" Type="http://schemas.openxmlformats.org/officeDocument/2006/relationships/slide" Target="slides/slide4.xml"/><Relationship Id="rId25"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 Target="slides/slide3.xml"/><Relationship Id="rId20" Type="http://schemas.openxmlformats.org/officeDocument/2006/relationships/slide" Target="slides/slide7.xml"/><Relationship Id="rId29" Type="http://schemas.microsoft.com/office/2015/10/relationships/revisionInfo" Target="revisionInfo.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handoutMaster" Target="handoutMasters/handoutMaster1.xml"/><Relationship Id="rId5" Type="http://schemas.openxmlformats.org/officeDocument/2006/relationships/slideMaster" Target="slideMasters/slideMaster2.xml"/><Relationship Id="rId15" Type="http://schemas.openxmlformats.org/officeDocument/2006/relationships/slide" Target="slides/slide2.xml"/><Relationship Id="rId23" Type="http://schemas.openxmlformats.org/officeDocument/2006/relationships/notesMaster" Target="notesMasters/notesMaster1.xml"/><Relationship Id="rId28" Type="http://schemas.openxmlformats.org/officeDocument/2006/relationships/tableStyles" Target="tableStyles.xml"/><Relationship Id="rId10" Type="http://schemas.openxmlformats.org/officeDocument/2006/relationships/slideMaster" Target="slideMasters/slideMaster7.xml"/><Relationship Id="rId19" Type="http://schemas.openxmlformats.org/officeDocument/2006/relationships/slide" Target="slides/slide6.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1.xml"/><Relationship Id="rId22" Type="http://schemas.openxmlformats.org/officeDocument/2006/relationships/slide" Target="slides/slide9.xml"/><Relationship Id="rId27" Type="http://schemas.openxmlformats.org/officeDocument/2006/relationships/theme" Target="theme/theme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2.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0" y="0"/>
            <a:ext cx="2918831" cy="493316"/>
          </a:xfrm>
          <a:prstGeom prst="rect">
            <a:avLst/>
          </a:prstGeom>
        </p:spPr>
        <p:txBody>
          <a:bodyPr vert="horz" lIns="91440" tIns="45720" rIns="91440" bIns="45720" rtlCol="0"/>
          <a:lstStyle>
            <a:lvl1pPr algn="l">
              <a:defRPr sz="1200"/>
            </a:lvl1pPr>
          </a:lstStyle>
          <a:p>
            <a:endParaRPr kumimoji="1" lang="ja-JP" altLang="en-US">
              <a:latin typeface="ＭＳ Ｐゴシック"/>
            </a:endParaRPr>
          </a:p>
        </p:txBody>
      </p:sp>
      <p:sp>
        <p:nvSpPr>
          <p:cNvPr id="3" name="日付プレースホルダー 2"/>
          <p:cNvSpPr>
            <a:spLocks noGrp="1"/>
          </p:cNvSpPr>
          <p:nvPr>
            <p:ph type="dt" sz="quarter" idx="1"/>
          </p:nvPr>
        </p:nvSpPr>
        <p:spPr>
          <a:xfrm>
            <a:off x="3815373" y="0"/>
            <a:ext cx="2918831" cy="493316"/>
          </a:xfrm>
          <a:prstGeom prst="rect">
            <a:avLst/>
          </a:prstGeom>
        </p:spPr>
        <p:txBody>
          <a:bodyPr vert="horz" lIns="91440" tIns="45720" rIns="91440" bIns="45720" rtlCol="0"/>
          <a:lstStyle>
            <a:lvl1pPr algn="r">
              <a:defRPr sz="1200"/>
            </a:lvl1pPr>
          </a:lstStyle>
          <a:p>
            <a:fld id="{7F55A931-9A66-C143-BC65-5A2464BB4B36}" type="datetimeFigureOut">
              <a:rPr kumimoji="1" lang="ja-JP" altLang="en-US" smtClean="0">
                <a:latin typeface="ＭＳ Ｐゴシック"/>
              </a:rPr>
              <a:t>2025/4/30</a:t>
            </a:fld>
            <a:endParaRPr kumimoji="1" lang="ja-JP" altLang="en-US">
              <a:latin typeface="ＭＳ Ｐゴシック"/>
            </a:endParaRPr>
          </a:p>
        </p:txBody>
      </p:sp>
      <p:sp>
        <p:nvSpPr>
          <p:cNvPr id="4" name="フッター プレースホルダー 3"/>
          <p:cNvSpPr>
            <a:spLocks noGrp="1"/>
          </p:cNvSpPr>
          <p:nvPr>
            <p:ph type="ftr" sz="quarter" idx="2"/>
          </p:nvPr>
        </p:nvSpPr>
        <p:spPr>
          <a:xfrm>
            <a:off x="0" y="9371285"/>
            <a:ext cx="2918831" cy="493316"/>
          </a:xfrm>
          <a:prstGeom prst="rect">
            <a:avLst/>
          </a:prstGeom>
        </p:spPr>
        <p:txBody>
          <a:bodyPr vert="horz" lIns="91440" tIns="45720" rIns="91440" bIns="45720" rtlCol="0" anchor="b"/>
          <a:lstStyle>
            <a:lvl1pPr algn="l">
              <a:defRPr sz="1200"/>
            </a:lvl1pPr>
          </a:lstStyle>
          <a:p>
            <a:endParaRPr kumimoji="1" lang="ja-JP" altLang="en-US">
              <a:latin typeface="ＭＳ Ｐゴシック"/>
            </a:endParaRPr>
          </a:p>
        </p:txBody>
      </p:sp>
      <p:sp>
        <p:nvSpPr>
          <p:cNvPr id="5" name="スライド番号プレースホルダー 4"/>
          <p:cNvSpPr>
            <a:spLocks noGrp="1"/>
          </p:cNvSpPr>
          <p:nvPr>
            <p:ph type="sldNum" sz="quarter" idx="3"/>
          </p:nvPr>
        </p:nvSpPr>
        <p:spPr>
          <a:xfrm>
            <a:off x="3815373" y="9371285"/>
            <a:ext cx="2918831" cy="493316"/>
          </a:xfrm>
          <a:prstGeom prst="rect">
            <a:avLst/>
          </a:prstGeom>
        </p:spPr>
        <p:txBody>
          <a:bodyPr vert="horz" lIns="91440" tIns="45720" rIns="91440" bIns="45720" rtlCol="0" anchor="b"/>
          <a:lstStyle>
            <a:lvl1pPr algn="r">
              <a:defRPr sz="1200"/>
            </a:lvl1pPr>
          </a:lstStyle>
          <a:p>
            <a:fld id="{14CC1577-AC07-DC45-91A8-9E0FD10C6129}" type="slidenum">
              <a:rPr kumimoji="1" lang="ja-JP" altLang="en-US" smtClean="0">
                <a:latin typeface="ＭＳ Ｐゴシック"/>
              </a:rPr>
              <a:t>‹#›</a:t>
            </a:fld>
            <a:endParaRPr kumimoji="1" lang="ja-JP" altLang="en-US">
              <a:latin typeface="ＭＳ Ｐゴシック"/>
            </a:endParaRPr>
          </a:p>
        </p:txBody>
      </p:sp>
    </p:spTree>
    <p:extLst>
      <p:ext uri="{BB962C8B-B14F-4D97-AF65-F5344CB8AC3E}">
        <p14:creationId xmlns:p14="http://schemas.microsoft.com/office/powerpoint/2010/main" val="1375177444"/>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1.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0" y="0"/>
            <a:ext cx="2918831" cy="493316"/>
          </a:xfrm>
          <a:prstGeom prst="rect">
            <a:avLst/>
          </a:prstGeom>
        </p:spPr>
        <p:txBody>
          <a:bodyPr vert="horz" lIns="91440" tIns="45720" rIns="91440" bIns="45720" rtlCol="0"/>
          <a:lstStyle>
            <a:lvl1pPr algn="l">
              <a:defRPr sz="1200">
                <a:latin typeface="ＭＳ Ｐゴシック"/>
              </a:defRPr>
            </a:lvl1pPr>
          </a:lstStyle>
          <a:p>
            <a:endParaRPr lang="ja-JP" altLang="en-US"/>
          </a:p>
        </p:txBody>
      </p:sp>
      <p:sp>
        <p:nvSpPr>
          <p:cNvPr id="3" name="日付プレースホルダー 2"/>
          <p:cNvSpPr>
            <a:spLocks noGrp="1"/>
          </p:cNvSpPr>
          <p:nvPr>
            <p:ph type="dt" idx="1"/>
          </p:nvPr>
        </p:nvSpPr>
        <p:spPr>
          <a:xfrm>
            <a:off x="3815373" y="0"/>
            <a:ext cx="2918831" cy="493316"/>
          </a:xfrm>
          <a:prstGeom prst="rect">
            <a:avLst/>
          </a:prstGeom>
        </p:spPr>
        <p:txBody>
          <a:bodyPr vert="horz" lIns="91440" tIns="45720" rIns="91440" bIns="45720" rtlCol="0"/>
          <a:lstStyle>
            <a:lvl1pPr algn="r">
              <a:defRPr sz="1200">
                <a:latin typeface="ＭＳ Ｐゴシック"/>
              </a:defRPr>
            </a:lvl1pPr>
          </a:lstStyle>
          <a:p>
            <a:fld id="{0B69B7C4-9D3D-1144-8FBF-C10A4F47D40C}" type="datetimeFigureOut">
              <a:rPr lang="ja-JP" altLang="en-US" smtClean="0"/>
              <a:pPr/>
              <a:t>2025/4/30</a:t>
            </a:fld>
            <a:endParaRPr lang="ja-JP" altLang="en-US"/>
          </a:p>
        </p:txBody>
      </p:sp>
      <p:sp>
        <p:nvSpPr>
          <p:cNvPr id="4" name="スライド イメージ プレースホルダー 3"/>
          <p:cNvSpPr>
            <a:spLocks noGrp="1" noRot="1" noChangeAspect="1"/>
          </p:cNvSpPr>
          <p:nvPr>
            <p:ph type="sldImg" idx="2"/>
          </p:nvPr>
        </p:nvSpPr>
        <p:spPr>
          <a:xfrm>
            <a:off x="79375" y="739775"/>
            <a:ext cx="6577013" cy="3700463"/>
          </a:xfrm>
          <a:prstGeom prst="rect">
            <a:avLst/>
          </a:prstGeom>
          <a:noFill/>
          <a:ln w="12700">
            <a:solidFill>
              <a:prstClr val="black"/>
            </a:solidFill>
          </a:ln>
        </p:spPr>
        <p:txBody>
          <a:bodyPr vert="horz" lIns="91440" tIns="45720" rIns="91440" bIns="45720" rtlCol="0" anchor="ctr"/>
          <a:lstStyle/>
          <a:p>
            <a:endParaRPr lang="ja-JP" altLang="en-US"/>
          </a:p>
        </p:txBody>
      </p:sp>
      <p:sp>
        <p:nvSpPr>
          <p:cNvPr id="5" name="ノート プレースホルダー 4"/>
          <p:cNvSpPr>
            <a:spLocks noGrp="1"/>
          </p:cNvSpPr>
          <p:nvPr>
            <p:ph type="body" sz="quarter" idx="3"/>
          </p:nvPr>
        </p:nvSpPr>
        <p:spPr>
          <a:xfrm>
            <a:off x="673577" y="4686499"/>
            <a:ext cx="5388610" cy="4439841"/>
          </a:xfrm>
          <a:prstGeom prst="rect">
            <a:avLst/>
          </a:prstGeom>
        </p:spPr>
        <p:txBody>
          <a:bodyPr vert="horz" lIns="91440" tIns="45720" rIns="91440" bIns="45720" rtlCol="0"/>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6" name="フッター プレースホルダー 5"/>
          <p:cNvSpPr>
            <a:spLocks noGrp="1"/>
          </p:cNvSpPr>
          <p:nvPr>
            <p:ph type="ftr" sz="quarter" idx="4"/>
          </p:nvPr>
        </p:nvSpPr>
        <p:spPr>
          <a:xfrm>
            <a:off x="0" y="9371285"/>
            <a:ext cx="2918831" cy="493316"/>
          </a:xfrm>
          <a:prstGeom prst="rect">
            <a:avLst/>
          </a:prstGeom>
        </p:spPr>
        <p:txBody>
          <a:bodyPr vert="horz" lIns="91440" tIns="45720" rIns="91440" bIns="45720" rtlCol="0" anchor="b"/>
          <a:lstStyle>
            <a:lvl1pPr algn="l">
              <a:defRPr sz="1200">
                <a:latin typeface="ＭＳ Ｐゴシック"/>
              </a:defRPr>
            </a:lvl1pPr>
          </a:lstStyle>
          <a:p>
            <a:endParaRPr lang="ja-JP" altLang="en-US"/>
          </a:p>
        </p:txBody>
      </p:sp>
      <p:sp>
        <p:nvSpPr>
          <p:cNvPr id="7" name="スライド番号プレースホルダー 6"/>
          <p:cNvSpPr>
            <a:spLocks noGrp="1"/>
          </p:cNvSpPr>
          <p:nvPr>
            <p:ph type="sldNum" sz="quarter" idx="5"/>
          </p:nvPr>
        </p:nvSpPr>
        <p:spPr>
          <a:xfrm>
            <a:off x="3815373" y="9371285"/>
            <a:ext cx="2918831" cy="493316"/>
          </a:xfrm>
          <a:prstGeom prst="rect">
            <a:avLst/>
          </a:prstGeom>
        </p:spPr>
        <p:txBody>
          <a:bodyPr vert="horz" lIns="91440" tIns="45720" rIns="91440" bIns="45720" rtlCol="0" anchor="b"/>
          <a:lstStyle>
            <a:lvl1pPr algn="r">
              <a:defRPr sz="1200">
                <a:latin typeface="ＭＳ Ｐゴシック"/>
              </a:defRPr>
            </a:lvl1pPr>
          </a:lstStyle>
          <a:p>
            <a:fld id="{D0F87744-0E8D-D845-BC4C-8EAD1FCB673C}" type="slidenum">
              <a:rPr lang="ja-JP" altLang="en-US" smtClean="0"/>
              <a:pPr/>
              <a:t>‹#›</a:t>
            </a:fld>
            <a:endParaRPr lang="ja-JP" altLang="en-US"/>
          </a:p>
        </p:txBody>
      </p:sp>
    </p:spTree>
    <p:extLst>
      <p:ext uri="{BB962C8B-B14F-4D97-AF65-F5344CB8AC3E}">
        <p14:creationId xmlns:p14="http://schemas.microsoft.com/office/powerpoint/2010/main" val="3284067796"/>
      </p:ext>
    </p:extLst>
  </p:cSld>
  <p:clrMap bg1="lt1" tx1="dk1" bg2="lt2" tx2="dk2" accent1="accent1" accent2="accent2" accent3="accent3" accent4="accent4" accent5="accent5" accent6="accent6" hlink="hlink" folHlink="folHlink"/>
  <p:hf hdr="0" ftr="0" dt="0"/>
  <p:notesStyle>
    <a:lvl1pPr marL="0" algn="l" defTabSz="478835" rtl="0" eaLnBrk="1" latinLnBrk="0" hangingPunct="1">
      <a:defRPr kumimoji="1" sz="1300" kern="1200">
        <a:solidFill>
          <a:schemeClr val="tx1"/>
        </a:solidFill>
        <a:latin typeface="ＭＳ Ｐゴシック"/>
        <a:ea typeface="+mn-ea"/>
        <a:cs typeface="+mn-cs"/>
      </a:defRPr>
    </a:lvl1pPr>
    <a:lvl2pPr marL="478835" algn="l" defTabSz="478835" rtl="0" eaLnBrk="1" latinLnBrk="0" hangingPunct="1">
      <a:defRPr kumimoji="1" sz="1300" kern="1200">
        <a:solidFill>
          <a:schemeClr val="tx1"/>
        </a:solidFill>
        <a:latin typeface="ＭＳ Ｐゴシック"/>
        <a:ea typeface="+mn-ea"/>
        <a:cs typeface="+mn-cs"/>
      </a:defRPr>
    </a:lvl2pPr>
    <a:lvl3pPr marL="957669" algn="l" defTabSz="478835" rtl="0" eaLnBrk="1" latinLnBrk="0" hangingPunct="1">
      <a:defRPr kumimoji="1" sz="1300" kern="1200">
        <a:solidFill>
          <a:schemeClr val="tx1"/>
        </a:solidFill>
        <a:latin typeface="ＭＳ Ｐゴシック"/>
        <a:ea typeface="+mn-ea"/>
        <a:cs typeface="+mn-cs"/>
      </a:defRPr>
    </a:lvl3pPr>
    <a:lvl4pPr marL="1436504" algn="l" defTabSz="478835" rtl="0" eaLnBrk="1" latinLnBrk="0" hangingPunct="1">
      <a:defRPr kumimoji="1" sz="1300" kern="1200">
        <a:solidFill>
          <a:schemeClr val="tx1"/>
        </a:solidFill>
        <a:latin typeface="ＭＳ Ｐゴシック"/>
        <a:ea typeface="+mn-ea"/>
        <a:cs typeface="+mn-cs"/>
      </a:defRPr>
    </a:lvl4pPr>
    <a:lvl5pPr marL="1915339" algn="l" defTabSz="478835" rtl="0" eaLnBrk="1" latinLnBrk="0" hangingPunct="1">
      <a:defRPr kumimoji="1" sz="1300" kern="1200">
        <a:solidFill>
          <a:schemeClr val="tx1"/>
        </a:solidFill>
        <a:latin typeface="ＭＳ Ｐゴシック"/>
        <a:ea typeface="+mn-ea"/>
        <a:cs typeface="+mn-cs"/>
      </a:defRPr>
    </a:lvl5pPr>
    <a:lvl6pPr marL="2394172" algn="l" defTabSz="478835" rtl="0" eaLnBrk="1" latinLnBrk="0" hangingPunct="1">
      <a:defRPr kumimoji="1" sz="1300" kern="1200">
        <a:solidFill>
          <a:schemeClr val="tx1"/>
        </a:solidFill>
        <a:latin typeface="+mn-lt"/>
        <a:ea typeface="+mn-ea"/>
        <a:cs typeface="+mn-cs"/>
      </a:defRPr>
    </a:lvl6pPr>
    <a:lvl7pPr marL="2873008" algn="l" defTabSz="478835" rtl="0" eaLnBrk="1" latinLnBrk="0" hangingPunct="1">
      <a:defRPr kumimoji="1" sz="1300" kern="1200">
        <a:solidFill>
          <a:schemeClr val="tx1"/>
        </a:solidFill>
        <a:latin typeface="+mn-lt"/>
        <a:ea typeface="+mn-ea"/>
        <a:cs typeface="+mn-cs"/>
      </a:defRPr>
    </a:lvl7pPr>
    <a:lvl8pPr marL="3351843" algn="l" defTabSz="478835" rtl="0" eaLnBrk="1" latinLnBrk="0" hangingPunct="1">
      <a:defRPr kumimoji="1" sz="1300" kern="1200">
        <a:solidFill>
          <a:schemeClr val="tx1"/>
        </a:solidFill>
        <a:latin typeface="+mn-lt"/>
        <a:ea typeface="+mn-ea"/>
        <a:cs typeface="+mn-cs"/>
      </a:defRPr>
    </a:lvl8pPr>
    <a:lvl9pPr marL="3830677" algn="l" defTabSz="478835" rtl="0" eaLnBrk="1" latinLnBrk="0" hangingPunct="1">
      <a:defRPr kumimoji="1" sz="13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C587944-EDC7-1F1A-C7D3-84641B4023C0}"/>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4756B7AE-74F5-8B30-AAA3-90625D5F39FB}"/>
              </a:ext>
            </a:extLst>
          </p:cNvPr>
          <p:cNvSpPr>
            <a:spLocks noGrp="1" noRot="1" noChangeAspect="1"/>
          </p:cNvSpPr>
          <p:nvPr>
            <p:ph type="sldImg"/>
          </p:nvPr>
        </p:nvSpPr>
        <p:spPr/>
      </p:sp>
      <p:sp>
        <p:nvSpPr>
          <p:cNvPr id="3" name="ノート プレースホルダー 2">
            <a:extLst>
              <a:ext uri="{FF2B5EF4-FFF2-40B4-BE49-F238E27FC236}">
                <a16:creationId xmlns:a16="http://schemas.microsoft.com/office/drawing/2014/main" id="{B309AF75-614F-7E0C-749D-D7E34849BCD9}"/>
              </a:ext>
            </a:extLst>
          </p:cNvPr>
          <p:cNvSpPr>
            <a:spLocks noGrp="1"/>
          </p:cNvSpPr>
          <p:nvPr>
            <p:ph type="body" idx="1"/>
          </p:nvPr>
        </p:nvSpPr>
        <p:spPr/>
        <p:txBody>
          <a:bodyPr/>
          <a:lstStyle/>
          <a:p>
            <a:endParaRPr kumimoji="1" lang="ja-JP" altLang="en-US"/>
          </a:p>
        </p:txBody>
      </p:sp>
      <p:sp>
        <p:nvSpPr>
          <p:cNvPr id="4" name="スライド番号プレースホルダー 3">
            <a:extLst>
              <a:ext uri="{FF2B5EF4-FFF2-40B4-BE49-F238E27FC236}">
                <a16:creationId xmlns:a16="http://schemas.microsoft.com/office/drawing/2014/main" id="{D929DC7A-32F8-4E39-E95C-92CE5D614E93}"/>
              </a:ext>
            </a:extLst>
          </p:cNvPr>
          <p:cNvSpPr>
            <a:spLocks noGrp="1"/>
          </p:cNvSpPr>
          <p:nvPr>
            <p:ph type="sldNum" sz="quarter" idx="5"/>
          </p:nvPr>
        </p:nvSpPr>
        <p:spPr/>
        <p:txBody>
          <a:bodyPr/>
          <a:lstStyle/>
          <a:p>
            <a:pPr marL="0" marR="0" lvl="0" indent="0" algn="r" defTabSz="478835" rtl="0" eaLnBrk="1" fontAlgn="auto" latinLnBrk="0" hangingPunct="1">
              <a:lnSpc>
                <a:spcPct val="100000"/>
              </a:lnSpc>
              <a:spcBef>
                <a:spcPts val="0"/>
              </a:spcBef>
              <a:spcAft>
                <a:spcPts val="0"/>
              </a:spcAft>
              <a:buClrTx/>
              <a:buSzTx/>
              <a:buFontTx/>
              <a:buNone/>
              <a:tabLst/>
              <a:defRPr/>
            </a:pPr>
            <a:fld id="{D0F87744-0E8D-D845-BC4C-8EAD1FCB673C}" type="slidenum">
              <a:rPr kumimoji="1" lang="ja-JP" altLang="en-US" sz="1200" b="0" i="0" u="none" strike="noStrike" kern="1200" cap="none" spc="0" normalizeH="0" baseline="0" noProof="0" smtClean="0">
                <a:ln>
                  <a:noFill/>
                </a:ln>
                <a:solidFill>
                  <a:prstClr val="black"/>
                </a:solidFill>
                <a:effectLst/>
                <a:uLnTx/>
                <a:uFillTx/>
                <a:latin typeface="ＭＳ Ｐゴシック"/>
                <a:ea typeface="ＭＳ Ｐゴシック" panose="020B0600070205080204" pitchFamily="50" charset="-128"/>
                <a:cs typeface="+mn-cs"/>
              </a:rPr>
              <a:pPr marL="0" marR="0" lvl="0" indent="0" algn="r" defTabSz="478835" rtl="0" eaLnBrk="1" fontAlgn="auto" latinLnBrk="0" hangingPunct="1">
                <a:lnSpc>
                  <a:spcPct val="100000"/>
                </a:lnSpc>
                <a:spcBef>
                  <a:spcPts val="0"/>
                </a:spcBef>
                <a:spcAft>
                  <a:spcPts val="0"/>
                </a:spcAft>
                <a:buClrTx/>
                <a:buSzTx/>
                <a:buFontTx/>
                <a:buNone/>
                <a:tabLst/>
                <a:defRPr/>
              </a:pPr>
              <a:t>1</a:t>
            </a:fld>
            <a:endParaRPr kumimoji="1" lang="ja-JP" altLang="en-US" sz="1200" b="0" i="0" u="none" strike="noStrike" kern="1200" cap="none" spc="0" normalizeH="0" baseline="0" noProof="0">
              <a:ln>
                <a:noFill/>
              </a:ln>
              <a:solidFill>
                <a:prstClr val="black"/>
              </a:solidFill>
              <a:effectLst/>
              <a:uLnTx/>
              <a:uFillTx/>
              <a:latin typeface="ＭＳ Ｐゴシック"/>
              <a:ea typeface="ＭＳ Ｐゴシック" panose="020B0600070205080204" pitchFamily="50" charset="-128"/>
              <a:cs typeface="+mn-cs"/>
            </a:endParaRPr>
          </a:p>
        </p:txBody>
      </p:sp>
    </p:spTree>
    <p:extLst>
      <p:ext uri="{BB962C8B-B14F-4D97-AF65-F5344CB8AC3E}">
        <p14:creationId xmlns:p14="http://schemas.microsoft.com/office/powerpoint/2010/main" val="240754129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C55CAAC-1905-F113-DC39-CC8F1A563B34}"/>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9E1656A7-206A-AA9E-56D2-1B28C9CC2182}"/>
              </a:ext>
            </a:extLst>
          </p:cNvPr>
          <p:cNvSpPr>
            <a:spLocks noGrp="1" noRot="1" noChangeAspect="1"/>
          </p:cNvSpPr>
          <p:nvPr>
            <p:ph type="sldImg"/>
          </p:nvPr>
        </p:nvSpPr>
        <p:spPr/>
      </p:sp>
      <p:sp>
        <p:nvSpPr>
          <p:cNvPr id="3" name="ノート プレースホルダー 2">
            <a:extLst>
              <a:ext uri="{FF2B5EF4-FFF2-40B4-BE49-F238E27FC236}">
                <a16:creationId xmlns:a16="http://schemas.microsoft.com/office/drawing/2014/main" id="{37FDDE3A-4BE6-2433-80A3-4BEB3CE43754}"/>
              </a:ext>
            </a:extLst>
          </p:cNvPr>
          <p:cNvSpPr>
            <a:spLocks noGrp="1"/>
          </p:cNvSpPr>
          <p:nvPr>
            <p:ph type="body" idx="1"/>
          </p:nvPr>
        </p:nvSpPr>
        <p:spPr/>
        <p:txBody>
          <a:bodyPr/>
          <a:lstStyle/>
          <a:p>
            <a:endParaRPr kumimoji="1" lang="ja-JP" altLang="en-US"/>
          </a:p>
        </p:txBody>
      </p:sp>
      <p:sp>
        <p:nvSpPr>
          <p:cNvPr id="4" name="スライド番号プレースホルダー 3">
            <a:extLst>
              <a:ext uri="{FF2B5EF4-FFF2-40B4-BE49-F238E27FC236}">
                <a16:creationId xmlns:a16="http://schemas.microsoft.com/office/drawing/2014/main" id="{1CA40540-6A8C-E6E3-06EA-AAC027C03505}"/>
              </a:ext>
            </a:extLst>
          </p:cNvPr>
          <p:cNvSpPr>
            <a:spLocks noGrp="1"/>
          </p:cNvSpPr>
          <p:nvPr>
            <p:ph type="sldNum" sz="quarter" idx="5"/>
          </p:nvPr>
        </p:nvSpPr>
        <p:spPr/>
        <p:txBody>
          <a:bodyPr/>
          <a:lstStyle/>
          <a:p>
            <a:pPr marL="0" marR="0" lvl="0" indent="0" algn="r" defTabSz="478835" rtl="0" eaLnBrk="1" fontAlgn="auto" latinLnBrk="0" hangingPunct="1">
              <a:lnSpc>
                <a:spcPct val="100000"/>
              </a:lnSpc>
              <a:spcBef>
                <a:spcPts val="0"/>
              </a:spcBef>
              <a:spcAft>
                <a:spcPts val="0"/>
              </a:spcAft>
              <a:buClrTx/>
              <a:buSzTx/>
              <a:buFontTx/>
              <a:buNone/>
              <a:tabLst/>
              <a:defRPr/>
            </a:pPr>
            <a:fld id="{D0F87744-0E8D-D845-BC4C-8EAD1FCB673C}" type="slidenum">
              <a:rPr kumimoji="1" lang="ja-JP" altLang="en-US" sz="1200" b="0" i="0" u="none" strike="noStrike" kern="1200" cap="none" spc="0" normalizeH="0" baseline="0" noProof="0" smtClean="0">
                <a:ln>
                  <a:noFill/>
                </a:ln>
                <a:solidFill>
                  <a:prstClr val="black"/>
                </a:solidFill>
                <a:effectLst/>
                <a:uLnTx/>
                <a:uFillTx/>
                <a:latin typeface="ＭＳ Ｐゴシック"/>
                <a:ea typeface="ＭＳ Ｐゴシック" panose="020B0600070205080204" pitchFamily="50" charset="-128"/>
                <a:cs typeface="+mn-cs"/>
              </a:rPr>
              <a:pPr marL="0" marR="0" lvl="0" indent="0" algn="r" defTabSz="478835" rtl="0" eaLnBrk="1" fontAlgn="auto" latinLnBrk="0" hangingPunct="1">
                <a:lnSpc>
                  <a:spcPct val="100000"/>
                </a:lnSpc>
                <a:spcBef>
                  <a:spcPts val="0"/>
                </a:spcBef>
                <a:spcAft>
                  <a:spcPts val="0"/>
                </a:spcAft>
                <a:buClrTx/>
                <a:buSzTx/>
                <a:buFontTx/>
                <a:buNone/>
                <a:tabLst/>
                <a:defRPr/>
              </a:pPr>
              <a:t>2</a:t>
            </a:fld>
            <a:endParaRPr kumimoji="1" lang="ja-JP" altLang="en-US" sz="1200" b="0" i="0" u="none" strike="noStrike" kern="1200" cap="none" spc="0" normalizeH="0" baseline="0" noProof="0">
              <a:ln>
                <a:noFill/>
              </a:ln>
              <a:solidFill>
                <a:prstClr val="black"/>
              </a:solidFill>
              <a:effectLst/>
              <a:uLnTx/>
              <a:uFillTx/>
              <a:latin typeface="ＭＳ Ｐゴシック"/>
              <a:ea typeface="ＭＳ Ｐゴシック" panose="020B0600070205080204" pitchFamily="50" charset="-128"/>
              <a:cs typeface="+mn-cs"/>
            </a:endParaRPr>
          </a:p>
        </p:txBody>
      </p:sp>
    </p:spTree>
    <p:extLst>
      <p:ext uri="{BB962C8B-B14F-4D97-AF65-F5344CB8AC3E}">
        <p14:creationId xmlns:p14="http://schemas.microsoft.com/office/powerpoint/2010/main" val="223538483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64DA7F1-1446-EDF0-8834-E805D8CAAD9A}"/>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B6B1BAE2-84C1-CD3A-9450-2DE2B7EF4E3E}"/>
              </a:ext>
            </a:extLst>
          </p:cNvPr>
          <p:cNvSpPr>
            <a:spLocks noGrp="1" noRot="1" noChangeAspect="1"/>
          </p:cNvSpPr>
          <p:nvPr>
            <p:ph type="sldImg"/>
          </p:nvPr>
        </p:nvSpPr>
        <p:spPr/>
      </p:sp>
      <p:sp>
        <p:nvSpPr>
          <p:cNvPr id="3" name="ノート プレースホルダー 2">
            <a:extLst>
              <a:ext uri="{FF2B5EF4-FFF2-40B4-BE49-F238E27FC236}">
                <a16:creationId xmlns:a16="http://schemas.microsoft.com/office/drawing/2014/main" id="{FEBBB959-0F62-BCA7-7F2F-742C35CB297E}"/>
              </a:ext>
            </a:extLst>
          </p:cNvPr>
          <p:cNvSpPr>
            <a:spLocks noGrp="1"/>
          </p:cNvSpPr>
          <p:nvPr>
            <p:ph type="body" idx="1"/>
          </p:nvPr>
        </p:nvSpPr>
        <p:spPr/>
        <p:txBody>
          <a:bodyPr/>
          <a:lstStyle/>
          <a:p>
            <a:endParaRPr kumimoji="1" lang="ja-JP" altLang="en-US"/>
          </a:p>
        </p:txBody>
      </p:sp>
      <p:sp>
        <p:nvSpPr>
          <p:cNvPr id="4" name="スライド番号プレースホルダー 3">
            <a:extLst>
              <a:ext uri="{FF2B5EF4-FFF2-40B4-BE49-F238E27FC236}">
                <a16:creationId xmlns:a16="http://schemas.microsoft.com/office/drawing/2014/main" id="{5CA6EDA1-3968-B440-B1F3-368C737BDA52}"/>
              </a:ext>
            </a:extLst>
          </p:cNvPr>
          <p:cNvSpPr>
            <a:spLocks noGrp="1"/>
          </p:cNvSpPr>
          <p:nvPr>
            <p:ph type="sldNum" sz="quarter" idx="5"/>
          </p:nvPr>
        </p:nvSpPr>
        <p:spPr/>
        <p:txBody>
          <a:bodyPr/>
          <a:lstStyle/>
          <a:p>
            <a:pPr marL="0" marR="0" lvl="0" indent="0" algn="r" defTabSz="478835" rtl="0" eaLnBrk="1" fontAlgn="auto" latinLnBrk="0" hangingPunct="1">
              <a:lnSpc>
                <a:spcPct val="100000"/>
              </a:lnSpc>
              <a:spcBef>
                <a:spcPts val="0"/>
              </a:spcBef>
              <a:spcAft>
                <a:spcPts val="0"/>
              </a:spcAft>
              <a:buClrTx/>
              <a:buSzTx/>
              <a:buFontTx/>
              <a:buNone/>
              <a:tabLst/>
              <a:defRPr/>
            </a:pPr>
            <a:fld id="{D0F87744-0E8D-D845-BC4C-8EAD1FCB673C}" type="slidenum">
              <a:rPr kumimoji="1" lang="ja-JP" altLang="en-US" sz="1200" b="0" i="0" u="none" strike="noStrike" kern="1200" cap="none" spc="0" normalizeH="0" baseline="0" noProof="0" smtClean="0">
                <a:ln>
                  <a:noFill/>
                </a:ln>
                <a:solidFill>
                  <a:prstClr val="black"/>
                </a:solidFill>
                <a:effectLst/>
                <a:uLnTx/>
                <a:uFillTx/>
                <a:latin typeface="ＭＳ Ｐゴシック"/>
                <a:ea typeface="ＭＳ Ｐゴシック" panose="020B0600070205080204" pitchFamily="50" charset="-128"/>
                <a:cs typeface="+mn-cs"/>
              </a:rPr>
              <a:pPr marL="0" marR="0" lvl="0" indent="0" algn="r" defTabSz="478835" rtl="0" eaLnBrk="1" fontAlgn="auto" latinLnBrk="0" hangingPunct="1">
                <a:lnSpc>
                  <a:spcPct val="100000"/>
                </a:lnSpc>
                <a:spcBef>
                  <a:spcPts val="0"/>
                </a:spcBef>
                <a:spcAft>
                  <a:spcPts val="0"/>
                </a:spcAft>
                <a:buClrTx/>
                <a:buSzTx/>
                <a:buFontTx/>
                <a:buNone/>
                <a:tabLst/>
                <a:defRPr/>
              </a:pPr>
              <a:t>3</a:t>
            </a:fld>
            <a:endParaRPr kumimoji="1" lang="ja-JP" altLang="en-US" sz="1200" b="0" i="0" u="none" strike="noStrike" kern="1200" cap="none" spc="0" normalizeH="0" baseline="0" noProof="0">
              <a:ln>
                <a:noFill/>
              </a:ln>
              <a:solidFill>
                <a:prstClr val="black"/>
              </a:solidFill>
              <a:effectLst/>
              <a:uLnTx/>
              <a:uFillTx/>
              <a:latin typeface="ＭＳ Ｐゴシック"/>
              <a:ea typeface="ＭＳ Ｐゴシック" panose="020B0600070205080204" pitchFamily="50" charset="-128"/>
              <a:cs typeface="+mn-cs"/>
            </a:endParaRPr>
          </a:p>
        </p:txBody>
      </p:sp>
    </p:spTree>
    <p:extLst>
      <p:ext uri="{BB962C8B-B14F-4D97-AF65-F5344CB8AC3E}">
        <p14:creationId xmlns:p14="http://schemas.microsoft.com/office/powerpoint/2010/main" val="421863552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D0F87744-0E8D-D845-BC4C-8EAD1FCB673C}" type="slidenum">
              <a:rPr lang="ja-JP" altLang="en-US" smtClean="0"/>
              <a:pPr/>
              <a:t>4</a:t>
            </a:fld>
            <a:endParaRPr lang="ja-JP" altLang="en-US"/>
          </a:p>
        </p:txBody>
      </p:sp>
    </p:spTree>
    <p:extLst>
      <p:ext uri="{BB962C8B-B14F-4D97-AF65-F5344CB8AC3E}">
        <p14:creationId xmlns:p14="http://schemas.microsoft.com/office/powerpoint/2010/main" val="249121165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D0F87744-0E8D-D845-BC4C-8EAD1FCB673C}" type="slidenum">
              <a:rPr lang="ja-JP" altLang="en-US" smtClean="0"/>
              <a:pPr/>
              <a:t>5</a:t>
            </a:fld>
            <a:endParaRPr lang="ja-JP" altLang="en-US"/>
          </a:p>
        </p:txBody>
      </p:sp>
    </p:spTree>
    <p:extLst>
      <p:ext uri="{BB962C8B-B14F-4D97-AF65-F5344CB8AC3E}">
        <p14:creationId xmlns:p14="http://schemas.microsoft.com/office/powerpoint/2010/main" val="231734780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EC3D5E5-4D6C-75F3-9596-74302526F40E}"/>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260E381A-6814-4434-92BA-BF915BA1DAF5}"/>
              </a:ext>
            </a:extLst>
          </p:cNvPr>
          <p:cNvSpPr>
            <a:spLocks noGrp="1" noRot="1" noChangeAspect="1"/>
          </p:cNvSpPr>
          <p:nvPr>
            <p:ph type="sldImg"/>
          </p:nvPr>
        </p:nvSpPr>
        <p:spPr/>
      </p:sp>
      <p:sp>
        <p:nvSpPr>
          <p:cNvPr id="3" name="ノート プレースホルダー 2">
            <a:extLst>
              <a:ext uri="{FF2B5EF4-FFF2-40B4-BE49-F238E27FC236}">
                <a16:creationId xmlns:a16="http://schemas.microsoft.com/office/drawing/2014/main" id="{CE1319B4-74AC-2343-6413-7C134B8EA807}"/>
              </a:ext>
            </a:extLst>
          </p:cNvPr>
          <p:cNvSpPr>
            <a:spLocks noGrp="1"/>
          </p:cNvSpPr>
          <p:nvPr>
            <p:ph type="body" idx="1"/>
          </p:nvPr>
        </p:nvSpPr>
        <p:spPr/>
        <p:txBody>
          <a:bodyPr/>
          <a:lstStyle/>
          <a:p>
            <a:endParaRPr kumimoji="1" lang="ja-JP" altLang="en-US"/>
          </a:p>
        </p:txBody>
      </p:sp>
      <p:sp>
        <p:nvSpPr>
          <p:cNvPr id="4" name="スライド番号プレースホルダー 3">
            <a:extLst>
              <a:ext uri="{FF2B5EF4-FFF2-40B4-BE49-F238E27FC236}">
                <a16:creationId xmlns:a16="http://schemas.microsoft.com/office/drawing/2014/main" id="{41EF0B2F-7E96-8B24-12BF-B7A6B4EACE61}"/>
              </a:ext>
            </a:extLst>
          </p:cNvPr>
          <p:cNvSpPr>
            <a:spLocks noGrp="1"/>
          </p:cNvSpPr>
          <p:nvPr>
            <p:ph type="sldNum" sz="quarter" idx="5"/>
          </p:nvPr>
        </p:nvSpPr>
        <p:spPr/>
        <p:txBody>
          <a:bodyPr/>
          <a:lstStyle/>
          <a:p>
            <a:pPr marL="0" marR="0" lvl="0" indent="0" algn="r" defTabSz="478835" rtl="0" eaLnBrk="1" fontAlgn="auto" latinLnBrk="0" hangingPunct="1">
              <a:lnSpc>
                <a:spcPct val="100000"/>
              </a:lnSpc>
              <a:spcBef>
                <a:spcPts val="0"/>
              </a:spcBef>
              <a:spcAft>
                <a:spcPts val="0"/>
              </a:spcAft>
              <a:buClrTx/>
              <a:buSzTx/>
              <a:buFontTx/>
              <a:buNone/>
              <a:tabLst/>
              <a:defRPr/>
            </a:pPr>
            <a:fld id="{D0F87744-0E8D-D845-BC4C-8EAD1FCB673C}" type="slidenum">
              <a:rPr kumimoji="1" lang="ja-JP" altLang="en-US" sz="1200" b="0" i="0" u="none" strike="noStrike" kern="1200" cap="none" spc="0" normalizeH="0" baseline="0" noProof="0" smtClean="0">
                <a:ln>
                  <a:noFill/>
                </a:ln>
                <a:solidFill>
                  <a:prstClr val="black"/>
                </a:solidFill>
                <a:effectLst/>
                <a:uLnTx/>
                <a:uFillTx/>
                <a:latin typeface="ＭＳ Ｐゴシック"/>
                <a:ea typeface="ＭＳ Ｐゴシック" panose="020B0600070205080204" pitchFamily="50" charset="-128"/>
                <a:cs typeface="+mn-cs"/>
              </a:rPr>
              <a:pPr marL="0" marR="0" lvl="0" indent="0" algn="r" defTabSz="478835" rtl="0" eaLnBrk="1" fontAlgn="auto" latinLnBrk="0" hangingPunct="1">
                <a:lnSpc>
                  <a:spcPct val="100000"/>
                </a:lnSpc>
                <a:spcBef>
                  <a:spcPts val="0"/>
                </a:spcBef>
                <a:spcAft>
                  <a:spcPts val="0"/>
                </a:spcAft>
                <a:buClrTx/>
                <a:buSzTx/>
                <a:buFontTx/>
                <a:buNone/>
                <a:tabLst/>
                <a:defRPr/>
              </a:pPr>
              <a:t>8</a:t>
            </a:fld>
            <a:endParaRPr kumimoji="1" lang="ja-JP" altLang="en-US" sz="1200" b="0" i="0" u="none" strike="noStrike" kern="1200" cap="none" spc="0" normalizeH="0" baseline="0" noProof="0">
              <a:ln>
                <a:noFill/>
              </a:ln>
              <a:solidFill>
                <a:prstClr val="black"/>
              </a:solidFill>
              <a:effectLst/>
              <a:uLnTx/>
              <a:uFillTx/>
              <a:latin typeface="ＭＳ Ｐゴシック"/>
              <a:ea typeface="ＭＳ Ｐゴシック" panose="020B0600070205080204" pitchFamily="50" charset="-128"/>
              <a:cs typeface="+mn-cs"/>
            </a:endParaRPr>
          </a:p>
        </p:txBody>
      </p:sp>
    </p:spTree>
    <p:extLst>
      <p:ext uri="{BB962C8B-B14F-4D97-AF65-F5344CB8AC3E}">
        <p14:creationId xmlns:p14="http://schemas.microsoft.com/office/powerpoint/2010/main" val="4240280365"/>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gif"/><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2.gif"/><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2.gif"/><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5.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5.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5.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5.xml"/></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3.gif"/><Relationship Id="rId1" Type="http://schemas.openxmlformats.org/officeDocument/2006/relationships/slideMaster" Target="../slideMasters/slideMaster6.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7.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7.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7.xml"/></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7.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7.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7.xml"/></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7.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7.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7.xml"/></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7.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7.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7.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7.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7.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8.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3.gif"/><Relationship Id="rId1" Type="http://schemas.openxmlformats.org/officeDocument/2006/relationships/slideMaster" Target="../slideMasters/slideMaster8.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2.gif"/><Relationship Id="rId1" Type="http://schemas.openxmlformats.org/officeDocument/2006/relationships/slideMaster" Target="../slideMasters/slideMaster8.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8.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gif"/><Relationship Id="rId1" Type="http://schemas.openxmlformats.org/officeDocument/2006/relationships/slideMaster" Target="../slideMasters/slideMaster9.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3" Type="http://schemas.openxmlformats.org/officeDocument/2006/relationships/slideMaster" Target="../slideMasters/slideMaster10.xml"/><Relationship Id="rId7" Type="http://schemas.openxmlformats.org/officeDocument/2006/relationships/image" Target="../media/image19.png"/><Relationship Id="rId2" Type="http://schemas.openxmlformats.org/officeDocument/2006/relationships/tags" Target="../tags/tag6.xml"/><Relationship Id="rId1" Type="http://schemas.openxmlformats.org/officeDocument/2006/relationships/tags" Target="../tags/tag5.xml"/><Relationship Id="rId6" Type="http://schemas.openxmlformats.org/officeDocument/2006/relationships/image" Target="../media/image18.png"/><Relationship Id="rId5" Type="http://schemas.openxmlformats.org/officeDocument/2006/relationships/image" Target="../media/image13.emf"/><Relationship Id="rId4" Type="http://schemas.openxmlformats.org/officeDocument/2006/relationships/oleObject" Target="../embeddings/oleObject4.bin"/></Relationships>
</file>

<file path=ppt/slideLayouts/_rels/slideLayout91.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8.xml"/><Relationship Id="rId1" Type="http://schemas.openxmlformats.org/officeDocument/2006/relationships/tags" Target="../tags/tag7.xml"/><Relationship Id="rId5" Type="http://schemas.openxmlformats.org/officeDocument/2006/relationships/image" Target="../media/image13.emf"/><Relationship Id="rId4" Type="http://schemas.openxmlformats.org/officeDocument/2006/relationships/oleObject" Target="../embeddings/oleObject5.bin"/></Relationships>
</file>

<file path=ppt/slideLayouts/_rels/slideLayout92.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10.xml"/><Relationship Id="rId1" Type="http://schemas.openxmlformats.org/officeDocument/2006/relationships/tags" Target="../tags/tag9.xml"/><Relationship Id="rId5" Type="http://schemas.openxmlformats.org/officeDocument/2006/relationships/image" Target="../media/image13.emf"/><Relationship Id="rId4" Type="http://schemas.openxmlformats.org/officeDocument/2006/relationships/oleObject" Target="../embeddings/oleObject6.bin"/></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3_タイトル スライド">
    <p:spTree>
      <p:nvGrpSpPr>
        <p:cNvPr id="1" name=""/>
        <p:cNvGrpSpPr/>
        <p:nvPr/>
      </p:nvGrpSpPr>
      <p:grpSpPr>
        <a:xfrm>
          <a:off x="0" y="0"/>
          <a:ext cx="0" cy="0"/>
          <a:chOff x="0" y="0"/>
          <a:chExt cx="0" cy="0"/>
        </a:xfrm>
      </p:grpSpPr>
      <p:sp>
        <p:nvSpPr>
          <p:cNvPr id="10" name="Freeform 5"/>
          <p:cNvSpPr>
            <a:spLocks/>
          </p:cNvSpPr>
          <p:nvPr userDrawn="1"/>
        </p:nvSpPr>
        <p:spPr bwMode="auto">
          <a:xfrm>
            <a:off x="233538" y="169337"/>
            <a:ext cx="11730712" cy="5207000"/>
          </a:xfrm>
          <a:custGeom>
            <a:avLst/>
            <a:gdLst>
              <a:gd name="T0" fmla="*/ 0 w 1618"/>
              <a:gd name="T1" fmla="*/ 0 h 957"/>
              <a:gd name="T2" fmla="*/ 0 w 1618"/>
              <a:gd name="T3" fmla="*/ 957 h 957"/>
              <a:gd name="T4" fmla="*/ 1279 w 1618"/>
              <a:gd name="T5" fmla="*/ 842 h 957"/>
              <a:gd name="T6" fmla="*/ 1618 w 1618"/>
              <a:gd name="T7" fmla="*/ 472 h 957"/>
              <a:gd name="T8" fmla="*/ 1618 w 1618"/>
              <a:gd name="T9" fmla="*/ 0 h 957"/>
              <a:gd name="T10" fmla="*/ 0 w 1618"/>
              <a:gd name="T11" fmla="*/ 0 h 957"/>
            </a:gdLst>
            <a:ahLst/>
            <a:cxnLst>
              <a:cxn ang="0">
                <a:pos x="T0" y="T1"/>
              </a:cxn>
              <a:cxn ang="0">
                <a:pos x="T2" y="T3"/>
              </a:cxn>
              <a:cxn ang="0">
                <a:pos x="T4" y="T5"/>
              </a:cxn>
              <a:cxn ang="0">
                <a:pos x="T6" y="T7"/>
              </a:cxn>
              <a:cxn ang="0">
                <a:pos x="T8" y="T9"/>
              </a:cxn>
              <a:cxn ang="0">
                <a:pos x="T10" y="T11"/>
              </a:cxn>
            </a:cxnLst>
            <a:rect l="0" t="0" r="r" b="b"/>
            <a:pathLst>
              <a:path w="1618" h="957">
                <a:moveTo>
                  <a:pt x="0" y="0"/>
                </a:moveTo>
                <a:cubicBezTo>
                  <a:pt x="0" y="957"/>
                  <a:pt x="0" y="957"/>
                  <a:pt x="0" y="957"/>
                </a:cubicBezTo>
                <a:cubicBezTo>
                  <a:pt x="1279" y="842"/>
                  <a:pt x="1279" y="842"/>
                  <a:pt x="1279" y="842"/>
                </a:cubicBezTo>
                <a:cubicBezTo>
                  <a:pt x="1465" y="825"/>
                  <a:pt x="1618" y="659"/>
                  <a:pt x="1618" y="472"/>
                </a:cubicBezTo>
                <a:cubicBezTo>
                  <a:pt x="1618" y="0"/>
                  <a:pt x="1618" y="0"/>
                  <a:pt x="1618" y="0"/>
                </a:cubicBezTo>
                <a:lnTo>
                  <a:pt x="0" y="0"/>
                </a:lnTo>
                <a:close/>
              </a:path>
            </a:pathLst>
          </a:custGeom>
          <a:solidFill>
            <a:schemeClr val="accent4"/>
          </a:solidFill>
          <a:ln>
            <a:noFill/>
          </a:ln>
        </p:spPr>
        <p:txBody>
          <a:bodyPr lIns="127667" tIns="63834" rIns="127667" bIns="63834"/>
          <a:lstStyle/>
          <a:p>
            <a:endParaRPr lang="ja-JP" altLang="en-US" sz="2533"/>
          </a:p>
        </p:txBody>
      </p:sp>
      <p:sp>
        <p:nvSpPr>
          <p:cNvPr id="2" name="タイトル 1"/>
          <p:cNvSpPr>
            <a:spLocks noGrp="1"/>
          </p:cNvSpPr>
          <p:nvPr>
            <p:ph type="ctrTitle"/>
          </p:nvPr>
        </p:nvSpPr>
        <p:spPr>
          <a:xfrm>
            <a:off x="914400" y="1416804"/>
            <a:ext cx="10363200" cy="1470025"/>
          </a:xfrm>
          <a:prstGeom prst="rect">
            <a:avLst/>
          </a:prstGeom>
        </p:spPr>
        <p:txBody>
          <a:bodyPr lIns="95767" tIns="47884" rIns="95767" bIns="47884" anchor="b">
            <a:normAutofit/>
          </a:bodyPr>
          <a:lstStyle>
            <a:lvl1pPr algn="l">
              <a:defRPr sz="5199" kern="1200">
                <a:solidFill>
                  <a:schemeClr val="bg1"/>
                </a:solidFill>
              </a:defRPr>
            </a:lvl1pPr>
          </a:lstStyle>
          <a:p>
            <a:r>
              <a:rPr kumimoji="1" lang="ja-JP" altLang="en-US"/>
              <a:t>マスター タイトルの書式設定</a:t>
            </a:r>
          </a:p>
        </p:txBody>
      </p:sp>
      <p:sp>
        <p:nvSpPr>
          <p:cNvPr id="3" name="サブタイトル 2"/>
          <p:cNvSpPr>
            <a:spLocks noGrp="1"/>
          </p:cNvSpPr>
          <p:nvPr>
            <p:ph type="subTitle" idx="1"/>
          </p:nvPr>
        </p:nvSpPr>
        <p:spPr>
          <a:xfrm>
            <a:off x="916801" y="3420000"/>
            <a:ext cx="9691436" cy="977153"/>
          </a:xfrm>
          <a:prstGeom prst="rect">
            <a:avLst/>
          </a:prstGeom>
        </p:spPr>
        <p:txBody>
          <a:bodyPr lIns="95767" tIns="47884" rIns="95767" bIns="47884">
            <a:normAutofit/>
          </a:bodyPr>
          <a:lstStyle>
            <a:lvl1pPr marL="0" indent="0" algn="l">
              <a:buNone/>
              <a:defRPr sz="3333">
                <a:solidFill>
                  <a:schemeClr val="bg1"/>
                </a:solidFill>
              </a:defRPr>
            </a:lvl1pPr>
            <a:lvl2pPr marL="638335" indent="0" algn="ctr">
              <a:buNone/>
              <a:defRPr>
                <a:solidFill>
                  <a:schemeClr val="tx1">
                    <a:tint val="75000"/>
                  </a:schemeClr>
                </a:solidFill>
              </a:defRPr>
            </a:lvl2pPr>
            <a:lvl3pPr marL="1276669" indent="0" algn="ctr">
              <a:buNone/>
              <a:defRPr>
                <a:solidFill>
                  <a:schemeClr val="tx1">
                    <a:tint val="75000"/>
                  </a:schemeClr>
                </a:solidFill>
              </a:defRPr>
            </a:lvl3pPr>
            <a:lvl4pPr marL="1915003" indent="0" algn="ctr">
              <a:buNone/>
              <a:defRPr>
                <a:solidFill>
                  <a:schemeClr val="tx1">
                    <a:tint val="75000"/>
                  </a:schemeClr>
                </a:solidFill>
              </a:defRPr>
            </a:lvl4pPr>
            <a:lvl5pPr marL="2553338" indent="0" algn="ctr">
              <a:buNone/>
              <a:defRPr>
                <a:solidFill>
                  <a:schemeClr val="tx1">
                    <a:tint val="75000"/>
                  </a:schemeClr>
                </a:solidFill>
              </a:defRPr>
            </a:lvl5pPr>
            <a:lvl6pPr marL="3191671" indent="0" algn="ctr">
              <a:buNone/>
              <a:defRPr>
                <a:solidFill>
                  <a:schemeClr val="tx1">
                    <a:tint val="75000"/>
                  </a:schemeClr>
                </a:solidFill>
              </a:defRPr>
            </a:lvl6pPr>
            <a:lvl7pPr marL="3830007" indent="0" algn="ctr">
              <a:buNone/>
              <a:defRPr>
                <a:solidFill>
                  <a:schemeClr val="tx1">
                    <a:tint val="75000"/>
                  </a:schemeClr>
                </a:solidFill>
              </a:defRPr>
            </a:lvl7pPr>
            <a:lvl8pPr marL="4468342" indent="0" algn="ctr">
              <a:buNone/>
              <a:defRPr>
                <a:solidFill>
                  <a:schemeClr val="tx1">
                    <a:tint val="75000"/>
                  </a:schemeClr>
                </a:solidFill>
              </a:defRPr>
            </a:lvl8pPr>
            <a:lvl9pPr marL="5106676" indent="0" algn="ctr">
              <a:buNone/>
              <a:defRPr>
                <a:solidFill>
                  <a:schemeClr val="tx1">
                    <a:tint val="75000"/>
                  </a:schemeClr>
                </a:solidFill>
              </a:defRPr>
            </a:lvl9pPr>
          </a:lstStyle>
          <a:p>
            <a:r>
              <a:rPr kumimoji="1" lang="ja-JP" altLang="en-US"/>
              <a:t>マスター サブタイトルの書式設定</a:t>
            </a:r>
          </a:p>
        </p:txBody>
      </p:sp>
      <p:sp>
        <p:nvSpPr>
          <p:cNvPr id="9" name="フッター プレースホルダー 12"/>
          <p:cNvSpPr>
            <a:spLocks noGrp="1"/>
          </p:cNvSpPr>
          <p:nvPr>
            <p:ph type="ftr" sz="quarter" idx="11"/>
          </p:nvPr>
        </p:nvSpPr>
        <p:spPr>
          <a:xfrm>
            <a:off x="609599" y="6099529"/>
            <a:ext cx="7057660" cy="365125"/>
          </a:xfrm>
          <a:prstGeom prst="rect">
            <a:avLst/>
          </a:prstGeom>
        </p:spPr>
        <p:txBody>
          <a:bodyPr lIns="95767" tIns="47884" rIns="95767" bIns="47884"/>
          <a:lstStyle>
            <a:lvl1pPr algn="l">
              <a:defRPr sz="2266"/>
            </a:lvl1pPr>
          </a:lstStyle>
          <a:p>
            <a:endParaRPr lang="ja-JP" altLang="en-US"/>
          </a:p>
        </p:txBody>
      </p:sp>
      <p:sp>
        <p:nvSpPr>
          <p:cNvPr id="12" name="日付プレースホルダー 11"/>
          <p:cNvSpPr>
            <a:spLocks noGrp="1"/>
          </p:cNvSpPr>
          <p:nvPr>
            <p:ph type="dt" sz="half" idx="10"/>
          </p:nvPr>
        </p:nvSpPr>
        <p:spPr>
          <a:xfrm>
            <a:off x="609600" y="5691768"/>
            <a:ext cx="3860800" cy="365125"/>
          </a:xfrm>
          <a:prstGeom prst="rect">
            <a:avLst/>
          </a:prstGeom>
        </p:spPr>
        <p:txBody>
          <a:bodyPr lIns="95767" tIns="47884" rIns="95767" bIns="47884"/>
          <a:lstStyle>
            <a:lvl1pPr algn="l">
              <a:defRPr sz="2266">
                <a:solidFill>
                  <a:srgbClr val="000000"/>
                </a:solidFill>
              </a:defRPr>
            </a:lvl1pPr>
          </a:lstStyle>
          <a:p>
            <a:endParaRPr lang="ja-JP" altLang="en-US"/>
          </a:p>
        </p:txBody>
      </p:sp>
      <p:pic>
        <p:nvPicPr>
          <p:cNvPr id="8" name="Picture 2" descr="K:\新ロゴ（データ一式）\DLH_3_EN.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0521597" y="5335811"/>
            <a:ext cx="1644525" cy="152167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227787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type="title" preserve="1">
  <p:cSld name="タイトル スライド">
    <p:spTree>
      <p:nvGrpSpPr>
        <p:cNvPr id="1" name=""/>
        <p:cNvGrpSpPr/>
        <p:nvPr/>
      </p:nvGrpSpPr>
      <p:grpSpPr>
        <a:xfrm>
          <a:off x="0" y="0"/>
          <a:ext cx="0" cy="0"/>
          <a:chOff x="0" y="0"/>
          <a:chExt cx="0" cy="0"/>
        </a:xfrm>
      </p:grpSpPr>
      <p:pic>
        <p:nvPicPr>
          <p:cNvPr id="8" name="図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タイトル 1"/>
          <p:cNvSpPr>
            <a:spLocks noGrp="1"/>
          </p:cNvSpPr>
          <p:nvPr>
            <p:ph type="ctrTitle"/>
          </p:nvPr>
        </p:nvSpPr>
        <p:spPr>
          <a:xfrm>
            <a:off x="914400" y="1416801"/>
            <a:ext cx="10363200" cy="1470025"/>
          </a:xfrm>
        </p:spPr>
        <p:txBody>
          <a:bodyPr anchor="b">
            <a:normAutofit/>
          </a:bodyPr>
          <a:lstStyle>
            <a:lvl1pPr algn="l">
              <a:defRPr sz="3800" kern="1200">
                <a:solidFill>
                  <a:schemeClr val="tx1"/>
                </a:solidFill>
              </a:defRPr>
            </a:lvl1pPr>
          </a:lstStyle>
          <a:p>
            <a:r>
              <a:rPr kumimoji="1" lang="ja-JP" altLang="en-US"/>
              <a:t>マスター タイトルの書式設定</a:t>
            </a:r>
          </a:p>
        </p:txBody>
      </p:sp>
      <p:sp>
        <p:nvSpPr>
          <p:cNvPr id="3" name="サブタイトル 2"/>
          <p:cNvSpPr>
            <a:spLocks noGrp="1"/>
          </p:cNvSpPr>
          <p:nvPr>
            <p:ph type="subTitle" idx="1"/>
          </p:nvPr>
        </p:nvSpPr>
        <p:spPr>
          <a:xfrm>
            <a:off x="916800" y="3420000"/>
            <a:ext cx="9691435" cy="977153"/>
          </a:xfrm>
        </p:spPr>
        <p:txBody>
          <a:bodyPr>
            <a:normAutofit/>
          </a:bodyPr>
          <a:lstStyle>
            <a:lvl1pPr marL="0" indent="0" algn="l">
              <a:buNone/>
              <a:defRPr sz="2400">
                <a:solidFill>
                  <a:srgbClr val="000000"/>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kumimoji="1" lang="ja-JP" altLang="en-US"/>
              <a:t>マスター サブタイトルの書式設定</a:t>
            </a:r>
          </a:p>
        </p:txBody>
      </p:sp>
      <p:sp>
        <p:nvSpPr>
          <p:cNvPr id="13" name="フッター プレースホルダー 12"/>
          <p:cNvSpPr>
            <a:spLocks noGrp="1"/>
          </p:cNvSpPr>
          <p:nvPr>
            <p:ph type="ftr" sz="quarter" idx="11"/>
          </p:nvPr>
        </p:nvSpPr>
        <p:spPr>
          <a:xfrm>
            <a:off x="609600" y="6084286"/>
            <a:ext cx="3860800" cy="365125"/>
          </a:xfrm>
          <a:prstGeom prst="rect">
            <a:avLst/>
          </a:prstGeom>
        </p:spPr>
        <p:txBody>
          <a:bodyPr/>
          <a:lstStyle>
            <a:lvl1pPr algn="l">
              <a:defRPr sz="1600"/>
            </a:lvl1pPr>
          </a:lstStyle>
          <a:p>
            <a:pPr defTabSz="457200"/>
            <a:endParaRPr lang="ja-JP" altLang="en-US">
              <a:solidFill>
                <a:srgbClr val="000000"/>
              </a:solidFill>
            </a:endParaRPr>
          </a:p>
        </p:txBody>
      </p:sp>
      <p:sp>
        <p:nvSpPr>
          <p:cNvPr id="11" name="日付プレースホルダー 11"/>
          <p:cNvSpPr>
            <a:spLocks noGrp="1"/>
          </p:cNvSpPr>
          <p:nvPr>
            <p:ph type="dt" sz="half" idx="10"/>
          </p:nvPr>
        </p:nvSpPr>
        <p:spPr>
          <a:xfrm>
            <a:off x="609600" y="5676525"/>
            <a:ext cx="3860800" cy="365125"/>
          </a:xfrm>
          <a:prstGeom prst="rect">
            <a:avLst/>
          </a:prstGeom>
        </p:spPr>
        <p:txBody>
          <a:bodyPr/>
          <a:lstStyle>
            <a:lvl1pPr algn="l">
              <a:defRPr sz="1600">
                <a:solidFill>
                  <a:srgbClr val="000000"/>
                </a:solidFill>
              </a:defRPr>
            </a:lvl1pPr>
          </a:lstStyle>
          <a:p>
            <a:pPr defTabSz="457200"/>
            <a:endParaRPr lang="ja-JP" altLang="en-US"/>
          </a:p>
        </p:txBody>
      </p:sp>
      <p:pic>
        <p:nvPicPr>
          <p:cNvPr id="10" name="Picture 2" descr="K:\新ロゴ（データ一式）\★logo_3_j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8930627" y="5172648"/>
            <a:ext cx="3358903" cy="150723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6965748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a:t>マスター タイトルの書式設定</a:t>
            </a:r>
          </a:p>
        </p:txBody>
      </p:sp>
      <p:sp>
        <p:nvSpPr>
          <p:cNvPr id="3" name="コンテンツ プレースホルダー 2"/>
          <p:cNvSpPr>
            <a:spLocks noGrp="1"/>
          </p:cNvSpPr>
          <p:nvPr>
            <p:ph idx="1"/>
          </p:nvPr>
        </p:nvSpPr>
        <p:spPr>
          <a:xfrm>
            <a:off x="368549" y="903600"/>
            <a:ext cx="11583452" cy="5540400"/>
          </a:xfrm>
        </p:spPr>
        <p:txBody>
          <a:bodyPr/>
          <a:lstStyle>
            <a:lvl2pPr indent="-169200">
              <a:defRPr/>
            </a:lvl2pPr>
            <a:lvl3pPr indent="-169200">
              <a:defRPr/>
            </a:lvl3pPr>
            <a:lvl4pPr indent="-169200">
              <a:defRPr/>
            </a:lvl4pPr>
            <a:lvl5pPr indent="-169200">
              <a:defRPr/>
            </a:lvl5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6" name="スライド番号プレースホルダー 5"/>
          <p:cNvSpPr>
            <a:spLocks noGrp="1"/>
          </p:cNvSpPr>
          <p:nvPr>
            <p:ph type="sldNum" sz="quarter" idx="12"/>
          </p:nvPr>
        </p:nvSpPr>
        <p:spPr/>
        <p:txBody>
          <a:bodyPr/>
          <a:lstStyle/>
          <a:p>
            <a:pPr defTabSz="457200"/>
            <a:fld id="{2FF5E1DE-7B95-8A44-8552-65323269AE41}" type="slidenum">
              <a:rPr lang="ja-JP" altLang="en-US" smtClean="0"/>
              <a:pPr defTabSz="457200"/>
              <a:t>‹#›</a:t>
            </a:fld>
            <a:endParaRPr lang="ja-JP" altLang="en-US"/>
          </a:p>
        </p:txBody>
      </p:sp>
    </p:spTree>
    <p:extLst>
      <p:ext uri="{BB962C8B-B14F-4D97-AF65-F5344CB8AC3E}">
        <p14:creationId xmlns:p14="http://schemas.microsoft.com/office/powerpoint/2010/main" val="379461122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woObj" preserve="1">
  <p:cSld name="2 つの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a:t>マスター タイトルの書式設定</a:t>
            </a:r>
          </a:p>
        </p:txBody>
      </p:sp>
      <p:sp>
        <p:nvSpPr>
          <p:cNvPr id="3" name="コンテンツ プレースホルダー 2"/>
          <p:cNvSpPr>
            <a:spLocks noGrp="1"/>
          </p:cNvSpPr>
          <p:nvPr>
            <p:ph sz="half" idx="1"/>
          </p:nvPr>
        </p:nvSpPr>
        <p:spPr>
          <a:xfrm>
            <a:off x="368548" y="903599"/>
            <a:ext cx="5734207" cy="5540400"/>
          </a:xfrm>
        </p:spPr>
        <p:txBody>
          <a:bodyPr>
            <a:normAutofit/>
          </a:bodyPr>
          <a:lstStyle>
            <a:lvl1pPr>
              <a:defRPr sz="2400"/>
            </a:lvl1pPr>
            <a:lvl2pPr>
              <a:defRPr sz="2000"/>
            </a:lvl2pPr>
            <a:lvl3pPr>
              <a:defRPr sz="1800"/>
            </a:lvl3pPr>
            <a:lvl4pPr>
              <a:defRPr sz="1600"/>
            </a:lvl4pPr>
            <a:lvl5pPr>
              <a:defRPr sz="1600"/>
            </a:lvl5pPr>
            <a:lvl6pPr>
              <a:defRPr sz="1800"/>
            </a:lvl6pPr>
            <a:lvl7pPr>
              <a:defRPr sz="1800"/>
            </a:lvl7pPr>
            <a:lvl8pPr>
              <a:defRPr sz="1800"/>
            </a:lvl8pPr>
            <a:lvl9pPr>
              <a:defRPr sz="1800"/>
            </a:lvl9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コンテンツ プレースホルダー 3"/>
          <p:cNvSpPr>
            <a:spLocks noGrp="1"/>
          </p:cNvSpPr>
          <p:nvPr>
            <p:ph sz="half" idx="2"/>
          </p:nvPr>
        </p:nvSpPr>
        <p:spPr>
          <a:xfrm>
            <a:off x="6197601" y="903599"/>
            <a:ext cx="5754511" cy="5540400"/>
          </a:xfrm>
        </p:spPr>
        <p:txBody>
          <a:bodyPr>
            <a:normAutofit/>
          </a:bodyPr>
          <a:lstStyle>
            <a:lvl1pPr>
              <a:defRPr sz="2400"/>
            </a:lvl1pPr>
            <a:lvl2pPr>
              <a:defRPr sz="2000"/>
            </a:lvl2pPr>
            <a:lvl3pPr>
              <a:defRPr sz="1800"/>
            </a:lvl3pPr>
            <a:lvl4pPr>
              <a:defRPr sz="1600"/>
            </a:lvl4pPr>
            <a:lvl5pPr>
              <a:defRPr sz="1600"/>
            </a:lvl5pPr>
            <a:lvl6pPr>
              <a:defRPr sz="1800"/>
            </a:lvl6pPr>
            <a:lvl7pPr>
              <a:defRPr sz="1800"/>
            </a:lvl7pPr>
            <a:lvl8pPr>
              <a:defRPr sz="1800"/>
            </a:lvl8pPr>
            <a:lvl9pPr>
              <a:defRPr sz="1800"/>
            </a:lvl9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7" name="スライド番号プレースホルダー 6"/>
          <p:cNvSpPr>
            <a:spLocks noGrp="1"/>
          </p:cNvSpPr>
          <p:nvPr>
            <p:ph type="sldNum" sz="quarter" idx="12"/>
          </p:nvPr>
        </p:nvSpPr>
        <p:spPr/>
        <p:txBody>
          <a:bodyPr/>
          <a:lstStyle/>
          <a:p>
            <a:pPr defTabSz="457200"/>
            <a:fld id="{2FF5E1DE-7B95-8A44-8552-65323269AE41}" type="slidenum">
              <a:rPr lang="ja-JP" altLang="en-US" smtClean="0"/>
              <a:pPr defTabSz="457200"/>
              <a:t>‹#›</a:t>
            </a:fld>
            <a:endParaRPr lang="ja-JP" altLang="en-US"/>
          </a:p>
        </p:txBody>
      </p:sp>
    </p:spTree>
    <p:extLst>
      <p:ext uri="{BB962C8B-B14F-4D97-AF65-F5344CB8AC3E}">
        <p14:creationId xmlns:p14="http://schemas.microsoft.com/office/powerpoint/2010/main" val="393534370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_2 つの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a:t>マスター タイトルの書式設定</a:t>
            </a:r>
          </a:p>
        </p:txBody>
      </p:sp>
      <p:sp>
        <p:nvSpPr>
          <p:cNvPr id="7" name="スライド番号プレースホルダー 6"/>
          <p:cNvSpPr>
            <a:spLocks noGrp="1"/>
          </p:cNvSpPr>
          <p:nvPr>
            <p:ph type="sldNum" sz="quarter" idx="12"/>
          </p:nvPr>
        </p:nvSpPr>
        <p:spPr/>
        <p:txBody>
          <a:bodyPr/>
          <a:lstStyle/>
          <a:p>
            <a:pPr defTabSz="457200"/>
            <a:fld id="{2FF5E1DE-7B95-8A44-8552-65323269AE41}" type="slidenum">
              <a:rPr lang="ja-JP" altLang="en-US" smtClean="0"/>
              <a:pPr defTabSz="457200"/>
              <a:t>‹#›</a:t>
            </a:fld>
            <a:endParaRPr lang="ja-JP" altLang="en-US"/>
          </a:p>
        </p:txBody>
      </p:sp>
      <p:sp>
        <p:nvSpPr>
          <p:cNvPr id="8" name="テキスト プレースホルダー 2"/>
          <p:cNvSpPr>
            <a:spLocks noGrp="1"/>
          </p:cNvSpPr>
          <p:nvPr>
            <p:ph type="body" idx="1"/>
          </p:nvPr>
        </p:nvSpPr>
        <p:spPr>
          <a:xfrm>
            <a:off x="368548" y="907839"/>
            <a:ext cx="5772857"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kumimoji="1" lang="ja-JP" altLang="en-US"/>
              <a:t>マスター テキストの書式設定</a:t>
            </a:r>
          </a:p>
        </p:txBody>
      </p:sp>
      <p:sp>
        <p:nvSpPr>
          <p:cNvPr id="9" name="コンテンツ プレースホルダー 3"/>
          <p:cNvSpPr>
            <a:spLocks noGrp="1"/>
          </p:cNvSpPr>
          <p:nvPr>
            <p:ph sz="half" idx="2"/>
          </p:nvPr>
        </p:nvSpPr>
        <p:spPr>
          <a:xfrm>
            <a:off x="368548" y="1547600"/>
            <a:ext cx="5772857" cy="4921276"/>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10" name="テキスト プレースホルダー 4"/>
          <p:cNvSpPr>
            <a:spLocks noGrp="1"/>
          </p:cNvSpPr>
          <p:nvPr>
            <p:ph type="body" sz="quarter" idx="3"/>
          </p:nvPr>
        </p:nvSpPr>
        <p:spPr>
          <a:xfrm>
            <a:off x="6193365" y="907839"/>
            <a:ext cx="5772857"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kumimoji="1" lang="ja-JP" altLang="en-US"/>
              <a:t>マスター テキストの書式設定</a:t>
            </a:r>
          </a:p>
        </p:txBody>
      </p:sp>
      <p:sp>
        <p:nvSpPr>
          <p:cNvPr id="11" name="コンテンツ プレースホルダー 5"/>
          <p:cNvSpPr>
            <a:spLocks noGrp="1"/>
          </p:cNvSpPr>
          <p:nvPr>
            <p:ph sz="quarter" idx="4"/>
          </p:nvPr>
        </p:nvSpPr>
        <p:spPr>
          <a:xfrm>
            <a:off x="6193365" y="1547600"/>
            <a:ext cx="5772857" cy="4921276"/>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Tree>
    <p:extLst>
      <p:ext uri="{BB962C8B-B14F-4D97-AF65-F5344CB8AC3E}">
        <p14:creationId xmlns:p14="http://schemas.microsoft.com/office/powerpoint/2010/main" val="114922111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itleOnly" preserve="1">
  <p:cSld name="タイトルのみ">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a:t>マスター タイトルの書式設定</a:t>
            </a:r>
          </a:p>
        </p:txBody>
      </p:sp>
      <p:sp>
        <p:nvSpPr>
          <p:cNvPr id="5" name="スライド番号プレースホルダー 4"/>
          <p:cNvSpPr>
            <a:spLocks noGrp="1"/>
          </p:cNvSpPr>
          <p:nvPr>
            <p:ph type="sldNum" sz="quarter" idx="12"/>
          </p:nvPr>
        </p:nvSpPr>
        <p:spPr/>
        <p:txBody>
          <a:bodyPr/>
          <a:lstStyle/>
          <a:p>
            <a:pPr defTabSz="457200"/>
            <a:fld id="{2FF5E1DE-7B95-8A44-8552-65323269AE41}" type="slidenum">
              <a:rPr lang="ja-JP" altLang="en-US" smtClean="0"/>
              <a:pPr defTabSz="457200"/>
              <a:t>‹#›</a:t>
            </a:fld>
            <a:endParaRPr lang="ja-JP" altLang="en-US"/>
          </a:p>
        </p:txBody>
      </p:sp>
    </p:spTree>
    <p:extLst>
      <p:ext uri="{BB962C8B-B14F-4D97-AF65-F5344CB8AC3E}">
        <p14:creationId xmlns:p14="http://schemas.microsoft.com/office/powerpoint/2010/main" val="221158327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タイトルとコンテンツ（影最小）">
    <p:spTree>
      <p:nvGrpSpPr>
        <p:cNvPr id="1" name=""/>
        <p:cNvGrpSpPr/>
        <p:nvPr/>
      </p:nvGrpSpPr>
      <p:grpSpPr>
        <a:xfrm>
          <a:off x="0" y="0"/>
          <a:ext cx="0" cy="0"/>
          <a:chOff x="0" y="0"/>
          <a:chExt cx="0" cy="0"/>
        </a:xfrm>
      </p:grpSpPr>
      <p:pic>
        <p:nvPicPr>
          <p:cNvPr id="9" name="図 8"/>
          <p:cNvPicPr>
            <a:picLocks noChangeAspect="1"/>
          </p:cNvPicPr>
          <p:nvPr userDrawn="1"/>
        </p:nvPicPr>
        <p:blipFill rotWithShape="1">
          <a:blip r:embed="rId2">
            <a:extLst>
              <a:ext uri="{28A0092B-C50C-407E-A947-70E740481C1C}">
                <a14:useLocalDpi xmlns:a14="http://schemas.microsoft.com/office/drawing/2010/main" val="0"/>
              </a:ext>
            </a:extLst>
          </a:blip>
          <a:srcRect b="3196"/>
          <a:stretch/>
        </p:blipFill>
        <p:spPr>
          <a:xfrm>
            <a:off x="0" y="219062"/>
            <a:ext cx="12192000" cy="6638838"/>
          </a:xfrm>
          <a:prstGeom prst="rect">
            <a:avLst/>
          </a:prstGeom>
        </p:spPr>
      </p:pic>
      <p:sp>
        <p:nvSpPr>
          <p:cNvPr id="2" name="タイトル 1"/>
          <p:cNvSpPr>
            <a:spLocks noGrp="1"/>
          </p:cNvSpPr>
          <p:nvPr>
            <p:ph type="title"/>
          </p:nvPr>
        </p:nvSpPr>
        <p:spPr/>
        <p:txBody>
          <a:bodyPr/>
          <a:lstStyle/>
          <a:p>
            <a:r>
              <a:rPr kumimoji="1" lang="ja-JP" altLang="en-US"/>
              <a:t>マスター タイトルの書式設定</a:t>
            </a:r>
          </a:p>
        </p:txBody>
      </p:sp>
      <p:sp>
        <p:nvSpPr>
          <p:cNvPr id="5" name="スライド番号プレースホルダー 4"/>
          <p:cNvSpPr>
            <a:spLocks noGrp="1"/>
          </p:cNvSpPr>
          <p:nvPr>
            <p:ph type="sldNum" sz="quarter" idx="12"/>
          </p:nvPr>
        </p:nvSpPr>
        <p:spPr/>
        <p:txBody>
          <a:bodyPr/>
          <a:lstStyle/>
          <a:p>
            <a:pPr defTabSz="457200"/>
            <a:fld id="{2FF5E1DE-7B95-8A44-8552-65323269AE41}" type="slidenum">
              <a:rPr lang="ja-JP" altLang="en-US" smtClean="0"/>
              <a:pPr defTabSz="457200"/>
              <a:t>‹#›</a:t>
            </a:fld>
            <a:endParaRPr lang="ja-JP" altLang="en-US"/>
          </a:p>
        </p:txBody>
      </p:sp>
      <p:cxnSp>
        <p:nvCxnSpPr>
          <p:cNvPr id="7" name="直線コネクタ 6"/>
          <p:cNvCxnSpPr/>
          <p:nvPr userDrawn="1"/>
        </p:nvCxnSpPr>
        <p:spPr>
          <a:xfrm>
            <a:off x="240000" y="817200"/>
            <a:ext cx="11712000" cy="0"/>
          </a:xfrm>
          <a:prstGeom prst="line">
            <a:avLst/>
          </a:prstGeom>
          <a:ln>
            <a:solidFill>
              <a:srgbClr val="C7000D"/>
            </a:solidFill>
          </a:ln>
          <a:effectLst/>
        </p:spPr>
        <p:style>
          <a:lnRef idx="2">
            <a:schemeClr val="accent1"/>
          </a:lnRef>
          <a:fillRef idx="0">
            <a:schemeClr val="accent1"/>
          </a:fillRef>
          <a:effectRef idx="1">
            <a:schemeClr val="accent1"/>
          </a:effectRef>
          <a:fontRef idx="minor">
            <a:schemeClr val="tx1"/>
          </a:fontRef>
        </p:style>
      </p:cxnSp>
      <p:sp>
        <p:nvSpPr>
          <p:cNvPr id="10" name="コンテンツ プレースホルダー 2"/>
          <p:cNvSpPr>
            <a:spLocks noGrp="1"/>
          </p:cNvSpPr>
          <p:nvPr>
            <p:ph idx="1"/>
          </p:nvPr>
        </p:nvSpPr>
        <p:spPr>
          <a:xfrm>
            <a:off x="368549" y="903600"/>
            <a:ext cx="11583452" cy="5540400"/>
          </a:xfrm>
        </p:spPr>
        <p:txBody>
          <a:bodyPr/>
          <a:lstStyle>
            <a:lvl2pPr indent="-169200">
              <a:defRPr/>
            </a:lvl2pPr>
            <a:lvl3pPr indent="-169200">
              <a:defRPr/>
            </a:lvl3pPr>
            <a:lvl4pPr indent="-169200">
              <a:defRPr/>
            </a:lvl4pPr>
            <a:lvl5pPr indent="-169200">
              <a:defRPr sz="1600"/>
            </a:lvl5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Tree>
    <p:extLst>
      <p:ext uri="{BB962C8B-B14F-4D97-AF65-F5344CB8AC3E}">
        <p14:creationId xmlns:p14="http://schemas.microsoft.com/office/powerpoint/2010/main" val="278970259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userDrawn="1">
  <p:cSld name="タイトルとコンテンツ（社内使用限定）">
    <p:spTree>
      <p:nvGrpSpPr>
        <p:cNvPr id="1" name=""/>
        <p:cNvGrpSpPr/>
        <p:nvPr/>
      </p:nvGrpSpPr>
      <p:grpSpPr>
        <a:xfrm>
          <a:off x="0" y="0"/>
          <a:ext cx="0" cy="0"/>
          <a:chOff x="0" y="0"/>
          <a:chExt cx="0" cy="0"/>
        </a:xfrm>
      </p:grpSpPr>
      <p:pic>
        <p:nvPicPr>
          <p:cNvPr id="9" name="図 8"/>
          <p:cNvPicPr>
            <a:picLocks noChangeAspect="1"/>
          </p:cNvPicPr>
          <p:nvPr userDrawn="1"/>
        </p:nvPicPr>
        <p:blipFill rotWithShape="1">
          <a:blip r:embed="rId2" cstate="email">
            <a:extLst>
              <a:ext uri="{28A0092B-C50C-407E-A947-70E740481C1C}">
                <a14:useLocalDpi xmlns:a14="http://schemas.microsoft.com/office/drawing/2010/main"/>
              </a:ext>
            </a:extLst>
          </a:blip>
          <a:srcRect b="3196"/>
          <a:stretch/>
        </p:blipFill>
        <p:spPr>
          <a:xfrm>
            <a:off x="0" y="219062"/>
            <a:ext cx="12192000" cy="6638838"/>
          </a:xfrm>
          <a:prstGeom prst="rect">
            <a:avLst/>
          </a:prstGeom>
        </p:spPr>
      </p:pic>
      <p:sp>
        <p:nvSpPr>
          <p:cNvPr id="2" name="タイトル 1"/>
          <p:cNvSpPr>
            <a:spLocks noGrp="1"/>
          </p:cNvSpPr>
          <p:nvPr>
            <p:ph type="title"/>
          </p:nvPr>
        </p:nvSpPr>
        <p:spPr/>
        <p:txBody>
          <a:bodyPr/>
          <a:lstStyle/>
          <a:p>
            <a:r>
              <a:rPr kumimoji="1" lang="ja-JP" altLang="en-US"/>
              <a:t>マスター タイトルの書式設定</a:t>
            </a:r>
          </a:p>
        </p:txBody>
      </p:sp>
      <p:sp>
        <p:nvSpPr>
          <p:cNvPr id="5" name="スライド番号プレースホルダー 4"/>
          <p:cNvSpPr>
            <a:spLocks noGrp="1"/>
          </p:cNvSpPr>
          <p:nvPr>
            <p:ph type="sldNum" sz="quarter" idx="12"/>
          </p:nvPr>
        </p:nvSpPr>
        <p:spPr/>
        <p:txBody>
          <a:bodyPr/>
          <a:lstStyle/>
          <a:p>
            <a:pPr defTabSz="457200"/>
            <a:fld id="{2FF5E1DE-7B95-8A44-8552-65323269AE41}" type="slidenum">
              <a:rPr lang="ja-JP" altLang="en-US" smtClean="0"/>
              <a:pPr defTabSz="457200"/>
              <a:t>‹#›</a:t>
            </a:fld>
            <a:endParaRPr lang="ja-JP" altLang="en-US"/>
          </a:p>
        </p:txBody>
      </p:sp>
      <p:cxnSp>
        <p:nvCxnSpPr>
          <p:cNvPr id="7" name="直線コネクタ 6"/>
          <p:cNvCxnSpPr/>
          <p:nvPr userDrawn="1"/>
        </p:nvCxnSpPr>
        <p:spPr>
          <a:xfrm>
            <a:off x="240000" y="817200"/>
            <a:ext cx="11712000" cy="0"/>
          </a:xfrm>
          <a:prstGeom prst="line">
            <a:avLst/>
          </a:prstGeom>
          <a:ln>
            <a:solidFill>
              <a:srgbClr val="DF0010"/>
            </a:solidFill>
          </a:ln>
          <a:effectLst/>
        </p:spPr>
        <p:style>
          <a:lnRef idx="2">
            <a:schemeClr val="accent1"/>
          </a:lnRef>
          <a:fillRef idx="0">
            <a:schemeClr val="accent1"/>
          </a:fillRef>
          <a:effectRef idx="1">
            <a:schemeClr val="accent1"/>
          </a:effectRef>
          <a:fontRef idx="minor">
            <a:schemeClr val="tx1"/>
          </a:fontRef>
        </p:style>
      </p:cxnSp>
      <p:sp>
        <p:nvSpPr>
          <p:cNvPr id="10" name="コンテンツ プレースホルダー 2"/>
          <p:cNvSpPr>
            <a:spLocks noGrp="1"/>
          </p:cNvSpPr>
          <p:nvPr>
            <p:ph idx="1"/>
          </p:nvPr>
        </p:nvSpPr>
        <p:spPr>
          <a:xfrm>
            <a:off x="368549" y="903600"/>
            <a:ext cx="11583452" cy="5540400"/>
          </a:xfrm>
        </p:spPr>
        <p:txBody>
          <a:bodyPr/>
          <a:lstStyle>
            <a:lvl2pPr indent="-169200">
              <a:defRPr/>
            </a:lvl2pPr>
            <a:lvl3pPr indent="-169200">
              <a:defRPr/>
            </a:lvl3pPr>
            <a:lvl4pPr indent="-169200">
              <a:defRPr/>
            </a:lvl4pPr>
            <a:lvl5pPr indent="-169200">
              <a:defRPr sz="1600"/>
            </a:lvl5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pic>
        <p:nvPicPr>
          <p:cNvPr id="8" name="Picture 2" descr="K:\新ロゴ（データ一式）\★logo_3_jn.png"/>
          <p:cNvPicPr>
            <a:picLocks noChangeAspect="1" noChangeArrowheads="1"/>
          </p:cNvPicPr>
          <p:nvPr userDrawn="1"/>
        </p:nvPicPr>
        <p:blipFill>
          <a:blip r:embed="rId3" cstate="email">
            <a:extLst>
              <a:ext uri="{28A0092B-C50C-407E-A947-70E740481C1C}">
                <a14:useLocalDpi xmlns:a14="http://schemas.microsoft.com/office/drawing/2010/main"/>
              </a:ext>
            </a:extLst>
          </a:blip>
          <a:srcRect/>
          <a:stretch>
            <a:fillRect/>
          </a:stretch>
        </p:blipFill>
        <p:spPr bwMode="auto">
          <a:xfrm>
            <a:off x="10340834" y="35636"/>
            <a:ext cx="1741727" cy="78156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5233233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type="title" preserve="1">
  <p:cSld name="3_タイトル スライド">
    <p:spTree>
      <p:nvGrpSpPr>
        <p:cNvPr id="1" name=""/>
        <p:cNvGrpSpPr/>
        <p:nvPr/>
      </p:nvGrpSpPr>
      <p:grpSpPr>
        <a:xfrm>
          <a:off x="0" y="0"/>
          <a:ext cx="0" cy="0"/>
          <a:chOff x="0" y="0"/>
          <a:chExt cx="0" cy="0"/>
        </a:xfrm>
      </p:grpSpPr>
      <p:sp>
        <p:nvSpPr>
          <p:cNvPr id="10" name="Freeform 5"/>
          <p:cNvSpPr>
            <a:spLocks/>
          </p:cNvSpPr>
          <p:nvPr userDrawn="1"/>
        </p:nvSpPr>
        <p:spPr bwMode="auto">
          <a:xfrm>
            <a:off x="233538" y="169337"/>
            <a:ext cx="11730712" cy="5207000"/>
          </a:xfrm>
          <a:custGeom>
            <a:avLst/>
            <a:gdLst>
              <a:gd name="T0" fmla="*/ 0 w 1618"/>
              <a:gd name="T1" fmla="*/ 0 h 957"/>
              <a:gd name="T2" fmla="*/ 0 w 1618"/>
              <a:gd name="T3" fmla="*/ 957 h 957"/>
              <a:gd name="T4" fmla="*/ 1279 w 1618"/>
              <a:gd name="T5" fmla="*/ 842 h 957"/>
              <a:gd name="T6" fmla="*/ 1618 w 1618"/>
              <a:gd name="T7" fmla="*/ 472 h 957"/>
              <a:gd name="T8" fmla="*/ 1618 w 1618"/>
              <a:gd name="T9" fmla="*/ 0 h 957"/>
              <a:gd name="T10" fmla="*/ 0 w 1618"/>
              <a:gd name="T11" fmla="*/ 0 h 957"/>
            </a:gdLst>
            <a:ahLst/>
            <a:cxnLst>
              <a:cxn ang="0">
                <a:pos x="T0" y="T1"/>
              </a:cxn>
              <a:cxn ang="0">
                <a:pos x="T2" y="T3"/>
              </a:cxn>
              <a:cxn ang="0">
                <a:pos x="T4" y="T5"/>
              </a:cxn>
              <a:cxn ang="0">
                <a:pos x="T6" y="T7"/>
              </a:cxn>
              <a:cxn ang="0">
                <a:pos x="T8" y="T9"/>
              </a:cxn>
              <a:cxn ang="0">
                <a:pos x="T10" y="T11"/>
              </a:cxn>
            </a:cxnLst>
            <a:rect l="0" t="0" r="r" b="b"/>
            <a:pathLst>
              <a:path w="1618" h="957">
                <a:moveTo>
                  <a:pt x="0" y="0"/>
                </a:moveTo>
                <a:cubicBezTo>
                  <a:pt x="0" y="957"/>
                  <a:pt x="0" y="957"/>
                  <a:pt x="0" y="957"/>
                </a:cubicBezTo>
                <a:cubicBezTo>
                  <a:pt x="1279" y="842"/>
                  <a:pt x="1279" y="842"/>
                  <a:pt x="1279" y="842"/>
                </a:cubicBezTo>
                <a:cubicBezTo>
                  <a:pt x="1465" y="825"/>
                  <a:pt x="1618" y="659"/>
                  <a:pt x="1618" y="472"/>
                </a:cubicBezTo>
                <a:cubicBezTo>
                  <a:pt x="1618" y="0"/>
                  <a:pt x="1618" y="0"/>
                  <a:pt x="1618" y="0"/>
                </a:cubicBezTo>
                <a:lnTo>
                  <a:pt x="0" y="0"/>
                </a:lnTo>
                <a:close/>
              </a:path>
            </a:pathLst>
          </a:custGeom>
          <a:solidFill>
            <a:schemeClr val="accent4"/>
          </a:solidFill>
          <a:ln>
            <a:noFill/>
          </a:ln>
        </p:spPr>
        <p:txBody>
          <a:bodyPr lIns="127667" tIns="63834" rIns="127667" bIns="63834"/>
          <a:lstStyle/>
          <a:p>
            <a:pPr marL="0" marR="0" lvl="0" indent="0" algn="l" defTabSz="478835" rtl="0" eaLnBrk="1" fontAlgn="auto" latinLnBrk="0" hangingPunct="1">
              <a:lnSpc>
                <a:spcPct val="100000"/>
              </a:lnSpc>
              <a:spcBef>
                <a:spcPts val="0"/>
              </a:spcBef>
              <a:spcAft>
                <a:spcPts val="0"/>
              </a:spcAft>
              <a:buClrTx/>
              <a:buSzTx/>
              <a:buFontTx/>
              <a:buNone/>
              <a:tabLst/>
              <a:defRPr/>
            </a:pPr>
            <a:endParaRPr kumimoji="1" lang="ja-JP" altLang="en-US" sz="2533"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endParaRPr>
          </a:p>
        </p:txBody>
      </p:sp>
      <p:sp>
        <p:nvSpPr>
          <p:cNvPr id="2" name="タイトル 1"/>
          <p:cNvSpPr>
            <a:spLocks noGrp="1"/>
          </p:cNvSpPr>
          <p:nvPr>
            <p:ph type="ctrTitle"/>
          </p:nvPr>
        </p:nvSpPr>
        <p:spPr>
          <a:xfrm>
            <a:off x="914400" y="1416804"/>
            <a:ext cx="10363200" cy="1470025"/>
          </a:xfrm>
          <a:prstGeom prst="rect">
            <a:avLst/>
          </a:prstGeom>
        </p:spPr>
        <p:txBody>
          <a:bodyPr lIns="95767" tIns="47884" rIns="95767" bIns="47884" anchor="b">
            <a:normAutofit/>
          </a:bodyPr>
          <a:lstStyle>
            <a:lvl1pPr algn="l">
              <a:defRPr sz="4000" kern="1200">
                <a:solidFill>
                  <a:schemeClr val="bg1"/>
                </a:solidFill>
                <a:latin typeface="Meiryo UI" panose="020B0604030504040204" pitchFamily="50" charset="-128"/>
                <a:ea typeface="Meiryo UI" panose="020B0604030504040204" pitchFamily="50" charset="-128"/>
              </a:defRPr>
            </a:lvl1pPr>
          </a:lstStyle>
          <a:p>
            <a:r>
              <a:rPr kumimoji="1" lang="ja-JP" altLang="en-US"/>
              <a:t>マスター タイトルの書式設定</a:t>
            </a:r>
          </a:p>
        </p:txBody>
      </p:sp>
      <p:sp>
        <p:nvSpPr>
          <p:cNvPr id="3" name="サブタイトル 2"/>
          <p:cNvSpPr>
            <a:spLocks noGrp="1"/>
          </p:cNvSpPr>
          <p:nvPr>
            <p:ph type="subTitle" idx="1"/>
          </p:nvPr>
        </p:nvSpPr>
        <p:spPr>
          <a:xfrm>
            <a:off x="916801" y="3420000"/>
            <a:ext cx="9691436" cy="977153"/>
          </a:xfrm>
          <a:prstGeom prst="rect">
            <a:avLst/>
          </a:prstGeom>
        </p:spPr>
        <p:txBody>
          <a:bodyPr lIns="95767" tIns="47884" rIns="95767" bIns="47884">
            <a:normAutofit/>
          </a:bodyPr>
          <a:lstStyle>
            <a:lvl1pPr marL="0" indent="0" algn="l">
              <a:buNone/>
              <a:defRPr sz="2800">
                <a:solidFill>
                  <a:schemeClr val="bg1"/>
                </a:solidFill>
                <a:latin typeface="Meiryo UI" panose="020B0604030504040204" pitchFamily="50" charset="-128"/>
                <a:ea typeface="Meiryo UI" panose="020B0604030504040204" pitchFamily="50" charset="-128"/>
              </a:defRPr>
            </a:lvl1pPr>
            <a:lvl2pPr marL="638335" indent="0" algn="ctr">
              <a:buNone/>
              <a:defRPr>
                <a:solidFill>
                  <a:schemeClr val="tx1">
                    <a:tint val="75000"/>
                  </a:schemeClr>
                </a:solidFill>
              </a:defRPr>
            </a:lvl2pPr>
            <a:lvl3pPr marL="1276669" indent="0" algn="ctr">
              <a:buNone/>
              <a:defRPr>
                <a:solidFill>
                  <a:schemeClr val="tx1">
                    <a:tint val="75000"/>
                  </a:schemeClr>
                </a:solidFill>
              </a:defRPr>
            </a:lvl3pPr>
            <a:lvl4pPr marL="1915003" indent="0" algn="ctr">
              <a:buNone/>
              <a:defRPr>
                <a:solidFill>
                  <a:schemeClr val="tx1">
                    <a:tint val="75000"/>
                  </a:schemeClr>
                </a:solidFill>
              </a:defRPr>
            </a:lvl4pPr>
            <a:lvl5pPr marL="2553338" indent="0" algn="ctr">
              <a:buNone/>
              <a:defRPr>
                <a:solidFill>
                  <a:schemeClr val="tx1">
                    <a:tint val="75000"/>
                  </a:schemeClr>
                </a:solidFill>
              </a:defRPr>
            </a:lvl5pPr>
            <a:lvl6pPr marL="3191671" indent="0" algn="ctr">
              <a:buNone/>
              <a:defRPr>
                <a:solidFill>
                  <a:schemeClr val="tx1">
                    <a:tint val="75000"/>
                  </a:schemeClr>
                </a:solidFill>
              </a:defRPr>
            </a:lvl6pPr>
            <a:lvl7pPr marL="3830007" indent="0" algn="ctr">
              <a:buNone/>
              <a:defRPr>
                <a:solidFill>
                  <a:schemeClr val="tx1">
                    <a:tint val="75000"/>
                  </a:schemeClr>
                </a:solidFill>
              </a:defRPr>
            </a:lvl7pPr>
            <a:lvl8pPr marL="4468342" indent="0" algn="ctr">
              <a:buNone/>
              <a:defRPr>
                <a:solidFill>
                  <a:schemeClr val="tx1">
                    <a:tint val="75000"/>
                  </a:schemeClr>
                </a:solidFill>
              </a:defRPr>
            </a:lvl8pPr>
            <a:lvl9pPr marL="5106676" indent="0" algn="ctr">
              <a:buNone/>
              <a:defRPr>
                <a:solidFill>
                  <a:schemeClr val="tx1">
                    <a:tint val="75000"/>
                  </a:schemeClr>
                </a:solidFill>
              </a:defRPr>
            </a:lvl9pPr>
          </a:lstStyle>
          <a:p>
            <a:r>
              <a:rPr kumimoji="1" lang="ja-JP" altLang="en-US"/>
              <a:t>マスター サブタイトルの書式設定</a:t>
            </a:r>
          </a:p>
        </p:txBody>
      </p:sp>
      <p:sp>
        <p:nvSpPr>
          <p:cNvPr id="9" name="フッター プレースホルダー 12"/>
          <p:cNvSpPr>
            <a:spLocks noGrp="1"/>
          </p:cNvSpPr>
          <p:nvPr>
            <p:ph type="ftr" sz="quarter" idx="11"/>
          </p:nvPr>
        </p:nvSpPr>
        <p:spPr>
          <a:xfrm>
            <a:off x="609599" y="6099529"/>
            <a:ext cx="7057660" cy="365125"/>
          </a:xfrm>
          <a:prstGeom prst="rect">
            <a:avLst/>
          </a:prstGeom>
        </p:spPr>
        <p:txBody>
          <a:bodyPr lIns="95767" tIns="47884" rIns="95767" bIns="47884"/>
          <a:lstStyle>
            <a:lvl1pPr algn="l">
              <a:defRPr sz="1800">
                <a:latin typeface="Meiryo UI" panose="020B0604030504040204" pitchFamily="50" charset="-128"/>
                <a:ea typeface="Meiryo UI" panose="020B0604030504040204" pitchFamily="50" charset="-128"/>
              </a:defRPr>
            </a:lvl1pPr>
          </a:lstStyle>
          <a:p>
            <a:pPr marL="0" marR="0" lvl="0" indent="0" algn="l" defTabSz="478835"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endParaRPr>
          </a:p>
        </p:txBody>
      </p:sp>
      <p:sp>
        <p:nvSpPr>
          <p:cNvPr id="12" name="日付プレースホルダー 11"/>
          <p:cNvSpPr>
            <a:spLocks noGrp="1"/>
          </p:cNvSpPr>
          <p:nvPr>
            <p:ph type="dt" sz="half" idx="10"/>
          </p:nvPr>
        </p:nvSpPr>
        <p:spPr>
          <a:xfrm>
            <a:off x="609600" y="5691768"/>
            <a:ext cx="3860800" cy="365125"/>
          </a:xfrm>
          <a:prstGeom prst="rect">
            <a:avLst/>
          </a:prstGeom>
        </p:spPr>
        <p:txBody>
          <a:bodyPr lIns="95767" tIns="47884" rIns="95767" bIns="47884"/>
          <a:lstStyle>
            <a:lvl1pPr algn="l">
              <a:defRPr sz="1800">
                <a:solidFill>
                  <a:srgbClr val="000000"/>
                </a:solidFill>
                <a:latin typeface="Meiryo UI" panose="020B0604030504040204" pitchFamily="50" charset="-128"/>
                <a:ea typeface="Meiryo UI" panose="020B0604030504040204" pitchFamily="50" charset="-128"/>
              </a:defRPr>
            </a:lvl1pPr>
          </a:lstStyle>
          <a:p>
            <a:pPr marL="0" marR="0" lvl="0" indent="0" algn="l" defTabSz="478835"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endParaRPr>
          </a:p>
        </p:txBody>
      </p:sp>
      <p:pic>
        <p:nvPicPr>
          <p:cNvPr id="8" name="Picture 2" descr="K:\新ロゴ（データ一式）\DLH_3_EN.png"/>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10521597" y="5335811"/>
            <a:ext cx="1644525" cy="152167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1792336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3_タイトルとコンテンツ">
    <p:spTree>
      <p:nvGrpSpPr>
        <p:cNvPr id="1" name=""/>
        <p:cNvGrpSpPr/>
        <p:nvPr/>
      </p:nvGrpSpPr>
      <p:grpSpPr>
        <a:xfrm>
          <a:off x="0" y="0"/>
          <a:ext cx="0" cy="0"/>
          <a:chOff x="0" y="0"/>
          <a:chExt cx="0" cy="0"/>
        </a:xfrm>
      </p:grpSpPr>
      <p:sp>
        <p:nvSpPr>
          <p:cNvPr id="9" name="Freeform 8"/>
          <p:cNvSpPr>
            <a:spLocks/>
          </p:cNvSpPr>
          <p:nvPr userDrawn="1"/>
        </p:nvSpPr>
        <p:spPr bwMode="auto">
          <a:xfrm>
            <a:off x="-2100" y="5505984"/>
            <a:ext cx="12192504" cy="1353504"/>
          </a:xfrm>
          <a:custGeom>
            <a:avLst/>
            <a:gdLst>
              <a:gd name="T0" fmla="*/ 3622 w 3622"/>
              <a:gd name="T1" fmla="*/ 608 h 608"/>
              <a:gd name="T2" fmla="*/ 3622 w 3622"/>
              <a:gd name="T3" fmla="*/ 0 h 608"/>
              <a:gd name="T4" fmla="*/ 3622 w 3622"/>
              <a:gd name="T5" fmla="*/ 0 h 608"/>
              <a:gd name="T6" fmla="*/ 3622 w 3622"/>
              <a:gd name="T7" fmla="*/ 14 h 608"/>
              <a:gd name="T8" fmla="*/ 3616 w 3622"/>
              <a:gd name="T9" fmla="*/ 46 h 608"/>
              <a:gd name="T10" fmla="*/ 3612 w 3622"/>
              <a:gd name="T11" fmla="*/ 68 h 608"/>
              <a:gd name="T12" fmla="*/ 3604 w 3622"/>
              <a:gd name="T13" fmla="*/ 94 h 608"/>
              <a:gd name="T14" fmla="*/ 3596 w 3622"/>
              <a:gd name="T15" fmla="*/ 122 h 608"/>
              <a:gd name="T16" fmla="*/ 3584 w 3622"/>
              <a:gd name="T17" fmla="*/ 150 h 608"/>
              <a:gd name="T18" fmla="*/ 3568 w 3622"/>
              <a:gd name="T19" fmla="*/ 178 h 608"/>
              <a:gd name="T20" fmla="*/ 3550 w 3622"/>
              <a:gd name="T21" fmla="*/ 206 h 608"/>
              <a:gd name="T22" fmla="*/ 3526 w 3622"/>
              <a:gd name="T23" fmla="*/ 232 h 608"/>
              <a:gd name="T24" fmla="*/ 3514 w 3622"/>
              <a:gd name="T25" fmla="*/ 246 h 608"/>
              <a:gd name="T26" fmla="*/ 3498 w 3622"/>
              <a:gd name="T27" fmla="*/ 258 h 608"/>
              <a:gd name="T28" fmla="*/ 3484 w 3622"/>
              <a:gd name="T29" fmla="*/ 268 h 608"/>
              <a:gd name="T30" fmla="*/ 3466 w 3622"/>
              <a:gd name="T31" fmla="*/ 280 h 608"/>
              <a:gd name="T32" fmla="*/ 3448 w 3622"/>
              <a:gd name="T33" fmla="*/ 288 h 608"/>
              <a:gd name="T34" fmla="*/ 3430 w 3622"/>
              <a:gd name="T35" fmla="*/ 298 h 608"/>
              <a:gd name="T36" fmla="*/ 3410 w 3622"/>
              <a:gd name="T37" fmla="*/ 304 h 608"/>
              <a:gd name="T38" fmla="*/ 3386 w 3622"/>
              <a:gd name="T39" fmla="*/ 310 h 608"/>
              <a:gd name="T40" fmla="*/ 3364 w 3622"/>
              <a:gd name="T41" fmla="*/ 316 h 608"/>
              <a:gd name="T42" fmla="*/ 3338 w 3622"/>
              <a:gd name="T43" fmla="*/ 318 h 608"/>
              <a:gd name="T44" fmla="*/ 3338 w 3622"/>
              <a:gd name="T45" fmla="*/ 318 h 608"/>
              <a:gd name="T46" fmla="*/ 0 w 3622"/>
              <a:gd name="T47" fmla="*/ 608 h 608"/>
              <a:gd name="T48" fmla="*/ 3622 w 3622"/>
              <a:gd name="T49" fmla="*/ 608 h 608"/>
              <a:gd name="connsiteX0" fmla="*/ 10000 w 10000"/>
              <a:gd name="connsiteY0" fmla="*/ 10000 h 10000"/>
              <a:gd name="connsiteX1" fmla="*/ 10000 w 10000"/>
              <a:gd name="connsiteY1" fmla="*/ 0 h 10000"/>
              <a:gd name="connsiteX2" fmla="*/ 10000 w 10000"/>
              <a:gd name="connsiteY2" fmla="*/ 0 h 10000"/>
              <a:gd name="connsiteX3" fmla="*/ 10000 w 10000"/>
              <a:gd name="connsiteY3" fmla="*/ 230 h 10000"/>
              <a:gd name="connsiteX4" fmla="*/ 9983 w 10000"/>
              <a:gd name="connsiteY4" fmla="*/ 757 h 10000"/>
              <a:gd name="connsiteX5" fmla="*/ 9972 w 10000"/>
              <a:gd name="connsiteY5" fmla="*/ 1118 h 10000"/>
              <a:gd name="connsiteX6" fmla="*/ 9950 w 10000"/>
              <a:gd name="connsiteY6" fmla="*/ 1546 h 10000"/>
              <a:gd name="connsiteX7" fmla="*/ 9928 w 10000"/>
              <a:gd name="connsiteY7" fmla="*/ 2007 h 10000"/>
              <a:gd name="connsiteX8" fmla="*/ 9895 w 10000"/>
              <a:gd name="connsiteY8" fmla="*/ 2467 h 10000"/>
              <a:gd name="connsiteX9" fmla="*/ 9851 w 10000"/>
              <a:gd name="connsiteY9" fmla="*/ 2928 h 10000"/>
              <a:gd name="connsiteX10" fmla="*/ 9801 w 10000"/>
              <a:gd name="connsiteY10" fmla="*/ 3388 h 10000"/>
              <a:gd name="connsiteX11" fmla="*/ 9735 w 10000"/>
              <a:gd name="connsiteY11" fmla="*/ 3816 h 10000"/>
              <a:gd name="connsiteX12" fmla="*/ 9702 w 10000"/>
              <a:gd name="connsiteY12" fmla="*/ 4046 h 10000"/>
              <a:gd name="connsiteX13" fmla="*/ 9658 w 10000"/>
              <a:gd name="connsiteY13" fmla="*/ 4243 h 10000"/>
              <a:gd name="connsiteX14" fmla="*/ 9619 w 10000"/>
              <a:gd name="connsiteY14" fmla="*/ 4408 h 10000"/>
              <a:gd name="connsiteX15" fmla="*/ 9569 w 10000"/>
              <a:gd name="connsiteY15" fmla="*/ 4605 h 10000"/>
              <a:gd name="connsiteX16" fmla="*/ 9520 w 10000"/>
              <a:gd name="connsiteY16" fmla="*/ 4737 h 10000"/>
              <a:gd name="connsiteX17" fmla="*/ 9470 w 10000"/>
              <a:gd name="connsiteY17" fmla="*/ 4901 h 10000"/>
              <a:gd name="connsiteX18" fmla="*/ 9415 w 10000"/>
              <a:gd name="connsiteY18" fmla="*/ 5000 h 10000"/>
              <a:gd name="connsiteX19" fmla="*/ 9348 w 10000"/>
              <a:gd name="connsiteY19" fmla="*/ 5099 h 10000"/>
              <a:gd name="connsiteX20" fmla="*/ 9288 w 10000"/>
              <a:gd name="connsiteY20" fmla="*/ 5197 h 10000"/>
              <a:gd name="connsiteX21" fmla="*/ 9216 w 10000"/>
              <a:gd name="connsiteY21" fmla="*/ 5230 h 10000"/>
              <a:gd name="connsiteX22" fmla="*/ 9216 w 10000"/>
              <a:gd name="connsiteY22" fmla="*/ 5230 h 10000"/>
              <a:gd name="connsiteX23" fmla="*/ 1190 w 10000"/>
              <a:gd name="connsiteY23" fmla="*/ 9414 h 10000"/>
              <a:gd name="connsiteX24" fmla="*/ 0 w 10000"/>
              <a:gd name="connsiteY24" fmla="*/ 10000 h 10000"/>
              <a:gd name="connsiteX25" fmla="*/ 10000 w 10000"/>
              <a:gd name="connsiteY25" fmla="*/ 10000 h 10000"/>
              <a:gd name="connsiteX0" fmla="*/ 10000 w 10000"/>
              <a:gd name="connsiteY0" fmla="*/ 10000 h 10011"/>
              <a:gd name="connsiteX1" fmla="*/ 10000 w 10000"/>
              <a:gd name="connsiteY1" fmla="*/ 0 h 10011"/>
              <a:gd name="connsiteX2" fmla="*/ 10000 w 10000"/>
              <a:gd name="connsiteY2" fmla="*/ 0 h 10011"/>
              <a:gd name="connsiteX3" fmla="*/ 10000 w 10000"/>
              <a:gd name="connsiteY3" fmla="*/ 230 h 10011"/>
              <a:gd name="connsiteX4" fmla="*/ 9983 w 10000"/>
              <a:gd name="connsiteY4" fmla="*/ 757 h 10011"/>
              <a:gd name="connsiteX5" fmla="*/ 9972 w 10000"/>
              <a:gd name="connsiteY5" fmla="*/ 1118 h 10011"/>
              <a:gd name="connsiteX6" fmla="*/ 9950 w 10000"/>
              <a:gd name="connsiteY6" fmla="*/ 1546 h 10011"/>
              <a:gd name="connsiteX7" fmla="*/ 9928 w 10000"/>
              <a:gd name="connsiteY7" fmla="*/ 2007 h 10011"/>
              <a:gd name="connsiteX8" fmla="*/ 9895 w 10000"/>
              <a:gd name="connsiteY8" fmla="*/ 2467 h 10011"/>
              <a:gd name="connsiteX9" fmla="*/ 9851 w 10000"/>
              <a:gd name="connsiteY9" fmla="*/ 2928 h 10011"/>
              <a:gd name="connsiteX10" fmla="*/ 9801 w 10000"/>
              <a:gd name="connsiteY10" fmla="*/ 3388 h 10011"/>
              <a:gd name="connsiteX11" fmla="*/ 9735 w 10000"/>
              <a:gd name="connsiteY11" fmla="*/ 3816 h 10011"/>
              <a:gd name="connsiteX12" fmla="*/ 9702 w 10000"/>
              <a:gd name="connsiteY12" fmla="*/ 4046 h 10011"/>
              <a:gd name="connsiteX13" fmla="*/ 9658 w 10000"/>
              <a:gd name="connsiteY13" fmla="*/ 4243 h 10011"/>
              <a:gd name="connsiteX14" fmla="*/ 9619 w 10000"/>
              <a:gd name="connsiteY14" fmla="*/ 4408 h 10011"/>
              <a:gd name="connsiteX15" fmla="*/ 9569 w 10000"/>
              <a:gd name="connsiteY15" fmla="*/ 4605 h 10011"/>
              <a:gd name="connsiteX16" fmla="*/ 9520 w 10000"/>
              <a:gd name="connsiteY16" fmla="*/ 4737 h 10011"/>
              <a:gd name="connsiteX17" fmla="*/ 9470 w 10000"/>
              <a:gd name="connsiteY17" fmla="*/ 4901 h 10011"/>
              <a:gd name="connsiteX18" fmla="*/ 9415 w 10000"/>
              <a:gd name="connsiteY18" fmla="*/ 5000 h 10011"/>
              <a:gd name="connsiteX19" fmla="*/ 9348 w 10000"/>
              <a:gd name="connsiteY19" fmla="*/ 5099 h 10011"/>
              <a:gd name="connsiteX20" fmla="*/ 9288 w 10000"/>
              <a:gd name="connsiteY20" fmla="*/ 5197 h 10011"/>
              <a:gd name="connsiteX21" fmla="*/ 9216 w 10000"/>
              <a:gd name="connsiteY21" fmla="*/ 5230 h 10011"/>
              <a:gd name="connsiteX22" fmla="*/ 9216 w 10000"/>
              <a:gd name="connsiteY22" fmla="*/ 5230 h 10011"/>
              <a:gd name="connsiteX23" fmla="*/ 1190 w 10000"/>
              <a:gd name="connsiteY23" fmla="*/ 9414 h 10011"/>
              <a:gd name="connsiteX24" fmla="*/ 0 w 10000"/>
              <a:gd name="connsiteY24" fmla="*/ 10000 h 10011"/>
              <a:gd name="connsiteX25" fmla="*/ 1185 w 10000"/>
              <a:gd name="connsiteY25" fmla="*/ 10011 h 10011"/>
              <a:gd name="connsiteX26" fmla="*/ 10000 w 10000"/>
              <a:gd name="connsiteY26" fmla="*/ 10000 h 10011"/>
              <a:gd name="connsiteX0" fmla="*/ 8815 w 8815"/>
              <a:gd name="connsiteY0" fmla="*/ 10000 h 10011"/>
              <a:gd name="connsiteX1" fmla="*/ 8815 w 8815"/>
              <a:gd name="connsiteY1" fmla="*/ 0 h 10011"/>
              <a:gd name="connsiteX2" fmla="*/ 8815 w 8815"/>
              <a:gd name="connsiteY2" fmla="*/ 0 h 10011"/>
              <a:gd name="connsiteX3" fmla="*/ 8815 w 8815"/>
              <a:gd name="connsiteY3" fmla="*/ 230 h 10011"/>
              <a:gd name="connsiteX4" fmla="*/ 8798 w 8815"/>
              <a:gd name="connsiteY4" fmla="*/ 757 h 10011"/>
              <a:gd name="connsiteX5" fmla="*/ 8787 w 8815"/>
              <a:gd name="connsiteY5" fmla="*/ 1118 h 10011"/>
              <a:gd name="connsiteX6" fmla="*/ 8765 w 8815"/>
              <a:gd name="connsiteY6" fmla="*/ 1546 h 10011"/>
              <a:gd name="connsiteX7" fmla="*/ 8743 w 8815"/>
              <a:gd name="connsiteY7" fmla="*/ 2007 h 10011"/>
              <a:gd name="connsiteX8" fmla="*/ 8710 w 8815"/>
              <a:gd name="connsiteY8" fmla="*/ 2467 h 10011"/>
              <a:gd name="connsiteX9" fmla="*/ 8666 w 8815"/>
              <a:gd name="connsiteY9" fmla="*/ 2928 h 10011"/>
              <a:gd name="connsiteX10" fmla="*/ 8616 w 8815"/>
              <a:gd name="connsiteY10" fmla="*/ 3388 h 10011"/>
              <a:gd name="connsiteX11" fmla="*/ 8550 w 8815"/>
              <a:gd name="connsiteY11" fmla="*/ 3816 h 10011"/>
              <a:gd name="connsiteX12" fmla="*/ 8517 w 8815"/>
              <a:gd name="connsiteY12" fmla="*/ 4046 h 10011"/>
              <a:gd name="connsiteX13" fmla="*/ 8473 w 8815"/>
              <a:gd name="connsiteY13" fmla="*/ 4243 h 10011"/>
              <a:gd name="connsiteX14" fmla="*/ 8434 w 8815"/>
              <a:gd name="connsiteY14" fmla="*/ 4408 h 10011"/>
              <a:gd name="connsiteX15" fmla="*/ 8384 w 8815"/>
              <a:gd name="connsiteY15" fmla="*/ 4605 h 10011"/>
              <a:gd name="connsiteX16" fmla="*/ 8335 w 8815"/>
              <a:gd name="connsiteY16" fmla="*/ 4737 h 10011"/>
              <a:gd name="connsiteX17" fmla="*/ 8285 w 8815"/>
              <a:gd name="connsiteY17" fmla="*/ 4901 h 10011"/>
              <a:gd name="connsiteX18" fmla="*/ 8230 w 8815"/>
              <a:gd name="connsiteY18" fmla="*/ 5000 h 10011"/>
              <a:gd name="connsiteX19" fmla="*/ 8163 w 8815"/>
              <a:gd name="connsiteY19" fmla="*/ 5099 h 10011"/>
              <a:gd name="connsiteX20" fmla="*/ 8103 w 8815"/>
              <a:gd name="connsiteY20" fmla="*/ 5197 h 10011"/>
              <a:gd name="connsiteX21" fmla="*/ 8031 w 8815"/>
              <a:gd name="connsiteY21" fmla="*/ 5230 h 10011"/>
              <a:gd name="connsiteX22" fmla="*/ 8031 w 8815"/>
              <a:gd name="connsiteY22" fmla="*/ 5230 h 10011"/>
              <a:gd name="connsiteX23" fmla="*/ 5 w 8815"/>
              <a:gd name="connsiteY23" fmla="*/ 9414 h 10011"/>
              <a:gd name="connsiteX24" fmla="*/ 0 w 8815"/>
              <a:gd name="connsiteY24" fmla="*/ 10011 h 10011"/>
              <a:gd name="connsiteX25" fmla="*/ 8815 w 8815"/>
              <a:gd name="connsiteY25" fmla="*/ 10000 h 10011"/>
              <a:gd name="connsiteX0" fmla="*/ 9996 w 9996"/>
              <a:gd name="connsiteY0" fmla="*/ 9989 h 10000"/>
              <a:gd name="connsiteX1" fmla="*/ 9996 w 9996"/>
              <a:gd name="connsiteY1" fmla="*/ 0 h 10000"/>
              <a:gd name="connsiteX2" fmla="*/ 9996 w 9996"/>
              <a:gd name="connsiteY2" fmla="*/ 0 h 10000"/>
              <a:gd name="connsiteX3" fmla="*/ 9996 w 9996"/>
              <a:gd name="connsiteY3" fmla="*/ 230 h 10000"/>
              <a:gd name="connsiteX4" fmla="*/ 9977 w 9996"/>
              <a:gd name="connsiteY4" fmla="*/ 756 h 10000"/>
              <a:gd name="connsiteX5" fmla="*/ 9964 w 9996"/>
              <a:gd name="connsiteY5" fmla="*/ 1117 h 10000"/>
              <a:gd name="connsiteX6" fmla="*/ 9939 w 9996"/>
              <a:gd name="connsiteY6" fmla="*/ 1544 h 10000"/>
              <a:gd name="connsiteX7" fmla="*/ 9914 w 9996"/>
              <a:gd name="connsiteY7" fmla="*/ 2005 h 10000"/>
              <a:gd name="connsiteX8" fmla="*/ 9877 w 9996"/>
              <a:gd name="connsiteY8" fmla="*/ 2464 h 10000"/>
              <a:gd name="connsiteX9" fmla="*/ 9827 w 9996"/>
              <a:gd name="connsiteY9" fmla="*/ 2925 h 10000"/>
              <a:gd name="connsiteX10" fmla="*/ 9770 w 9996"/>
              <a:gd name="connsiteY10" fmla="*/ 3384 h 10000"/>
              <a:gd name="connsiteX11" fmla="*/ 9695 w 9996"/>
              <a:gd name="connsiteY11" fmla="*/ 3812 h 10000"/>
              <a:gd name="connsiteX12" fmla="*/ 9658 w 9996"/>
              <a:gd name="connsiteY12" fmla="*/ 4042 h 10000"/>
              <a:gd name="connsiteX13" fmla="*/ 9608 w 9996"/>
              <a:gd name="connsiteY13" fmla="*/ 4238 h 10000"/>
              <a:gd name="connsiteX14" fmla="*/ 9564 w 9996"/>
              <a:gd name="connsiteY14" fmla="*/ 4403 h 10000"/>
              <a:gd name="connsiteX15" fmla="*/ 9507 w 9996"/>
              <a:gd name="connsiteY15" fmla="*/ 4600 h 10000"/>
              <a:gd name="connsiteX16" fmla="*/ 9451 w 9996"/>
              <a:gd name="connsiteY16" fmla="*/ 4732 h 10000"/>
              <a:gd name="connsiteX17" fmla="*/ 9395 w 9996"/>
              <a:gd name="connsiteY17" fmla="*/ 4896 h 10000"/>
              <a:gd name="connsiteX18" fmla="*/ 9332 w 9996"/>
              <a:gd name="connsiteY18" fmla="*/ 4995 h 10000"/>
              <a:gd name="connsiteX19" fmla="*/ 9256 w 9996"/>
              <a:gd name="connsiteY19" fmla="*/ 5093 h 10000"/>
              <a:gd name="connsiteX20" fmla="*/ 9188 w 9996"/>
              <a:gd name="connsiteY20" fmla="*/ 5191 h 10000"/>
              <a:gd name="connsiteX21" fmla="*/ 9107 w 9996"/>
              <a:gd name="connsiteY21" fmla="*/ 5224 h 10000"/>
              <a:gd name="connsiteX22" fmla="*/ 9107 w 9996"/>
              <a:gd name="connsiteY22" fmla="*/ 5224 h 10000"/>
              <a:gd name="connsiteX23" fmla="*/ 2 w 9996"/>
              <a:gd name="connsiteY23" fmla="*/ 9404 h 10000"/>
              <a:gd name="connsiteX24" fmla="*/ 0 w 9996"/>
              <a:gd name="connsiteY24" fmla="*/ 10000 h 10000"/>
              <a:gd name="connsiteX25" fmla="*/ 9996 w 9996"/>
              <a:gd name="connsiteY25" fmla="*/ 9989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9996" h="10000">
                <a:moveTo>
                  <a:pt x="9996" y="9989"/>
                </a:moveTo>
                <a:lnTo>
                  <a:pt x="9996" y="0"/>
                </a:lnTo>
                <a:lnTo>
                  <a:pt x="9996" y="0"/>
                </a:lnTo>
                <a:lnTo>
                  <a:pt x="9996" y="230"/>
                </a:lnTo>
                <a:cubicBezTo>
                  <a:pt x="9989" y="406"/>
                  <a:pt x="9984" y="580"/>
                  <a:pt x="9977" y="756"/>
                </a:cubicBezTo>
                <a:cubicBezTo>
                  <a:pt x="9972" y="876"/>
                  <a:pt x="9969" y="997"/>
                  <a:pt x="9964" y="1117"/>
                </a:cubicBezTo>
                <a:cubicBezTo>
                  <a:pt x="9956" y="1260"/>
                  <a:pt x="9947" y="1401"/>
                  <a:pt x="9939" y="1544"/>
                </a:cubicBezTo>
                <a:cubicBezTo>
                  <a:pt x="9931" y="1698"/>
                  <a:pt x="9922" y="1851"/>
                  <a:pt x="9914" y="2005"/>
                </a:cubicBezTo>
                <a:cubicBezTo>
                  <a:pt x="9902" y="2158"/>
                  <a:pt x="9889" y="2311"/>
                  <a:pt x="9877" y="2464"/>
                </a:cubicBezTo>
                <a:cubicBezTo>
                  <a:pt x="9860" y="2618"/>
                  <a:pt x="9844" y="2771"/>
                  <a:pt x="9827" y="2925"/>
                </a:cubicBezTo>
                <a:cubicBezTo>
                  <a:pt x="9808" y="3078"/>
                  <a:pt x="9790" y="3231"/>
                  <a:pt x="9770" y="3384"/>
                </a:cubicBezTo>
                <a:cubicBezTo>
                  <a:pt x="9745" y="3527"/>
                  <a:pt x="9720" y="3669"/>
                  <a:pt x="9695" y="3812"/>
                </a:cubicBezTo>
                <a:cubicBezTo>
                  <a:pt x="9683" y="3889"/>
                  <a:pt x="9670" y="3965"/>
                  <a:pt x="9658" y="4042"/>
                </a:cubicBezTo>
                <a:cubicBezTo>
                  <a:pt x="9641" y="4107"/>
                  <a:pt x="9625" y="4172"/>
                  <a:pt x="9608" y="4238"/>
                </a:cubicBezTo>
                <a:cubicBezTo>
                  <a:pt x="9593" y="4293"/>
                  <a:pt x="9579" y="4348"/>
                  <a:pt x="9564" y="4403"/>
                </a:cubicBezTo>
                <a:cubicBezTo>
                  <a:pt x="9544" y="4469"/>
                  <a:pt x="9526" y="4534"/>
                  <a:pt x="9507" y="4600"/>
                </a:cubicBezTo>
                <a:cubicBezTo>
                  <a:pt x="9489" y="4644"/>
                  <a:pt x="9470" y="4688"/>
                  <a:pt x="9451" y="4732"/>
                </a:cubicBezTo>
                <a:cubicBezTo>
                  <a:pt x="9432" y="4787"/>
                  <a:pt x="9414" y="4841"/>
                  <a:pt x="9395" y="4896"/>
                </a:cubicBezTo>
                <a:lnTo>
                  <a:pt x="9332" y="4995"/>
                </a:lnTo>
                <a:cubicBezTo>
                  <a:pt x="9307" y="5027"/>
                  <a:pt x="9281" y="5060"/>
                  <a:pt x="9256" y="5093"/>
                </a:cubicBezTo>
                <a:cubicBezTo>
                  <a:pt x="9234" y="5126"/>
                  <a:pt x="9211" y="5158"/>
                  <a:pt x="9188" y="5191"/>
                </a:cubicBezTo>
                <a:lnTo>
                  <a:pt x="9107" y="5224"/>
                </a:lnTo>
                <a:lnTo>
                  <a:pt x="9107" y="5224"/>
                </a:lnTo>
                <a:lnTo>
                  <a:pt x="2" y="9404"/>
                </a:lnTo>
                <a:cubicBezTo>
                  <a:pt x="-1" y="9602"/>
                  <a:pt x="2" y="9801"/>
                  <a:pt x="0" y="10000"/>
                </a:cubicBezTo>
                <a:lnTo>
                  <a:pt x="9996" y="9989"/>
                </a:lnTo>
                <a:close/>
              </a:path>
            </a:pathLst>
          </a:custGeom>
          <a:solidFill>
            <a:schemeClr val="accent6"/>
          </a:solidFill>
          <a:ln>
            <a:noFill/>
          </a:ln>
        </p:spPr>
        <p:txBody>
          <a:bodyPr vert="horz" wrap="square" lIns="133428" tIns="66715" rIns="133428" bIns="66715" numCol="1" anchor="t" anchorCtr="0" compatLnSpc="1">
            <a:prstTxWarp prst="textNoShape">
              <a:avLst/>
            </a:prstTxWarp>
          </a:bodyPr>
          <a:lstStyle/>
          <a:p>
            <a:pPr marL="0" marR="0" lvl="0" indent="0" algn="l" defTabSz="478835" rtl="0" eaLnBrk="1" fontAlgn="auto" latinLnBrk="0" hangingPunct="1">
              <a:lnSpc>
                <a:spcPct val="100000"/>
              </a:lnSpc>
              <a:spcBef>
                <a:spcPts val="0"/>
              </a:spcBef>
              <a:spcAft>
                <a:spcPts val="0"/>
              </a:spcAft>
              <a:buClrTx/>
              <a:buSzTx/>
              <a:buFontTx/>
              <a:buNone/>
              <a:tabLst/>
              <a:defRPr/>
            </a:pPr>
            <a:endParaRPr kumimoji="1" lang="ja-JP" altLang="en-US" sz="2533"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endParaRPr>
          </a:p>
        </p:txBody>
      </p:sp>
      <p:sp>
        <p:nvSpPr>
          <p:cNvPr id="2" name="タイトル 1"/>
          <p:cNvSpPr>
            <a:spLocks noGrp="1"/>
          </p:cNvSpPr>
          <p:nvPr>
            <p:ph type="title"/>
          </p:nvPr>
        </p:nvSpPr>
        <p:spPr>
          <a:xfrm>
            <a:off x="368550" y="1959102"/>
            <a:ext cx="11451591" cy="540000"/>
          </a:xfrm>
          <a:prstGeom prst="rect">
            <a:avLst/>
          </a:prstGeom>
        </p:spPr>
        <p:txBody>
          <a:bodyPr lIns="95767" tIns="47884" rIns="95767" bIns="47884"/>
          <a:lstStyle>
            <a:lvl1pPr>
              <a:defRPr sz="3200">
                <a:latin typeface="Meiryo UI" panose="020B0604030504040204" pitchFamily="50" charset="-128"/>
                <a:ea typeface="Meiryo UI" panose="020B0604030504040204" pitchFamily="50" charset="-128"/>
              </a:defRPr>
            </a:lvl1pPr>
          </a:lstStyle>
          <a:p>
            <a:r>
              <a:rPr kumimoji="1" lang="ja-JP" altLang="en-US"/>
              <a:t>マスター タイトルの書式設定</a:t>
            </a:r>
          </a:p>
        </p:txBody>
      </p:sp>
      <p:sp>
        <p:nvSpPr>
          <p:cNvPr id="6" name="スライド番号プレースホルダー 5"/>
          <p:cNvSpPr>
            <a:spLocks noGrp="1"/>
          </p:cNvSpPr>
          <p:nvPr>
            <p:ph type="sldNum" sz="quarter" idx="12"/>
          </p:nvPr>
        </p:nvSpPr>
        <p:spPr>
          <a:xfrm>
            <a:off x="11524630" y="6468878"/>
            <a:ext cx="555811" cy="289299"/>
          </a:xfrm>
          <a:prstGeom prst="rect">
            <a:avLst/>
          </a:prstGeom>
        </p:spPr>
        <p:txBody>
          <a:bodyPr lIns="95767" tIns="47884" rIns="95767" bIns="47884"/>
          <a:lstStyle>
            <a:lvl1pPr algn="r">
              <a:defRPr sz="1050">
                <a:latin typeface="Meiryo UI" panose="020B0604030504040204" pitchFamily="50" charset="-128"/>
                <a:ea typeface="Meiryo UI" panose="020B0604030504040204" pitchFamily="50" charset="-128"/>
              </a:defRPr>
            </a:lvl1pPr>
          </a:lstStyle>
          <a:p>
            <a:pPr marL="0" marR="0" lvl="0" indent="0" algn="r" defTabSz="478835" rtl="0" eaLnBrk="1" fontAlgn="auto" latinLnBrk="0" hangingPunct="1">
              <a:lnSpc>
                <a:spcPct val="100000"/>
              </a:lnSpc>
              <a:spcBef>
                <a:spcPts val="0"/>
              </a:spcBef>
              <a:spcAft>
                <a:spcPts val="0"/>
              </a:spcAft>
              <a:buClrTx/>
              <a:buSzTx/>
              <a:buFontTx/>
              <a:buNone/>
              <a:tabLst/>
              <a:defRPr/>
            </a:pPr>
            <a:fld id="{2FF5E1DE-7B95-8A44-8552-65323269AE41}" type="slidenum">
              <a:rPr kumimoji="1" lang="ja-JP" altLang="en-US" sz="1050" b="0" i="0" u="none" strike="noStrike" kern="1200" cap="none" spc="0" normalizeH="0" baseline="0" noProof="0" smtClean="0">
                <a:ln>
                  <a:noFill/>
                </a:ln>
                <a:solidFill>
                  <a:srgbClr val="000000"/>
                </a:solidFill>
                <a:effectLst/>
                <a:uLnTx/>
                <a:uFillTx/>
                <a:latin typeface="Meiryo UI" panose="020B0604030504040204" pitchFamily="50" charset="-128"/>
                <a:ea typeface="Meiryo UI" panose="020B0604030504040204" pitchFamily="50" charset="-128"/>
                <a:cs typeface="+mn-cs"/>
              </a:rPr>
              <a:pPr marL="0" marR="0" lvl="0" indent="0" algn="r" defTabSz="478835" rtl="0" eaLnBrk="1" fontAlgn="auto" latinLnBrk="0" hangingPunct="1">
                <a:lnSpc>
                  <a:spcPct val="100000"/>
                </a:lnSpc>
                <a:spcBef>
                  <a:spcPts val="0"/>
                </a:spcBef>
                <a:spcAft>
                  <a:spcPts val="0"/>
                </a:spcAft>
                <a:buClrTx/>
                <a:buSzTx/>
                <a:buFontTx/>
                <a:buNone/>
                <a:tabLst/>
                <a:defRPr/>
              </a:pPr>
              <a:t>‹#›</a:t>
            </a:fld>
            <a:endParaRPr kumimoji="1" lang="ja-JP" altLang="en-US" sz="105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endParaRPr>
          </a:p>
        </p:txBody>
      </p:sp>
      <p:pic>
        <p:nvPicPr>
          <p:cNvPr id="7" name="Picture 2" descr="K:\新ロゴ（データ一式）\DLH_3_EN.png"/>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11038066" y="5444"/>
            <a:ext cx="973128" cy="90043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8923277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4_タイトルとコンテンツ">
    <p:spTree>
      <p:nvGrpSpPr>
        <p:cNvPr id="1" name=""/>
        <p:cNvGrpSpPr/>
        <p:nvPr/>
      </p:nvGrpSpPr>
      <p:grpSpPr>
        <a:xfrm>
          <a:off x="0" y="0"/>
          <a:ext cx="0" cy="0"/>
          <a:chOff x="0" y="0"/>
          <a:chExt cx="0" cy="0"/>
        </a:xfrm>
      </p:grpSpPr>
      <p:sp>
        <p:nvSpPr>
          <p:cNvPr id="9" name="Freeform 8"/>
          <p:cNvSpPr>
            <a:spLocks/>
          </p:cNvSpPr>
          <p:nvPr userDrawn="1"/>
        </p:nvSpPr>
        <p:spPr bwMode="auto">
          <a:xfrm>
            <a:off x="-2100" y="5505984"/>
            <a:ext cx="12192504" cy="1353504"/>
          </a:xfrm>
          <a:custGeom>
            <a:avLst/>
            <a:gdLst>
              <a:gd name="T0" fmla="*/ 3622 w 3622"/>
              <a:gd name="T1" fmla="*/ 608 h 608"/>
              <a:gd name="T2" fmla="*/ 3622 w 3622"/>
              <a:gd name="T3" fmla="*/ 0 h 608"/>
              <a:gd name="T4" fmla="*/ 3622 w 3622"/>
              <a:gd name="T5" fmla="*/ 0 h 608"/>
              <a:gd name="T6" fmla="*/ 3622 w 3622"/>
              <a:gd name="T7" fmla="*/ 14 h 608"/>
              <a:gd name="T8" fmla="*/ 3616 w 3622"/>
              <a:gd name="T9" fmla="*/ 46 h 608"/>
              <a:gd name="T10" fmla="*/ 3612 w 3622"/>
              <a:gd name="T11" fmla="*/ 68 h 608"/>
              <a:gd name="T12" fmla="*/ 3604 w 3622"/>
              <a:gd name="T13" fmla="*/ 94 h 608"/>
              <a:gd name="T14" fmla="*/ 3596 w 3622"/>
              <a:gd name="T15" fmla="*/ 122 h 608"/>
              <a:gd name="T16" fmla="*/ 3584 w 3622"/>
              <a:gd name="T17" fmla="*/ 150 h 608"/>
              <a:gd name="T18" fmla="*/ 3568 w 3622"/>
              <a:gd name="T19" fmla="*/ 178 h 608"/>
              <a:gd name="T20" fmla="*/ 3550 w 3622"/>
              <a:gd name="T21" fmla="*/ 206 h 608"/>
              <a:gd name="T22" fmla="*/ 3526 w 3622"/>
              <a:gd name="T23" fmla="*/ 232 h 608"/>
              <a:gd name="T24" fmla="*/ 3514 w 3622"/>
              <a:gd name="T25" fmla="*/ 246 h 608"/>
              <a:gd name="T26" fmla="*/ 3498 w 3622"/>
              <a:gd name="T27" fmla="*/ 258 h 608"/>
              <a:gd name="T28" fmla="*/ 3484 w 3622"/>
              <a:gd name="T29" fmla="*/ 268 h 608"/>
              <a:gd name="T30" fmla="*/ 3466 w 3622"/>
              <a:gd name="T31" fmla="*/ 280 h 608"/>
              <a:gd name="T32" fmla="*/ 3448 w 3622"/>
              <a:gd name="T33" fmla="*/ 288 h 608"/>
              <a:gd name="T34" fmla="*/ 3430 w 3622"/>
              <a:gd name="T35" fmla="*/ 298 h 608"/>
              <a:gd name="T36" fmla="*/ 3410 w 3622"/>
              <a:gd name="T37" fmla="*/ 304 h 608"/>
              <a:gd name="T38" fmla="*/ 3386 w 3622"/>
              <a:gd name="T39" fmla="*/ 310 h 608"/>
              <a:gd name="T40" fmla="*/ 3364 w 3622"/>
              <a:gd name="T41" fmla="*/ 316 h 608"/>
              <a:gd name="T42" fmla="*/ 3338 w 3622"/>
              <a:gd name="T43" fmla="*/ 318 h 608"/>
              <a:gd name="T44" fmla="*/ 3338 w 3622"/>
              <a:gd name="T45" fmla="*/ 318 h 608"/>
              <a:gd name="T46" fmla="*/ 0 w 3622"/>
              <a:gd name="T47" fmla="*/ 608 h 608"/>
              <a:gd name="T48" fmla="*/ 3622 w 3622"/>
              <a:gd name="T49" fmla="*/ 608 h 608"/>
              <a:gd name="connsiteX0" fmla="*/ 10000 w 10000"/>
              <a:gd name="connsiteY0" fmla="*/ 10000 h 10000"/>
              <a:gd name="connsiteX1" fmla="*/ 10000 w 10000"/>
              <a:gd name="connsiteY1" fmla="*/ 0 h 10000"/>
              <a:gd name="connsiteX2" fmla="*/ 10000 w 10000"/>
              <a:gd name="connsiteY2" fmla="*/ 0 h 10000"/>
              <a:gd name="connsiteX3" fmla="*/ 10000 w 10000"/>
              <a:gd name="connsiteY3" fmla="*/ 230 h 10000"/>
              <a:gd name="connsiteX4" fmla="*/ 9983 w 10000"/>
              <a:gd name="connsiteY4" fmla="*/ 757 h 10000"/>
              <a:gd name="connsiteX5" fmla="*/ 9972 w 10000"/>
              <a:gd name="connsiteY5" fmla="*/ 1118 h 10000"/>
              <a:gd name="connsiteX6" fmla="*/ 9950 w 10000"/>
              <a:gd name="connsiteY6" fmla="*/ 1546 h 10000"/>
              <a:gd name="connsiteX7" fmla="*/ 9928 w 10000"/>
              <a:gd name="connsiteY7" fmla="*/ 2007 h 10000"/>
              <a:gd name="connsiteX8" fmla="*/ 9895 w 10000"/>
              <a:gd name="connsiteY8" fmla="*/ 2467 h 10000"/>
              <a:gd name="connsiteX9" fmla="*/ 9851 w 10000"/>
              <a:gd name="connsiteY9" fmla="*/ 2928 h 10000"/>
              <a:gd name="connsiteX10" fmla="*/ 9801 w 10000"/>
              <a:gd name="connsiteY10" fmla="*/ 3388 h 10000"/>
              <a:gd name="connsiteX11" fmla="*/ 9735 w 10000"/>
              <a:gd name="connsiteY11" fmla="*/ 3816 h 10000"/>
              <a:gd name="connsiteX12" fmla="*/ 9702 w 10000"/>
              <a:gd name="connsiteY12" fmla="*/ 4046 h 10000"/>
              <a:gd name="connsiteX13" fmla="*/ 9658 w 10000"/>
              <a:gd name="connsiteY13" fmla="*/ 4243 h 10000"/>
              <a:gd name="connsiteX14" fmla="*/ 9619 w 10000"/>
              <a:gd name="connsiteY14" fmla="*/ 4408 h 10000"/>
              <a:gd name="connsiteX15" fmla="*/ 9569 w 10000"/>
              <a:gd name="connsiteY15" fmla="*/ 4605 h 10000"/>
              <a:gd name="connsiteX16" fmla="*/ 9520 w 10000"/>
              <a:gd name="connsiteY16" fmla="*/ 4737 h 10000"/>
              <a:gd name="connsiteX17" fmla="*/ 9470 w 10000"/>
              <a:gd name="connsiteY17" fmla="*/ 4901 h 10000"/>
              <a:gd name="connsiteX18" fmla="*/ 9415 w 10000"/>
              <a:gd name="connsiteY18" fmla="*/ 5000 h 10000"/>
              <a:gd name="connsiteX19" fmla="*/ 9348 w 10000"/>
              <a:gd name="connsiteY19" fmla="*/ 5099 h 10000"/>
              <a:gd name="connsiteX20" fmla="*/ 9288 w 10000"/>
              <a:gd name="connsiteY20" fmla="*/ 5197 h 10000"/>
              <a:gd name="connsiteX21" fmla="*/ 9216 w 10000"/>
              <a:gd name="connsiteY21" fmla="*/ 5230 h 10000"/>
              <a:gd name="connsiteX22" fmla="*/ 9216 w 10000"/>
              <a:gd name="connsiteY22" fmla="*/ 5230 h 10000"/>
              <a:gd name="connsiteX23" fmla="*/ 1190 w 10000"/>
              <a:gd name="connsiteY23" fmla="*/ 9414 h 10000"/>
              <a:gd name="connsiteX24" fmla="*/ 0 w 10000"/>
              <a:gd name="connsiteY24" fmla="*/ 10000 h 10000"/>
              <a:gd name="connsiteX25" fmla="*/ 10000 w 10000"/>
              <a:gd name="connsiteY25" fmla="*/ 10000 h 10000"/>
              <a:gd name="connsiteX0" fmla="*/ 10000 w 10000"/>
              <a:gd name="connsiteY0" fmla="*/ 10000 h 10011"/>
              <a:gd name="connsiteX1" fmla="*/ 10000 w 10000"/>
              <a:gd name="connsiteY1" fmla="*/ 0 h 10011"/>
              <a:gd name="connsiteX2" fmla="*/ 10000 w 10000"/>
              <a:gd name="connsiteY2" fmla="*/ 0 h 10011"/>
              <a:gd name="connsiteX3" fmla="*/ 10000 w 10000"/>
              <a:gd name="connsiteY3" fmla="*/ 230 h 10011"/>
              <a:gd name="connsiteX4" fmla="*/ 9983 w 10000"/>
              <a:gd name="connsiteY4" fmla="*/ 757 h 10011"/>
              <a:gd name="connsiteX5" fmla="*/ 9972 w 10000"/>
              <a:gd name="connsiteY5" fmla="*/ 1118 h 10011"/>
              <a:gd name="connsiteX6" fmla="*/ 9950 w 10000"/>
              <a:gd name="connsiteY6" fmla="*/ 1546 h 10011"/>
              <a:gd name="connsiteX7" fmla="*/ 9928 w 10000"/>
              <a:gd name="connsiteY7" fmla="*/ 2007 h 10011"/>
              <a:gd name="connsiteX8" fmla="*/ 9895 w 10000"/>
              <a:gd name="connsiteY8" fmla="*/ 2467 h 10011"/>
              <a:gd name="connsiteX9" fmla="*/ 9851 w 10000"/>
              <a:gd name="connsiteY9" fmla="*/ 2928 h 10011"/>
              <a:gd name="connsiteX10" fmla="*/ 9801 w 10000"/>
              <a:gd name="connsiteY10" fmla="*/ 3388 h 10011"/>
              <a:gd name="connsiteX11" fmla="*/ 9735 w 10000"/>
              <a:gd name="connsiteY11" fmla="*/ 3816 h 10011"/>
              <a:gd name="connsiteX12" fmla="*/ 9702 w 10000"/>
              <a:gd name="connsiteY12" fmla="*/ 4046 h 10011"/>
              <a:gd name="connsiteX13" fmla="*/ 9658 w 10000"/>
              <a:gd name="connsiteY13" fmla="*/ 4243 h 10011"/>
              <a:gd name="connsiteX14" fmla="*/ 9619 w 10000"/>
              <a:gd name="connsiteY14" fmla="*/ 4408 h 10011"/>
              <a:gd name="connsiteX15" fmla="*/ 9569 w 10000"/>
              <a:gd name="connsiteY15" fmla="*/ 4605 h 10011"/>
              <a:gd name="connsiteX16" fmla="*/ 9520 w 10000"/>
              <a:gd name="connsiteY16" fmla="*/ 4737 h 10011"/>
              <a:gd name="connsiteX17" fmla="*/ 9470 w 10000"/>
              <a:gd name="connsiteY17" fmla="*/ 4901 h 10011"/>
              <a:gd name="connsiteX18" fmla="*/ 9415 w 10000"/>
              <a:gd name="connsiteY18" fmla="*/ 5000 h 10011"/>
              <a:gd name="connsiteX19" fmla="*/ 9348 w 10000"/>
              <a:gd name="connsiteY19" fmla="*/ 5099 h 10011"/>
              <a:gd name="connsiteX20" fmla="*/ 9288 w 10000"/>
              <a:gd name="connsiteY20" fmla="*/ 5197 h 10011"/>
              <a:gd name="connsiteX21" fmla="*/ 9216 w 10000"/>
              <a:gd name="connsiteY21" fmla="*/ 5230 h 10011"/>
              <a:gd name="connsiteX22" fmla="*/ 9216 w 10000"/>
              <a:gd name="connsiteY22" fmla="*/ 5230 h 10011"/>
              <a:gd name="connsiteX23" fmla="*/ 1190 w 10000"/>
              <a:gd name="connsiteY23" fmla="*/ 9414 h 10011"/>
              <a:gd name="connsiteX24" fmla="*/ 0 w 10000"/>
              <a:gd name="connsiteY24" fmla="*/ 10000 h 10011"/>
              <a:gd name="connsiteX25" fmla="*/ 1185 w 10000"/>
              <a:gd name="connsiteY25" fmla="*/ 10011 h 10011"/>
              <a:gd name="connsiteX26" fmla="*/ 10000 w 10000"/>
              <a:gd name="connsiteY26" fmla="*/ 10000 h 10011"/>
              <a:gd name="connsiteX0" fmla="*/ 8815 w 8815"/>
              <a:gd name="connsiteY0" fmla="*/ 10000 h 10011"/>
              <a:gd name="connsiteX1" fmla="*/ 8815 w 8815"/>
              <a:gd name="connsiteY1" fmla="*/ 0 h 10011"/>
              <a:gd name="connsiteX2" fmla="*/ 8815 w 8815"/>
              <a:gd name="connsiteY2" fmla="*/ 0 h 10011"/>
              <a:gd name="connsiteX3" fmla="*/ 8815 w 8815"/>
              <a:gd name="connsiteY3" fmla="*/ 230 h 10011"/>
              <a:gd name="connsiteX4" fmla="*/ 8798 w 8815"/>
              <a:gd name="connsiteY4" fmla="*/ 757 h 10011"/>
              <a:gd name="connsiteX5" fmla="*/ 8787 w 8815"/>
              <a:gd name="connsiteY5" fmla="*/ 1118 h 10011"/>
              <a:gd name="connsiteX6" fmla="*/ 8765 w 8815"/>
              <a:gd name="connsiteY6" fmla="*/ 1546 h 10011"/>
              <a:gd name="connsiteX7" fmla="*/ 8743 w 8815"/>
              <a:gd name="connsiteY7" fmla="*/ 2007 h 10011"/>
              <a:gd name="connsiteX8" fmla="*/ 8710 w 8815"/>
              <a:gd name="connsiteY8" fmla="*/ 2467 h 10011"/>
              <a:gd name="connsiteX9" fmla="*/ 8666 w 8815"/>
              <a:gd name="connsiteY9" fmla="*/ 2928 h 10011"/>
              <a:gd name="connsiteX10" fmla="*/ 8616 w 8815"/>
              <a:gd name="connsiteY10" fmla="*/ 3388 h 10011"/>
              <a:gd name="connsiteX11" fmla="*/ 8550 w 8815"/>
              <a:gd name="connsiteY11" fmla="*/ 3816 h 10011"/>
              <a:gd name="connsiteX12" fmla="*/ 8517 w 8815"/>
              <a:gd name="connsiteY12" fmla="*/ 4046 h 10011"/>
              <a:gd name="connsiteX13" fmla="*/ 8473 w 8815"/>
              <a:gd name="connsiteY13" fmla="*/ 4243 h 10011"/>
              <a:gd name="connsiteX14" fmla="*/ 8434 w 8815"/>
              <a:gd name="connsiteY14" fmla="*/ 4408 h 10011"/>
              <a:gd name="connsiteX15" fmla="*/ 8384 w 8815"/>
              <a:gd name="connsiteY15" fmla="*/ 4605 h 10011"/>
              <a:gd name="connsiteX16" fmla="*/ 8335 w 8815"/>
              <a:gd name="connsiteY16" fmla="*/ 4737 h 10011"/>
              <a:gd name="connsiteX17" fmla="*/ 8285 w 8815"/>
              <a:gd name="connsiteY17" fmla="*/ 4901 h 10011"/>
              <a:gd name="connsiteX18" fmla="*/ 8230 w 8815"/>
              <a:gd name="connsiteY18" fmla="*/ 5000 h 10011"/>
              <a:gd name="connsiteX19" fmla="*/ 8163 w 8815"/>
              <a:gd name="connsiteY19" fmla="*/ 5099 h 10011"/>
              <a:gd name="connsiteX20" fmla="*/ 8103 w 8815"/>
              <a:gd name="connsiteY20" fmla="*/ 5197 h 10011"/>
              <a:gd name="connsiteX21" fmla="*/ 8031 w 8815"/>
              <a:gd name="connsiteY21" fmla="*/ 5230 h 10011"/>
              <a:gd name="connsiteX22" fmla="*/ 8031 w 8815"/>
              <a:gd name="connsiteY22" fmla="*/ 5230 h 10011"/>
              <a:gd name="connsiteX23" fmla="*/ 5 w 8815"/>
              <a:gd name="connsiteY23" fmla="*/ 9414 h 10011"/>
              <a:gd name="connsiteX24" fmla="*/ 0 w 8815"/>
              <a:gd name="connsiteY24" fmla="*/ 10011 h 10011"/>
              <a:gd name="connsiteX25" fmla="*/ 8815 w 8815"/>
              <a:gd name="connsiteY25" fmla="*/ 10000 h 10011"/>
              <a:gd name="connsiteX0" fmla="*/ 9996 w 9996"/>
              <a:gd name="connsiteY0" fmla="*/ 9989 h 10000"/>
              <a:gd name="connsiteX1" fmla="*/ 9996 w 9996"/>
              <a:gd name="connsiteY1" fmla="*/ 0 h 10000"/>
              <a:gd name="connsiteX2" fmla="*/ 9996 w 9996"/>
              <a:gd name="connsiteY2" fmla="*/ 0 h 10000"/>
              <a:gd name="connsiteX3" fmla="*/ 9996 w 9996"/>
              <a:gd name="connsiteY3" fmla="*/ 230 h 10000"/>
              <a:gd name="connsiteX4" fmla="*/ 9977 w 9996"/>
              <a:gd name="connsiteY4" fmla="*/ 756 h 10000"/>
              <a:gd name="connsiteX5" fmla="*/ 9964 w 9996"/>
              <a:gd name="connsiteY5" fmla="*/ 1117 h 10000"/>
              <a:gd name="connsiteX6" fmla="*/ 9939 w 9996"/>
              <a:gd name="connsiteY6" fmla="*/ 1544 h 10000"/>
              <a:gd name="connsiteX7" fmla="*/ 9914 w 9996"/>
              <a:gd name="connsiteY7" fmla="*/ 2005 h 10000"/>
              <a:gd name="connsiteX8" fmla="*/ 9877 w 9996"/>
              <a:gd name="connsiteY8" fmla="*/ 2464 h 10000"/>
              <a:gd name="connsiteX9" fmla="*/ 9827 w 9996"/>
              <a:gd name="connsiteY9" fmla="*/ 2925 h 10000"/>
              <a:gd name="connsiteX10" fmla="*/ 9770 w 9996"/>
              <a:gd name="connsiteY10" fmla="*/ 3384 h 10000"/>
              <a:gd name="connsiteX11" fmla="*/ 9695 w 9996"/>
              <a:gd name="connsiteY11" fmla="*/ 3812 h 10000"/>
              <a:gd name="connsiteX12" fmla="*/ 9658 w 9996"/>
              <a:gd name="connsiteY12" fmla="*/ 4042 h 10000"/>
              <a:gd name="connsiteX13" fmla="*/ 9608 w 9996"/>
              <a:gd name="connsiteY13" fmla="*/ 4238 h 10000"/>
              <a:gd name="connsiteX14" fmla="*/ 9564 w 9996"/>
              <a:gd name="connsiteY14" fmla="*/ 4403 h 10000"/>
              <a:gd name="connsiteX15" fmla="*/ 9507 w 9996"/>
              <a:gd name="connsiteY15" fmla="*/ 4600 h 10000"/>
              <a:gd name="connsiteX16" fmla="*/ 9451 w 9996"/>
              <a:gd name="connsiteY16" fmla="*/ 4732 h 10000"/>
              <a:gd name="connsiteX17" fmla="*/ 9395 w 9996"/>
              <a:gd name="connsiteY17" fmla="*/ 4896 h 10000"/>
              <a:gd name="connsiteX18" fmla="*/ 9332 w 9996"/>
              <a:gd name="connsiteY18" fmla="*/ 4995 h 10000"/>
              <a:gd name="connsiteX19" fmla="*/ 9256 w 9996"/>
              <a:gd name="connsiteY19" fmla="*/ 5093 h 10000"/>
              <a:gd name="connsiteX20" fmla="*/ 9188 w 9996"/>
              <a:gd name="connsiteY20" fmla="*/ 5191 h 10000"/>
              <a:gd name="connsiteX21" fmla="*/ 9107 w 9996"/>
              <a:gd name="connsiteY21" fmla="*/ 5224 h 10000"/>
              <a:gd name="connsiteX22" fmla="*/ 9107 w 9996"/>
              <a:gd name="connsiteY22" fmla="*/ 5224 h 10000"/>
              <a:gd name="connsiteX23" fmla="*/ 2 w 9996"/>
              <a:gd name="connsiteY23" fmla="*/ 9404 h 10000"/>
              <a:gd name="connsiteX24" fmla="*/ 0 w 9996"/>
              <a:gd name="connsiteY24" fmla="*/ 10000 h 10000"/>
              <a:gd name="connsiteX25" fmla="*/ 9996 w 9996"/>
              <a:gd name="connsiteY25" fmla="*/ 9989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9996" h="10000">
                <a:moveTo>
                  <a:pt x="9996" y="9989"/>
                </a:moveTo>
                <a:lnTo>
                  <a:pt x="9996" y="0"/>
                </a:lnTo>
                <a:lnTo>
                  <a:pt x="9996" y="0"/>
                </a:lnTo>
                <a:lnTo>
                  <a:pt x="9996" y="230"/>
                </a:lnTo>
                <a:cubicBezTo>
                  <a:pt x="9989" y="406"/>
                  <a:pt x="9984" y="580"/>
                  <a:pt x="9977" y="756"/>
                </a:cubicBezTo>
                <a:cubicBezTo>
                  <a:pt x="9972" y="876"/>
                  <a:pt x="9969" y="997"/>
                  <a:pt x="9964" y="1117"/>
                </a:cubicBezTo>
                <a:cubicBezTo>
                  <a:pt x="9956" y="1260"/>
                  <a:pt x="9947" y="1401"/>
                  <a:pt x="9939" y="1544"/>
                </a:cubicBezTo>
                <a:cubicBezTo>
                  <a:pt x="9931" y="1698"/>
                  <a:pt x="9922" y="1851"/>
                  <a:pt x="9914" y="2005"/>
                </a:cubicBezTo>
                <a:cubicBezTo>
                  <a:pt x="9902" y="2158"/>
                  <a:pt x="9889" y="2311"/>
                  <a:pt x="9877" y="2464"/>
                </a:cubicBezTo>
                <a:cubicBezTo>
                  <a:pt x="9860" y="2618"/>
                  <a:pt x="9844" y="2771"/>
                  <a:pt x="9827" y="2925"/>
                </a:cubicBezTo>
                <a:cubicBezTo>
                  <a:pt x="9808" y="3078"/>
                  <a:pt x="9790" y="3231"/>
                  <a:pt x="9770" y="3384"/>
                </a:cubicBezTo>
                <a:cubicBezTo>
                  <a:pt x="9745" y="3527"/>
                  <a:pt x="9720" y="3669"/>
                  <a:pt x="9695" y="3812"/>
                </a:cubicBezTo>
                <a:cubicBezTo>
                  <a:pt x="9683" y="3889"/>
                  <a:pt x="9670" y="3965"/>
                  <a:pt x="9658" y="4042"/>
                </a:cubicBezTo>
                <a:cubicBezTo>
                  <a:pt x="9641" y="4107"/>
                  <a:pt x="9625" y="4172"/>
                  <a:pt x="9608" y="4238"/>
                </a:cubicBezTo>
                <a:cubicBezTo>
                  <a:pt x="9593" y="4293"/>
                  <a:pt x="9579" y="4348"/>
                  <a:pt x="9564" y="4403"/>
                </a:cubicBezTo>
                <a:cubicBezTo>
                  <a:pt x="9544" y="4469"/>
                  <a:pt x="9526" y="4534"/>
                  <a:pt x="9507" y="4600"/>
                </a:cubicBezTo>
                <a:cubicBezTo>
                  <a:pt x="9489" y="4644"/>
                  <a:pt x="9470" y="4688"/>
                  <a:pt x="9451" y="4732"/>
                </a:cubicBezTo>
                <a:cubicBezTo>
                  <a:pt x="9432" y="4787"/>
                  <a:pt x="9414" y="4841"/>
                  <a:pt x="9395" y="4896"/>
                </a:cubicBezTo>
                <a:lnTo>
                  <a:pt x="9332" y="4995"/>
                </a:lnTo>
                <a:cubicBezTo>
                  <a:pt x="9307" y="5027"/>
                  <a:pt x="9281" y="5060"/>
                  <a:pt x="9256" y="5093"/>
                </a:cubicBezTo>
                <a:cubicBezTo>
                  <a:pt x="9234" y="5126"/>
                  <a:pt x="9211" y="5158"/>
                  <a:pt x="9188" y="5191"/>
                </a:cubicBezTo>
                <a:lnTo>
                  <a:pt x="9107" y="5224"/>
                </a:lnTo>
                <a:lnTo>
                  <a:pt x="9107" y="5224"/>
                </a:lnTo>
                <a:lnTo>
                  <a:pt x="2" y="9404"/>
                </a:lnTo>
                <a:cubicBezTo>
                  <a:pt x="-1" y="9602"/>
                  <a:pt x="2" y="9801"/>
                  <a:pt x="0" y="10000"/>
                </a:cubicBezTo>
                <a:lnTo>
                  <a:pt x="9996" y="9989"/>
                </a:lnTo>
                <a:close/>
              </a:path>
            </a:pathLst>
          </a:custGeom>
          <a:solidFill>
            <a:schemeClr val="accent6"/>
          </a:solidFill>
          <a:ln>
            <a:noFill/>
          </a:ln>
        </p:spPr>
        <p:txBody>
          <a:bodyPr vert="horz" wrap="square" lIns="133428" tIns="66715" rIns="133428" bIns="66715" numCol="1" anchor="t" anchorCtr="0" compatLnSpc="1">
            <a:prstTxWarp prst="textNoShape">
              <a:avLst/>
            </a:prstTxWarp>
          </a:bodyPr>
          <a:lstStyle/>
          <a:p>
            <a:pPr marL="0" marR="0" lvl="0" indent="0" algn="l" defTabSz="478835" rtl="0" eaLnBrk="1" fontAlgn="auto" latinLnBrk="0" hangingPunct="1">
              <a:lnSpc>
                <a:spcPct val="100000"/>
              </a:lnSpc>
              <a:spcBef>
                <a:spcPts val="0"/>
              </a:spcBef>
              <a:spcAft>
                <a:spcPts val="0"/>
              </a:spcAft>
              <a:buClrTx/>
              <a:buSzTx/>
              <a:buFontTx/>
              <a:buNone/>
              <a:tabLst/>
              <a:defRPr/>
            </a:pPr>
            <a:endParaRPr kumimoji="1" lang="ja-JP" altLang="en-US" sz="2533"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endParaRPr>
          </a:p>
        </p:txBody>
      </p:sp>
      <p:sp>
        <p:nvSpPr>
          <p:cNvPr id="3" name="コンテンツ プレースホルダー 2"/>
          <p:cNvSpPr>
            <a:spLocks noGrp="1"/>
          </p:cNvSpPr>
          <p:nvPr>
            <p:ph idx="1"/>
          </p:nvPr>
        </p:nvSpPr>
        <p:spPr>
          <a:xfrm>
            <a:off x="368551" y="903600"/>
            <a:ext cx="11583452" cy="5540400"/>
          </a:xfrm>
          <a:prstGeom prst="rect">
            <a:avLst/>
          </a:prstGeom>
        </p:spPr>
        <p:txBody>
          <a:bodyPr lIns="95767" tIns="47884" rIns="95767" bIns="47884"/>
          <a:lstStyle>
            <a:lvl1pPr>
              <a:defRPr sz="1800">
                <a:latin typeface="Meiryo UI" panose="020B0604030504040204" pitchFamily="50" charset="-128"/>
                <a:ea typeface="Meiryo UI" panose="020B0604030504040204" pitchFamily="50" charset="-128"/>
              </a:defRPr>
            </a:lvl1pPr>
            <a:lvl2pPr indent="-236233">
              <a:defRPr sz="1800">
                <a:latin typeface="Meiryo UI" panose="020B0604030504040204" pitchFamily="50" charset="-128"/>
                <a:ea typeface="Meiryo UI" panose="020B0604030504040204" pitchFamily="50" charset="-128"/>
              </a:defRPr>
            </a:lvl2pPr>
            <a:lvl3pPr indent="-236233">
              <a:defRPr sz="1800">
                <a:latin typeface="Meiryo UI" panose="020B0604030504040204" pitchFamily="50" charset="-128"/>
                <a:ea typeface="Meiryo UI" panose="020B0604030504040204" pitchFamily="50" charset="-128"/>
              </a:defRPr>
            </a:lvl3pPr>
            <a:lvl4pPr indent="-236233">
              <a:defRPr sz="1800">
                <a:latin typeface="Meiryo UI" panose="020B0604030504040204" pitchFamily="50" charset="-128"/>
                <a:ea typeface="Meiryo UI" panose="020B0604030504040204" pitchFamily="50" charset="-128"/>
              </a:defRPr>
            </a:lvl4pPr>
            <a:lvl5pPr indent="-236233">
              <a:defRPr sz="1800">
                <a:latin typeface="Meiryo UI" panose="020B0604030504040204" pitchFamily="50" charset="-128"/>
                <a:ea typeface="Meiryo UI" panose="020B0604030504040204" pitchFamily="50" charset="-128"/>
              </a:defRPr>
            </a:lvl5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6" name="スライド番号プレースホルダー 5"/>
          <p:cNvSpPr>
            <a:spLocks noGrp="1"/>
          </p:cNvSpPr>
          <p:nvPr>
            <p:ph type="sldNum" sz="quarter" idx="12"/>
          </p:nvPr>
        </p:nvSpPr>
        <p:spPr>
          <a:xfrm>
            <a:off x="11524630" y="6468878"/>
            <a:ext cx="555811" cy="289299"/>
          </a:xfrm>
          <a:prstGeom prst="rect">
            <a:avLst/>
          </a:prstGeom>
        </p:spPr>
        <p:txBody>
          <a:bodyPr lIns="95767" tIns="47884" rIns="95767" bIns="47884"/>
          <a:lstStyle>
            <a:lvl1pPr algn="r">
              <a:defRPr sz="1050">
                <a:latin typeface="Meiryo UI" panose="020B0604030504040204" pitchFamily="50" charset="-128"/>
                <a:ea typeface="Meiryo UI" panose="020B0604030504040204" pitchFamily="50" charset="-128"/>
              </a:defRPr>
            </a:lvl1pPr>
          </a:lstStyle>
          <a:p>
            <a:pPr marL="0" marR="0" lvl="0" indent="0" algn="r" defTabSz="478835" rtl="0" eaLnBrk="1" fontAlgn="auto" latinLnBrk="0" hangingPunct="1">
              <a:lnSpc>
                <a:spcPct val="100000"/>
              </a:lnSpc>
              <a:spcBef>
                <a:spcPts val="0"/>
              </a:spcBef>
              <a:spcAft>
                <a:spcPts val="0"/>
              </a:spcAft>
              <a:buClrTx/>
              <a:buSzTx/>
              <a:buFontTx/>
              <a:buNone/>
              <a:tabLst/>
              <a:defRPr/>
            </a:pPr>
            <a:fld id="{2FF5E1DE-7B95-8A44-8552-65323269AE41}" type="slidenum">
              <a:rPr kumimoji="1" lang="ja-JP" altLang="en-US" sz="1050" b="0" i="0" u="none" strike="noStrike" kern="1200" cap="none" spc="0" normalizeH="0" baseline="0" noProof="0" smtClean="0">
                <a:ln>
                  <a:noFill/>
                </a:ln>
                <a:solidFill>
                  <a:srgbClr val="000000"/>
                </a:solidFill>
                <a:effectLst/>
                <a:uLnTx/>
                <a:uFillTx/>
                <a:latin typeface="Meiryo UI" panose="020B0604030504040204" pitchFamily="50" charset="-128"/>
                <a:ea typeface="Meiryo UI" panose="020B0604030504040204" pitchFamily="50" charset="-128"/>
                <a:cs typeface="+mn-cs"/>
              </a:rPr>
              <a:pPr marL="0" marR="0" lvl="0" indent="0" algn="r" defTabSz="478835" rtl="0" eaLnBrk="1" fontAlgn="auto" latinLnBrk="0" hangingPunct="1">
                <a:lnSpc>
                  <a:spcPct val="100000"/>
                </a:lnSpc>
                <a:spcBef>
                  <a:spcPts val="0"/>
                </a:spcBef>
                <a:spcAft>
                  <a:spcPts val="0"/>
                </a:spcAft>
                <a:buClrTx/>
                <a:buSzTx/>
                <a:buFontTx/>
                <a:buNone/>
                <a:tabLst/>
                <a:defRPr/>
              </a:pPr>
              <a:t>‹#›</a:t>
            </a:fld>
            <a:endParaRPr kumimoji="1" lang="ja-JP" altLang="en-US" sz="105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endParaRPr>
          </a:p>
        </p:txBody>
      </p:sp>
      <p:cxnSp>
        <p:nvCxnSpPr>
          <p:cNvPr id="8" name="直線コネクタ 7"/>
          <p:cNvCxnSpPr/>
          <p:nvPr userDrawn="1"/>
        </p:nvCxnSpPr>
        <p:spPr>
          <a:xfrm>
            <a:off x="239959" y="817200"/>
            <a:ext cx="11709966" cy="0"/>
          </a:xfrm>
          <a:prstGeom prst="line">
            <a:avLst/>
          </a:prstGeom>
          <a:ln>
            <a:solidFill>
              <a:srgbClr val="92846E"/>
            </a:solidFill>
          </a:ln>
          <a:effectLst/>
        </p:spPr>
        <p:style>
          <a:lnRef idx="2">
            <a:schemeClr val="accent1"/>
          </a:lnRef>
          <a:fillRef idx="0">
            <a:schemeClr val="accent1"/>
          </a:fillRef>
          <a:effectRef idx="1">
            <a:schemeClr val="accent1"/>
          </a:effectRef>
          <a:fontRef idx="minor">
            <a:schemeClr val="tx1"/>
          </a:fontRef>
        </p:style>
      </p:cxnSp>
      <p:pic>
        <p:nvPicPr>
          <p:cNvPr id="10" name="Picture 2" descr="K:\新ロゴ（データ一式）\DLH_3_EN.png"/>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11038066" y="-34312"/>
            <a:ext cx="973128" cy="900434"/>
          </a:xfrm>
          <a:prstGeom prst="rect">
            <a:avLst/>
          </a:prstGeom>
          <a:noFill/>
          <a:extLst>
            <a:ext uri="{909E8E84-426E-40DD-AFC4-6F175D3DCCD1}">
              <a14:hiddenFill xmlns:a14="http://schemas.microsoft.com/office/drawing/2010/main">
                <a:solidFill>
                  <a:srgbClr val="FFFFFF"/>
                </a:solidFill>
              </a14:hiddenFill>
            </a:ext>
          </a:extLst>
        </p:spPr>
      </p:pic>
      <p:sp>
        <p:nvSpPr>
          <p:cNvPr id="11" name="タイトル 1"/>
          <p:cNvSpPr>
            <a:spLocks noGrp="1"/>
          </p:cNvSpPr>
          <p:nvPr>
            <p:ph type="title"/>
          </p:nvPr>
        </p:nvSpPr>
        <p:spPr>
          <a:xfrm>
            <a:off x="368549" y="241861"/>
            <a:ext cx="9791452" cy="540000"/>
          </a:xfrm>
          <a:prstGeom prst="rect">
            <a:avLst/>
          </a:prstGeom>
        </p:spPr>
        <p:txBody>
          <a:bodyPr lIns="95767" tIns="47884" rIns="95767" bIns="47884" anchor="b"/>
          <a:lstStyle>
            <a:lvl1pPr>
              <a:defRPr sz="2200">
                <a:latin typeface="Meiryo UI" panose="020B0604030504040204" pitchFamily="50" charset="-128"/>
                <a:ea typeface="Meiryo UI" panose="020B0604030504040204" pitchFamily="50" charset="-128"/>
              </a:defRPr>
            </a:lvl1pPr>
          </a:lstStyle>
          <a:p>
            <a:r>
              <a:rPr kumimoji="1" lang="ja-JP" altLang="en-US"/>
              <a:t>マスター タイトルの書式設定</a:t>
            </a:r>
          </a:p>
        </p:txBody>
      </p:sp>
    </p:spTree>
    <p:extLst>
      <p:ext uri="{BB962C8B-B14F-4D97-AF65-F5344CB8AC3E}">
        <p14:creationId xmlns:p14="http://schemas.microsoft.com/office/powerpoint/2010/main" val="33820228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3_タイトルとコンテンツ">
    <p:spTree>
      <p:nvGrpSpPr>
        <p:cNvPr id="1" name=""/>
        <p:cNvGrpSpPr/>
        <p:nvPr/>
      </p:nvGrpSpPr>
      <p:grpSpPr>
        <a:xfrm>
          <a:off x="0" y="0"/>
          <a:ext cx="0" cy="0"/>
          <a:chOff x="0" y="0"/>
          <a:chExt cx="0" cy="0"/>
        </a:xfrm>
      </p:grpSpPr>
      <p:sp>
        <p:nvSpPr>
          <p:cNvPr id="9" name="Freeform 8"/>
          <p:cNvSpPr>
            <a:spLocks/>
          </p:cNvSpPr>
          <p:nvPr userDrawn="1"/>
        </p:nvSpPr>
        <p:spPr bwMode="auto">
          <a:xfrm>
            <a:off x="-2100" y="5505984"/>
            <a:ext cx="12192504" cy="1353504"/>
          </a:xfrm>
          <a:custGeom>
            <a:avLst/>
            <a:gdLst>
              <a:gd name="T0" fmla="*/ 3622 w 3622"/>
              <a:gd name="T1" fmla="*/ 608 h 608"/>
              <a:gd name="T2" fmla="*/ 3622 w 3622"/>
              <a:gd name="T3" fmla="*/ 0 h 608"/>
              <a:gd name="T4" fmla="*/ 3622 w 3622"/>
              <a:gd name="T5" fmla="*/ 0 h 608"/>
              <a:gd name="T6" fmla="*/ 3622 w 3622"/>
              <a:gd name="T7" fmla="*/ 14 h 608"/>
              <a:gd name="T8" fmla="*/ 3616 w 3622"/>
              <a:gd name="T9" fmla="*/ 46 h 608"/>
              <a:gd name="T10" fmla="*/ 3612 w 3622"/>
              <a:gd name="T11" fmla="*/ 68 h 608"/>
              <a:gd name="T12" fmla="*/ 3604 w 3622"/>
              <a:gd name="T13" fmla="*/ 94 h 608"/>
              <a:gd name="T14" fmla="*/ 3596 w 3622"/>
              <a:gd name="T15" fmla="*/ 122 h 608"/>
              <a:gd name="T16" fmla="*/ 3584 w 3622"/>
              <a:gd name="T17" fmla="*/ 150 h 608"/>
              <a:gd name="T18" fmla="*/ 3568 w 3622"/>
              <a:gd name="T19" fmla="*/ 178 h 608"/>
              <a:gd name="T20" fmla="*/ 3550 w 3622"/>
              <a:gd name="T21" fmla="*/ 206 h 608"/>
              <a:gd name="T22" fmla="*/ 3526 w 3622"/>
              <a:gd name="T23" fmla="*/ 232 h 608"/>
              <a:gd name="T24" fmla="*/ 3514 w 3622"/>
              <a:gd name="T25" fmla="*/ 246 h 608"/>
              <a:gd name="T26" fmla="*/ 3498 w 3622"/>
              <a:gd name="T27" fmla="*/ 258 h 608"/>
              <a:gd name="T28" fmla="*/ 3484 w 3622"/>
              <a:gd name="T29" fmla="*/ 268 h 608"/>
              <a:gd name="T30" fmla="*/ 3466 w 3622"/>
              <a:gd name="T31" fmla="*/ 280 h 608"/>
              <a:gd name="T32" fmla="*/ 3448 w 3622"/>
              <a:gd name="T33" fmla="*/ 288 h 608"/>
              <a:gd name="T34" fmla="*/ 3430 w 3622"/>
              <a:gd name="T35" fmla="*/ 298 h 608"/>
              <a:gd name="T36" fmla="*/ 3410 w 3622"/>
              <a:gd name="T37" fmla="*/ 304 h 608"/>
              <a:gd name="T38" fmla="*/ 3386 w 3622"/>
              <a:gd name="T39" fmla="*/ 310 h 608"/>
              <a:gd name="T40" fmla="*/ 3364 w 3622"/>
              <a:gd name="T41" fmla="*/ 316 h 608"/>
              <a:gd name="T42" fmla="*/ 3338 w 3622"/>
              <a:gd name="T43" fmla="*/ 318 h 608"/>
              <a:gd name="T44" fmla="*/ 3338 w 3622"/>
              <a:gd name="T45" fmla="*/ 318 h 608"/>
              <a:gd name="T46" fmla="*/ 0 w 3622"/>
              <a:gd name="T47" fmla="*/ 608 h 608"/>
              <a:gd name="T48" fmla="*/ 3622 w 3622"/>
              <a:gd name="T49" fmla="*/ 608 h 608"/>
              <a:gd name="connsiteX0" fmla="*/ 10000 w 10000"/>
              <a:gd name="connsiteY0" fmla="*/ 10000 h 10000"/>
              <a:gd name="connsiteX1" fmla="*/ 10000 w 10000"/>
              <a:gd name="connsiteY1" fmla="*/ 0 h 10000"/>
              <a:gd name="connsiteX2" fmla="*/ 10000 w 10000"/>
              <a:gd name="connsiteY2" fmla="*/ 0 h 10000"/>
              <a:gd name="connsiteX3" fmla="*/ 10000 w 10000"/>
              <a:gd name="connsiteY3" fmla="*/ 230 h 10000"/>
              <a:gd name="connsiteX4" fmla="*/ 9983 w 10000"/>
              <a:gd name="connsiteY4" fmla="*/ 757 h 10000"/>
              <a:gd name="connsiteX5" fmla="*/ 9972 w 10000"/>
              <a:gd name="connsiteY5" fmla="*/ 1118 h 10000"/>
              <a:gd name="connsiteX6" fmla="*/ 9950 w 10000"/>
              <a:gd name="connsiteY6" fmla="*/ 1546 h 10000"/>
              <a:gd name="connsiteX7" fmla="*/ 9928 w 10000"/>
              <a:gd name="connsiteY7" fmla="*/ 2007 h 10000"/>
              <a:gd name="connsiteX8" fmla="*/ 9895 w 10000"/>
              <a:gd name="connsiteY8" fmla="*/ 2467 h 10000"/>
              <a:gd name="connsiteX9" fmla="*/ 9851 w 10000"/>
              <a:gd name="connsiteY9" fmla="*/ 2928 h 10000"/>
              <a:gd name="connsiteX10" fmla="*/ 9801 w 10000"/>
              <a:gd name="connsiteY10" fmla="*/ 3388 h 10000"/>
              <a:gd name="connsiteX11" fmla="*/ 9735 w 10000"/>
              <a:gd name="connsiteY11" fmla="*/ 3816 h 10000"/>
              <a:gd name="connsiteX12" fmla="*/ 9702 w 10000"/>
              <a:gd name="connsiteY12" fmla="*/ 4046 h 10000"/>
              <a:gd name="connsiteX13" fmla="*/ 9658 w 10000"/>
              <a:gd name="connsiteY13" fmla="*/ 4243 h 10000"/>
              <a:gd name="connsiteX14" fmla="*/ 9619 w 10000"/>
              <a:gd name="connsiteY14" fmla="*/ 4408 h 10000"/>
              <a:gd name="connsiteX15" fmla="*/ 9569 w 10000"/>
              <a:gd name="connsiteY15" fmla="*/ 4605 h 10000"/>
              <a:gd name="connsiteX16" fmla="*/ 9520 w 10000"/>
              <a:gd name="connsiteY16" fmla="*/ 4737 h 10000"/>
              <a:gd name="connsiteX17" fmla="*/ 9470 w 10000"/>
              <a:gd name="connsiteY17" fmla="*/ 4901 h 10000"/>
              <a:gd name="connsiteX18" fmla="*/ 9415 w 10000"/>
              <a:gd name="connsiteY18" fmla="*/ 5000 h 10000"/>
              <a:gd name="connsiteX19" fmla="*/ 9348 w 10000"/>
              <a:gd name="connsiteY19" fmla="*/ 5099 h 10000"/>
              <a:gd name="connsiteX20" fmla="*/ 9288 w 10000"/>
              <a:gd name="connsiteY20" fmla="*/ 5197 h 10000"/>
              <a:gd name="connsiteX21" fmla="*/ 9216 w 10000"/>
              <a:gd name="connsiteY21" fmla="*/ 5230 h 10000"/>
              <a:gd name="connsiteX22" fmla="*/ 9216 w 10000"/>
              <a:gd name="connsiteY22" fmla="*/ 5230 h 10000"/>
              <a:gd name="connsiteX23" fmla="*/ 1190 w 10000"/>
              <a:gd name="connsiteY23" fmla="*/ 9414 h 10000"/>
              <a:gd name="connsiteX24" fmla="*/ 0 w 10000"/>
              <a:gd name="connsiteY24" fmla="*/ 10000 h 10000"/>
              <a:gd name="connsiteX25" fmla="*/ 10000 w 10000"/>
              <a:gd name="connsiteY25" fmla="*/ 10000 h 10000"/>
              <a:gd name="connsiteX0" fmla="*/ 10000 w 10000"/>
              <a:gd name="connsiteY0" fmla="*/ 10000 h 10011"/>
              <a:gd name="connsiteX1" fmla="*/ 10000 w 10000"/>
              <a:gd name="connsiteY1" fmla="*/ 0 h 10011"/>
              <a:gd name="connsiteX2" fmla="*/ 10000 w 10000"/>
              <a:gd name="connsiteY2" fmla="*/ 0 h 10011"/>
              <a:gd name="connsiteX3" fmla="*/ 10000 w 10000"/>
              <a:gd name="connsiteY3" fmla="*/ 230 h 10011"/>
              <a:gd name="connsiteX4" fmla="*/ 9983 w 10000"/>
              <a:gd name="connsiteY4" fmla="*/ 757 h 10011"/>
              <a:gd name="connsiteX5" fmla="*/ 9972 w 10000"/>
              <a:gd name="connsiteY5" fmla="*/ 1118 h 10011"/>
              <a:gd name="connsiteX6" fmla="*/ 9950 w 10000"/>
              <a:gd name="connsiteY6" fmla="*/ 1546 h 10011"/>
              <a:gd name="connsiteX7" fmla="*/ 9928 w 10000"/>
              <a:gd name="connsiteY7" fmla="*/ 2007 h 10011"/>
              <a:gd name="connsiteX8" fmla="*/ 9895 w 10000"/>
              <a:gd name="connsiteY8" fmla="*/ 2467 h 10011"/>
              <a:gd name="connsiteX9" fmla="*/ 9851 w 10000"/>
              <a:gd name="connsiteY9" fmla="*/ 2928 h 10011"/>
              <a:gd name="connsiteX10" fmla="*/ 9801 w 10000"/>
              <a:gd name="connsiteY10" fmla="*/ 3388 h 10011"/>
              <a:gd name="connsiteX11" fmla="*/ 9735 w 10000"/>
              <a:gd name="connsiteY11" fmla="*/ 3816 h 10011"/>
              <a:gd name="connsiteX12" fmla="*/ 9702 w 10000"/>
              <a:gd name="connsiteY12" fmla="*/ 4046 h 10011"/>
              <a:gd name="connsiteX13" fmla="*/ 9658 w 10000"/>
              <a:gd name="connsiteY13" fmla="*/ 4243 h 10011"/>
              <a:gd name="connsiteX14" fmla="*/ 9619 w 10000"/>
              <a:gd name="connsiteY14" fmla="*/ 4408 h 10011"/>
              <a:gd name="connsiteX15" fmla="*/ 9569 w 10000"/>
              <a:gd name="connsiteY15" fmla="*/ 4605 h 10011"/>
              <a:gd name="connsiteX16" fmla="*/ 9520 w 10000"/>
              <a:gd name="connsiteY16" fmla="*/ 4737 h 10011"/>
              <a:gd name="connsiteX17" fmla="*/ 9470 w 10000"/>
              <a:gd name="connsiteY17" fmla="*/ 4901 h 10011"/>
              <a:gd name="connsiteX18" fmla="*/ 9415 w 10000"/>
              <a:gd name="connsiteY18" fmla="*/ 5000 h 10011"/>
              <a:gd name="connsiteX19" fmla="*/ 9348 w 10000"/>
              <a:gd name="connsiteY19" fmla="*/ 5099 h 10011"/>
              <a:gd name="connsiteX20" fmla="*/ 9288 w 10000"/>
              <a:gd name="connsiteY20" fmla="*/ 5197 h 10011"/>
              <a:gd name="connsiteX21" fmla="*/ 9216 w 10000"/>
              <a:gd name="connsiteY21" fmla="*/ 5230 h 10011"/>
              <a:gd name="connsiteX22" fmla="*/ 9216 w 10000"/>
              <a:gd name="connsiteY22" fmla="*/ 5230 h 10011"/>
              <a:gd name="connsiteX23" fmla="*/ 1190 w 10000"/>
              <a:gd name="connsiteY23" fmla="*/ 9414 h 10011"/>
              <a:gd name="connsiteX24" fmla="*/ 0 w 10000"/>
              <a:gd name="connsiteY24" fmla="*/ 10000 h 10011"/>
              <a:gd name="connsiteX25" fmla="*/ 1185 w 10000"/>
              <a:gd name="connsiteY25" fmla="*/ 10011 h 10011"/>
              <a:gd name="connsiteX26" fmla="*/ 10000 w 10000"/>
              <a:gd name="connsiteY26" fmla="*/ 10000 h 10011"/>
              <a:gd name="connsiteX0" fmla="*/ 8815 w 8815"/>
              <a:gd name="connsiteY0" fmla="*/ 10000 h 10011"/>
              <a:gd name="connsiteX1" fmla="*/ 8815 w 8815"/>
              <a:gd name="connsiteY1" fmla="*/ 0 h 10011"/>
              <a:gd name="connsiteX2" fmla="*/ 8815 w 8815"/>
              <a:gd name="connsiteY2" fmla="*/ 0 h 10011"/>
              <a:gd name="connsiteX3" fmla="*/ 8815 w 8815"/>
              <a:gd name="connsiteY3" fmla="*/ 230 h 10011"/>
              <a:gd name="connsiteX4" fmla="*/ 8798 w 8815"/>
              <a:gd name="connsiteY4" fmla="*/ 757 h 10011"/>
              <a:gd name="connsiteX5" fmla="*/ 8787 w 8815"/>
              <a:gd name="connsiteY5" fmla="*/ 1118 h 10011"/>
              <a:gd name="connsiteX6" fmla="*/ 8765 w 8815"/>
              <a:gd name="connsiteY6" fmla="*/ 1546 h 10011"/>
              <a:gd name="connsiteX7" fmla="*/ 8743 w 8815"/>
              <a:gd name="connsiteY7" fmla="*/ 2007 h 10011"/>
              <a:gd name="connsiteX8" fmla="*/ 8710 w 8815"/>
              <a:gd name="connsiteY8" fmla="*/ 2467 h 10011"/>
              <a:gd name="connsiteX9" fmla="*/ 8666 w 8815"/>
              <a:gd name="connsiteY9" fmla="*/ 2928 h 10011"/>
              <a:gd name="connsiteX10" fmla="*/ 8616 w 8815"/>
              <a:gd name="connsiteY10" fmla="*/ 3388 h 10011"/>
              <a:gd name="connsiteX11" fmla="*/ 8550 w 8815"/>
              <a:gd name="connsiteY11" fmla="*/ 3816 h 10011"/>
              <a:gd name="connsiteX12" fmla="*/ 8517 w 8815"/>
              <a:gd name="connsiteY12" fmla="*/ 4046 h 10011"/>
              <a:gd name="connsiteX13" fmla="*/ 8473 w 8815"/>
              <a:gd name="connsiteY13" fmla="*/ 4243 h 10011"/>
              <a:gd name="connsiteX14" fmla="*/ 8434 w 8815"/>
              <a:gd name="connsiteY14" fmla="*/ 4408 h 10011"/>
              <a:gd name="connsiteX15" fmla="*/ 8384 w 8815"/>
              <a:gd name="connsiteY15" fmla="*/ 4605 h 10011"/>
              <a:gd name="connsiteX16" fmla="*/ 8335 w 8815"/>
              <a:gd name="connsiteY16" fmla="*/ 4737 h 10011"/>
              <a:gd name="connsiteX17" fmla="*/ 8285 w 8815"/>
              <a:gd name="connsiteY17" fmla="*/ 4901 h 10011"/>
              <a:gd name="connsiteX18" fmla="*/ 8230 w 8815"/>
              <a:gd name="connsiteY18" fmla="*/ 5000 h 10011"/>
              <a:gd name="connsiteX19" fmla="*/ 8163 w 8815"/>
              <a:gd name="connsiteY19" fmla="*/ 5099 h 10011"/>
              <a:gd name="connsiteX20" fmla="*/ 8103 w 8815"/>
              <a:gd name="connsiteY20" fmla="*/ 5197 h 10011"/>
              <a:gd name="connsiteX21" fmla="*/ 8031 w 8815"/>
              <a:gd name="connsiteY21" fmla="*/ 5230 h 10011"/>
              <a:gd name="connsiteX22" fmla="*/ 8031 w 8815"/>
              <a:gd name="connsiteY22" fmla="*/ 5230 h 10011"/>
              <a:gd name="connsiteX23" fmla="*/ 5 w 8815"/>
              <a:gd name="connsiteY23" fmla="*/ 9414 h 10011"/>
              <a:gd name="connsiteX24" fmla="*/ 0 w 8815"/>
              <a:gd name="connsiteY24" fmla="*/ 10011 h 10011"/>
              <a:gd name="connsiteX25" fmla="*/ 8815 w 8815"/>
              <a:gd name="connsiteY25" fmla="*/ 10000 h 10011"/>
              <a:gd name="connsiteX0" fmla="*/ 9996 w 9996"/>
              <a:gd name="connsiteY0" fmla="*/ 9989 h 10000"/>
              <a:gd name="connsiteX1" fmla="*/ 9996 w 9996"/>
              <a:gd name="connsiteY1" fmla="*/ 0 h 10000"/>
              <a:gd name="connsiteX2" fmla="*/ 9996 w 9996"/>
              <a:gd name="connsiteY2" fmla="*/ 0 h 10000"/>
              <a:gd name="connsiteX3" fmla="*/ 9996 w 9996"/>
              <a:gd name="connsiteY3" fmla="*/ 230 h 10000"/>
              <a:gd name="connsiteX4" fmla="*/ 9977 w 9996"/>
              <a:gd name="connsiteY4" fmla="*/ 756 h 10000"/>
              <a:gd name="connsiteX5" fmla="*/ 9964 w 9996"/>
              <a:gd name="connsiteY5" fmla="*/ 1117 h 10000"/>
              <a:gd name="connsiteX6" fmla="*/ 9939 w 9996"/>
              <a:gd name="connsiteY6" fmla="*/ 1544 h 10000"/>
              <a:gd name="connsiteX7" fmla="*/ 9914 w 9996"/>
              <a:gd name="connsiteY7" fmla="*/ 2005 h 10000"/>
              <a:gd name="connsiteX8" fmla="*/ 9877 w 9996"/>
              <a:gd name="connsiteY8" fmla="*/ 2464 h 10000"/>
              <a:gd name="connsiteX9" fmla="*/ 9827 w 9996"/>
              <a:gd name="connsiteY9" fmla="*/ 2925 h 10000"/>
              <a:gd name="connsiteX10" fmla="*/ 9770 w 9996"/>
              <a:gd name="connsiteY10" fmla="*/ 3384 h 10000"/>
              <a:gd name="connsiteX11" fmla="*/ 9695 w 9996"/>
              <a:gd name="connsiteY11" fmla="*/ 3812 h 10000"/>
              <a:gd name="connsiteX12" fmla="*/ 9658 w 9996"/>
              <a:gd name="connsiteY12" fmla="*/ 4042 h 10000"/>
              <a:gd name="connsiteX13" fmla="*/ 9608 w 9996"/>
              <a:gd name="connsiteY13" fmla="*/ 4238 h 10000"/>
              <a:gd name="connsiteX14" fmla="*/ 9564 w 9996"/>
              <a:gd name="connsiteY14" fmla="*/ 4403 h 10000"/>
              <a:gd name="connsiteX15" fmla="*/ 9507 w 9996"/>
              <a:gd name="connsiteY15" fmla="*/ 4600 h 10000"/>
              <a:gd name="connsiteX16" fmla="*/ 9451 w 9996"/>
              <a:gd name="connsiteY16" fmla="*/ 4732 h 10000"/>
              <a:gd name="connsiteX17" fmla="*/ 9395 w 9996"/>
              <a:gd name="connsiteY17" fmla="*/ 4896 h 10000"/>
              <a:gd name="connsiteX18" fmla="*/ 9332 w 9996"/>
              <a:gd name="connsiteY18" fmla="*/ 4995 h 10000"/>
              <a:gd name="connsiteX19" fmla="*/ 9256 w 9996"/>
              <a:gd name="connsiteY19" fmla="*/ 5093 h 10000"/>
              <a:gd name="connsiteX20" fmla="*/ 9188 w 9996"/>
              <a:gd name="connsiteY20" fmla="*/ 5191 h 10000"/>
              <a:gd name="connsiteX21" fmla="*/ 9107 w 9996"/>
              <a:gd name="connsiteY21" fmla="*/ 5224 h 10000"/>
              <a:gd name="connsiteX22" fmla="*/ 9107 w 9996"/>
              <a:gd name="connsiteY22" fmla="*/ 5224 h 10000"/>
              <a:gd name="connsiteX23" fmla="*/ 2 w 9996"/>
              <a:gd name="connsiteY23" fmla="*/ 9404 h 10000"/>
              <a:gd name="connsiteX24" fmla="*/ 0 w 9996"/>
              <a:gd name="connsiteY24" fmla="*/ 10000 h 10000"/>
              <a:gd name="connsiteX25" fmla="*/ 9996 w 9996"/>
              <a:gd name="connsiteY25" fmla="*/ 9989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9996" h="10000">
                <a:moveTo>
                  <a:pt x="9996" y="9989"/>
                </a:moveTo>
                <a:lnTo>
                  <a:pt x="9996" y="0"/>
                </a:lnTo>
                <a:lnTo>
                  <a:pt x="9996" y="0"/>
                </a:lnTo>
                <a:lnTo>
                  <a:pt x="9996" y="230"/>
                </a:lnTo>
                <a:cubicBezTo>
                  <a:pt x="9989" y="406"/>
                  <a:pt x="9984" y="580"/>
                  <a:pt x="9977" y="756"/>
                </a:cubicBezTo>
                <a:cubicBezTo>
                  <a:pt x="9972" y="876"/>
                  <a:pt x="9969" y="997"/>
                  <a:pt x="9964" y="1117"/>
                </a:cubicBezTo>
                <a:cubicBezTo>
                  <a:pt x="9956" y="1260"/>
                  <a:pt x="9947" y="1401"/>
                  <a:pt x="9939" y="1544"/>
                </a:cubicBezTo>
                <a:cubicBezTo>
                  <a:pt x="9931" y="1698"/>
                  <a:pt x="9922" y="1851"/>
                  <a:pt x="9914" y="2005"/>
                </a:cubicBezTo>
                <a:cubicBezTo>
                  <a:pt x="9902" y="2158"/>
                  <a:pt x="9889" y="2311"/>
                  <a:pt x="9877" y="2464"/>
                </a:cubicBezTo>
                <a:cubicBezTo>
                  <a:pt x="9860" y="2618"/>
                  <a:pt x="9844" y="2771"/>
                  <a:pt x="9827" y="2925"/>
                </a:cubicBezTo>
                <a:cubicBezTo>
                  <a:pt x="9808" y="3078"/>
                  <a:pt x="9790" y="3231"/>
                  <a:pt x="9770" y="3384"/>
                </a:cubicBezTo>
                <a:cubicBezTo>
                  <a:pt x="9745" y="3527"/>
                  <a:pt x="9720" y="3669"/>
                  <a:pt x="9695" y="3812"/>
                </a:cubicBezTo>
                <a:cubicBezTo>
                  <a:pt x="9683" y="3889"/>
                  <a:pt x="9670" y="3965"/>
                  <a:pt x="9658" y="4042"/>
                </a:cubicBezTo>
                <a:cubicBezTo>
                  <a:pt x="9641" y="4107"/>
                  <a:pt x="9625" y="4172"/>
                  <a:pt x="9608" y="4238"/>
                </a:cubicBezTo>
                <a:cubicBezTo>
                  <a:pt x="9593" y="4293"/>
                  <a:pt x="9579" y="4348"/>
                  <a:pt x="9564" y="4403"/>
                </a:cubicBezTo>
                <a:cubicBezTo>
                  <a:pt x="9544" y="4469"/>
                  <a:pt x="9526" y="4534"/>
                  <a:pt x="9507" y="4600"/>
                </a:cubicBezTo>
                <a:cubicBezTo>
                  <a:pt x="9489" y="4644"/>
                  <a:pt x="9470" y="4688"/>
                  <a:pt x="9451" y="4732"/>
                </a:cubicBezTo>
                <a:cubicBezTo>
                  <a:pt x="9432" y="4787"/>
                  <a:pt x="9414" y="4841"/>
                  <a:pt x="9395" y="4896"/>
                </a:cubicBezTo>
                <a:lnTo>
                  <a:pt x="9332" y="4995"/>
                </a:lnTo>
                <a:cubicBezTo>
                  <a:pt x="9307" y="5027"/>
                  <a:pt x="9281" y="5060"/>
                  <a:pt x="9256" y="5093"/>
                </a:cubicBezTo>
                <a:cubicBezTo>
                  <a:pt x="9234" y="5126"/>
                  <a:pt x="9211" y="5158"/>
                  <a:pt x="9188" y="5191"/>
                </a:cubicBezTo>
                <a:lnTo>
                  <a:pt x="9107" y="5224"/>
                </a:lnTo>
                <a:lnTo>
                  <a:pt x="9107" y="5224"/>
                </a:lnTo>
                <a:lnTo>
                  <a:pt x="2" y="9404"/>
                </a:lnTo>
                <a:cubicBezTo>
                  <a:pt x="-1" y="9602"/>
                  <a:pt x="2" y="9801"/>
                  <a:pt x="0" y="10000"/>
                </a:cubicBezTo>
                <a:lnTo>
                  <a:pt x="9996" y="9989"/>
                </a:lnTo>
                <a:close/>
              </a:path>
            </a:pathLst>
          </a:custGeom>
          <a:solidFill>
            <a:schemeClr val="accent6"/>
          </a:solidFill>
          <a:ln>
            <a:noFill/>
          </a:ln>
        </p:spPr>
        <p:txBody>
          <a:bodyPr vert="horz" wrap="square" lIns="133428" tIns="66715" rIns="133428" bIns="66715" numCol="1" anchor="t" anchorCtr="0" compatLnSpc="1">
            <a:prstTxWarp prst="textNoShape">
              <a:avLst/>
            </a:prstTxWarp>
          </a:bodyPr>
          <a:lstStyle/>
          <a:p>
            <a:endParaRPr lang="ja-JP" altLang="en-US" sz="2533"/>
          </a:p>
        </p:txBody>
      </p:sp>
      <p:sp>
        <p:nvSpPr>
          <p:cNvPr id="2" name="タイトル 1"/>
          <p:cNvSpPr>
            <a:spLocks noGrp="1"/>
          </p:cNvSpPr>
          <p:nvPr>
            <p:ph type="title"/>
          </p:nvPr>
        </p:nvSpPr>
        <p:spPr>
          <a:xfrm>
            <a:off x="368550" y="1959102"/>
            <a:ext cx="11451591" cy="540000"/>
          </a:xfrm>
          <a:prstGeom prst="rect">
            <a:avLst/>
          </a:prstGeom>
        </p:spPr>
        <p:txBody>
          <a:bodyPr lIns="95767" tIns="47884" rIns="95767" bIns="47884"/>
          <a:lstStyle/>
          <a:p>
            <a:r>
              <a:rPr kumimoji="1" lang="ja-JP" altLang="en-US"/>
              <a:t>マスター タイトルの書式設定</a:t>
            </a:r>
          </a:p>
        </p:txBody>
      </p:sp>
      <p:sp>
        <p:nvSpPr>
          <p:cNvPr id="6" name="スライド番号プレースホルダー 5"/>
          <p:cNvSpPr>
            <a:spLocks noGrp="1"/>
          </p:cNvSpPr>
          <p:nvPr>
            <p:ph type="sldNum" sz="quarter" idx="12"/>
          </p:nvPr>
        </p:nvSpPr>
        <p:spPr>
          <a:xfrm>
            <a:off x="11524630" y="6468878"/>
            <a:ext cx="555811" cy="289299"/>
          </a:xfrm>
          <a:prstGeom prst="rect">
            <a:avLst/>
          </a:prstGeom>
        </p:spPr>
        <p:txBody>
          <a:bodyPr lIns="95767" tIns="47884" rIns="95767" bIns="47884"/>
          <a:lstStyle>
            <a:lvl1pPr>
              <a:defRPr sz="1333"/>
            </a:lvl1pPr>
          </a:lstStyle>
          <a:p>
            <a:fld id="{2FF5E1DE-7B95-8A44-8552-65323269AE41}" type="slidenum">
              <a:rPr lang="ja-JP" altLang="en-US" smtClean="0"/>
              <a:pPr/>
              <a:t>‹#›</a:t>
            </a:fld>
            <a:endParaRPr lang="ja-JP" altLang="en-US"/>
          </a:p>
        </p:txBody>
      </p:sp>
      <p:pic>
        <p:nvPicPr>
          <p:cNvPr id="7" name="Picture 2" descr="K:\新ロゴ（データ一式）\DLH_3_EN.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1038066" y="5444"/>
            <a:ext cx="973128" cy="90043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26944479"/>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type="title" preserve="1">
  <p:cSld name="4_タイトル スライド">
    <p:spTree>
      <p:nvGrpSpPr>
        <p:cNvPr id="1" name=""/>
        <p:cNvGrpSpPr/>
        <p:nvPr/>
      </p:nvGrpSpPr>
      <p:grpSpPr>
        <a:xfrm>
          <a:off x="0" y="0"/>
          <a:ext cx="0" cy="0"/>
          <a:chOff x="0" y="0"/>
          <a:chExt cx="0" cy="0"/>
        </a:xfrm>
      </p:grpSpPr>
      <p:sp>
        <p:nvSpPr>
          <p:cNvPr id="10" name="Freeform 5"/>
          <p:cNvSpPr>
            <a:spLocks/>
          </p:cNvSpPr>
          <p:nvPr userDrawn="1"/>
        </p:nvSpPr>
        <p:spPr bwMode="auto">
          <a:xfrm>
            <a:off x="233538" y="169337"/>
            <a:ext cx="11730712" cy="5207000"/>
          </a:xfrm>
          <a:custGeom>
            <a:avLst/>
            <a:gdLst>
              <a:gd name="T0" fmla="*/ 0 w 1618"/>
              <a:gd name="T1" fmla="*/ 0 h 957"/>
              <a:gd name="T2" fmla="*/ 0 w 1618"/>
              <a:gd name="T3" fmla="*/ 957 h 957"/>
              <a:gd name="T4" fmla="*/ 1279 w 1618"/>
              <a:gd name="T5" fmla="*/ 842 h 957"/>
              <a:gd name="T6" fmla="*/ 1618 w 1618"/>
              <a:gd name="T7" fmla="*/ 472 h 957"/>
              <a:gd name="T8" fmla="*/ 1618 w 1618"/>
              <a:gd name="T9" fmla="*/ 0 h 957"/>
              <a:gd name="T10" fmla="*/ 0 w 1618"/>
              <a:gd name="T11" fmla="*/ 0 h 957"/>
            </a:gdLst>
            <a:ahLst/>
            <a:cxnLst>
              <a:cxn ang="0">
                <a:pos x="T0" y="T1"/>
              </a:cxn>
              <a:cxn ang="0">
                <a:pos x="T2" y="T3"/>
              </a:cxn>
              <a:cxn ang="0">
                <a:pos x="T4" y="T5"/>
              </a:cxn>
              <a:cxn ang="0">
                <a:pos x="T6" y="T7"/>
              </a:cxn>
              <a:cxn ang="0">
                <a:pos x="T8" y="T9"/>
              </a:cxn>
              <a:cxn ang="0">
                <a:pos x="T10" y="T11"/>
              </a:cxn>
            </a:cxnLst>
            <a:rect l="0" t="0" r="r" b="b"/>
            <a:pathLst>
              <a:path w="1618" h="957">
                <a:moveTo>
                  <a:pt x="0" y="0"/>
                </a:moveTo>
                <a:cubicBezTo>
                  <a:pt x="0" y="957"/>
                  <a:pt x="0" y="957"/>
                  <a:pt x="0" y="957"/>
                </a:cubicBezTo>
                <a:cubicBezTo>
                  <a:pt x="1279" y="842"/>
                  <a:pt x="1279" y="842"/>
                  <a:pt x="1279" y="842"/>
                </a:cubicBezTo>
                <a:cubicBezTo>
                  <a:pt x="1465" y="825"/>
                  <a:pt x="1618" y="659"/>
                  <a:pt x="1618" y="472"/>
                </a:cubicBezTo>
                <a:cubicBezTo>
                  <a:pt x="1618" y="0"/>
                  <a:pt x="1618" y="0"/>
                  <a:pt x="1618" y="0"/>
                </a:cubicBezTo>
                <a:lnTo>
                  <a:pt x="0" y="0"/>
                </a:lnTo>
                <a:close/>
              </a:path>
            </a:pathLst>
          </a:custGeom>
          <a:solidFill>
            <a:schemeClr val="accent5"/>
          </a:solidFill>
          <a:ln>
            <a:noFill/>
          </a:ln>
        </p:spPr>
        <p:txBody>
          <a:bodyPr lIns="127667" tIns="63834" rIns="127667" bIns="63834"/>
          <a:lstStyle/>
          <a:p>
            <a:pPr marL="0" marR="0" lvl="0" indent="0" algn="l" defTabSz="478835" rtl="0" eaLnBrk="1" fontAlgn="auto" latinLnBrk="0" hangingPunct="1">
              <a:lnSpc>
                <a:spcPct val="100000"/>
              </a:lnSpc>
              <a:spcBef>
                <a:spcPts val="0"/>
              </a:spcBef>
              <a:spcAft>
                <a:spcPts val="0"/>
              </a:spcAft>
              <a:buClrTx/>
              <a:buSzTx/>
              <a:buFontTx/>
              <a:buNone/>
              <a:tabLst/>
              <a:defRPr/>
            </a:pPr>
            <a:endParaRPr kumimoji="1" lang="ja-JP" altLang="en-US" sz="2533"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endParaRPr>
          </a:p>
        </p:txBody>
      </p:sp>
      <p:sp>
        <p:nvSpPr>
          <p:cNvPr id="2" name="タイトル 1"/>
          <p:cNvSpPr>
            <a:spLocks noGrp="1"/>
          </p:cNvSpPr>
          <p:nvPr>
            <p:ph type="ctrTitle"/>
          </p:nvPr>
        </p:nvSpPr>
        <p:spPr>
          <a:xfrm>
            <a:off x="914400" y="1416804"/>
            <a:ext cx="10363200" cy="1470025"/>
          </a:xfrm>
          <a:prstGeom prst="rect">
            <a:avLst/>
          </a:prstGeom>
        </p:spPr>
        <p:txBody>
          <a:bodyPr lIns="95767" tIns="47884" rIns="95767" bIns="47884" anchor="b">
            <a:normAutofit/>
          </a:bodyPr>
          <a:lstStyle>
            <a:lvl1pPr algn="l">
              <a:defRPr sz="5199" kern="1200">
                <a:solidFill>
                  <a:schemeClr val="tx1"/>
                </a:solidFill>
                <a:latin typeface="Meiryo UI" panose="020B0604030504040204" pitchFamily="50" charset="-128"/>
                <a:ea typeface="Meiryo UI" panose="020B0604030504040204" pitchFamily="50" charset="-128"/>
              </a:defRPr>
            </a:lvl1pPr>
          </a:lstStyle>
          <a:p>
            <a:r>
              <a:rPr kumimoji="1" lang="ja-JP" altLang="en-US"/>
              <a:t>マスター タイトルの書式設定</a:t>
            </a:r>
          </a:p>
        </p:txBody>
      </p:sp>
      <p:sp>
        <p:nvSpPr>
          <p:cNvPr id="3" name="サブタイトル 2"/>
          <p:cNvSpPr>
            <a:spLocks noGrp="1"/>
          </p:cNvSpPr>
          <p:nvPr>
            <p:ph type="subTitle" idx="1"/>
          </p:nvPr>
        </p:nvSpPr>
        <p:spPr>
          <a:xfrm>
            <a:off x="916801" y="3420000"/>
            <a:ext cx="9691436" cy="977153"/>
          </a:xfrm>
          <a:prstGeom prst="rect">
            <a:avLst/>
          </a:prstGeom>
        </p:spPr>
        <p:txBody>
          <a:bodyPr lIns="95767" tIns="47884" rIns="95767" bIns="47884">
            <a:normAutofit/>
          </a:bodyPr>
          <a:lstStyle>
            <a:lvl1pPr marL="0" indent="0" algn="l">
              <a:buNone/>
              <a:defRPr sz="2800">
                <a:solidFill>
                  <a:schemeClr val="tx1"/>
                </a:solidFill>
                <a:latin typeface="Meiryo UI" panose="020B0604030504040204" pitchFamily="50" charset="-128"/>
                <a:ea typeface="Meiryo UI" panose="020B0604030504040204" pitchFamily="50" charset="-128"/>
              </a:defRPr>
            </a:lvl1pPr>
            <a:lvl2pPr marL="638335" indent="0" algn="ctr">
              <a:buNone/>
              <a:defRPr>
                <a:solidFill>
                  <a:schemeClr val="tx1">
                    <a:tint val="75000"/>
                  </a:schemeClr>
                </a:solidFill>
              </a:defRPr>
            </a:lvl2pPr>
            <a:lvl3pPr marL="1276669" indent="0" algn="ctr">
              <a:buNone/>
              <a:defRPr>
                <a:solidFill>
                  <a:schemeClr val="tx1">
                    <a:tint val="75000"/>
                  </a:schemeClr>
                </a:solidFill>
              </a:defRPr>
            </a:lvl3pPr>
            <a:lvl4pPr marL="1915003" indent="0" algn="ctr">
              <a:buNone/>
              <a:defRPr>
                <a:solidFill>
                  <a:schemeClr val="tx1">
                    <a:tint val="75000"/>
                  </a:schemeClr>
                </a:solidFill>
              </a:defRPr>
            </a:lvl4pPr>
            <a:lvl5pPr marL="2553338" indent="0" algn="ctr">
              <a:buNone/>
              <a:defRPr>
                <a:solidFill>
                  <a:schemeClr val="tx1">
                    <a:tint val="75000"/>
                  </a:schemeClr>
                </a:solidFill>
              </a:defRPr>
            </a:lvl5pPr>
            <a:lvl6pPr marL="3191671" indent="0" algn="ctr">
              <a:buNone/>
              <a:defRPr>
                <a:solidFill>
                  <a:schemeClr val="tx1">
                    <a:tint val="75000"/>
                  </a:schemeClr>
                </a:solidFill>
              </a:defRPr>
            </a:lvl6pPr>
            <a:lvl7pPr marL="3830007" indent="0" algn="ctr">
              <a:buNone/>
              <a:defRPr>
                <a:solidFill>
                  <a:schemeClr val="tx1">
                    <a:tint val="75000"/>
                  </a:schemeClr>
                </a:solidFill>
              </a:defRPr>
            </a:lvl7pPr>
            <a:lvl8pPr marL="4468342" indent="0" algn="ctr">
              <a:buNone/>
              <a:defRPr>
                <a:solidFill>
                  <a:schemeClr val="tx1">
                    <a:tint val="75000"/>
                  </a:schemeClr>
                </a:solidFill>
              </a:defRPr>
            </a:lvl8pPr>
            <a:lvl9pPr marL="5106676" indent="0" algn="ctr">
              <a:buNone/>
              <a:defRPr>
                <a:solidFill>
                  <a:schemeClr val="tx1">
                    <a:tint val="75000"/>
                  </a:schemeClr>
                </a:solidFill>
              </a:defRPr>
            </a:lvl9pPr>
          </a:lstStyle>
          <a:p>
            <a:r>
              <a:rPr kumimoji="1" lang="ja-JP" altLang="en-US"/>
              <a:t>マスター サブタイトルの書式設定</a:t>
            </a:r>
          </a:p>
        </p:txBody>
      </p:sp>
      <p:sp>
        <p:nvSpPr>
          <p:cNvPr id="8" name="フッター プレースホルダー 12"/>
          <p:cNvSpPr>
            <a:spLocks noGrp="1"/>
          </p:cNvSpPr>
          <p:nvPr>
            <p:ph type="ftr" sz="quarter" idx="11"/>
          </p:nvPr>
        </p:nvSpPr>
        <p:spPr>
          <a:xfrm>
            <a:off x="609600" y="6099529"/>
            <a:ext cx="6668998" cy="365125"/>
          </a:xfrm>
          <a:prstGeom prst="rect">
            <a:avLst/>
          </a:prstGeom>
        </p:spPr>
        <p:txBody>
          <a:bodyPr lIns="95767" tIns="47884" rIns="95767" bIns="47884"/>
          <a:lstStyle>
            <a:lvl1pPr algn="l">
              <a:defRPr sz="1800">
                <a:latin typeface="Meiryo UI" panose="020B0604030504040204" pitchFamily="50" charset="-128"/>
                <a:ea typeface="Meiryo UI" panose="020B0604030504040204" pitchFamily="50" charset="-128"/>
              </a:defRPr>
            </a:lvl1pPr>
          </a:lstStyle>
          <a:p>
            <a:pPr marL="0" marR="0" lvl="0" indent="0" algn="l" defTabSz="478835"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endParaRPr>
          </a:p>
        </p:txBody>
      </p:sp>
      <p:sp>
        <p:nvSpPr>
          <p:cNvPr id="9" name="日付プレースホルダー 11"/>
          <p:cNvSpPr>
            <a:spLocks noGrp="1"/>
          </p:cNvSpPr>
          <p:nvPr>
            <p:ph type="dt" sz="half" idx="10"/>
          </p:nvPr>
        </p:nvSpPr>
        <p:spPr>
          <a:xfrm>
            <a:off x="609600" y="5691768"/>
            <a:ext cx="3860800" cy="365125"/>
          </a:xfrm>
          <a:prstGeom prst="rect">
            <a:avLst/>
          </a:prstGeom>
        </p:spPr>
        <p:txBody>
          <a:bodyPr lIns="95767" tIns="47884" rIns="95767" bIns="47884"/>
          <a:lstStyle>
            <a:lvl1pPr algn="l">
              <a:defRPr sz="1800">
                <a:solidFill>
                  <a:srgbClr val="000000"/>
                </a:solidFill>
                <a:latin typeface="Meiryo UI" panose="020B0604030504040204" pitchFamily="50" charset="-128"/>
                <a:ea typeface="Meiryo UI" panose="020B0604030504040204" pitchFamily="50" charset="-128"/>
              </a:defRPr>
            </a:lvl1pPr>
          </a:lstStyle>
          <a:p>
            <a:pPr marL="0" marR="0" lvl="0" indent="0" algn="l" defTabSz="478835"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endParaRPr>
          </a:p>
        </p:txBody>
      </p:sp>
      <p:pic>
        <p:nvPicPr>
          <p:cNvPr id="11" name="Picture 2" descr="K:\新ロゴ（データ一式）\DLH_3_EN.png"/>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10521597" y="5335811"/>
            <a:ext cx="1644525" cy="152167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8106562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7_タイトルとコンテンツ">
    <p:spTree>
      <p:nvGrpSpPr>
        <p:cNvPr id="1" name=""/>
        <p:cNvGrpSpPr/>
        <p:nvPr/>
      </p:nvGrpSpPr>
      <p:grpSpPr>
        <a:xfrm>
          <a:off x="0" y="0"/>
          <a:ext cx="0" cy="0"/>
          <a:chOff x="0" y="0"/>
          <a:chExt cx="0" cy="0"/>
        </a:xfrm>
      </p:grpSpPr>
      <p:sp>
        <p:nvSpPr>
          <p:cNvPr id="7" name="Freeform 8"/>
          <p:cNvSpPr>
            <a:spLocks/>
          </p:cNvSpPr>
          <p:nvPr userDrawn="1"/>
        </p:nvSpPr>
        <p:spPr bwMode="auto">
          <a:xfrm>
            <a:off x="-2100" y="5505984"/>
            <a:ext cx="12192504" cy="1353504"/>
          </a:xfrm>
          <a:custGeom>
            <a:avLst/>
            <a:gdLst>
              <a:gd name="T0" fmla="*/ 3622 w 3622"/>
              <a:gd name="T1" fmla="*/ 608 h 608"/>
              <a:gd name="T2" fmla="*/ 3622 w 3622"/>
              <a:gd name="T3" fmla="*/ 0 h 608"/>
              <a:gd name="T4" fmla="*/ 3622 w 3622"/>
              <a:gd name="T5" fmla="*/ 0 h 608"/>
              <a:gd name="T6" fmla="*/ 3622 w 3622"/>
              <a:gd name="T7" fmla="*/ 14 h 608"/>
              <a:gd name="T8" fmla="*/ 3616 w 3622"/>
              <a:gd name="T9" fmla="*/ 46 h 608"/>
              <a:gd name="T10" fmla="*/ 3612 w 3622"/>
              <a:gd name="T11" fmla="*/ 68 h 608"/>
              <a:gd name="T12" fmla="*/ 3604 w 3622"/>
              <a:gd name="T13" fmla="*/ 94 h 608"/>
              <a:gd name="T14" fmla="*/ 3596 w 3622"/>
              <a:gd name="T15" fmla="*/ 122 h 608"/>
              <a:gd name="T16" fmla="*/ 3584 w 3622"/>
              <a:gd name="T17" fmla="*/ 150 h 608"/>
              <a:gd name="T18" fmla="*/ 3568 w 3622"/>
              <a:gd name="T19" fmla="*/ 178 h 608"/>
              <a:gd name="T20" fmla="*/ 3550 w 3622"/>
              <a:gd name="T21" fmla="*/ 206 h 608"/>
              <a:gd name="T22" fmla="*/ 3526 w 3622"/>
              <a:gd name="T23" fmla="*/ 232 h 608"/>
              <a:gd name="T24" fmla="*/ 3514 w 3622"/>
              <a:gd name="T25" fmla="*/ 246 h 608"/>
              <a:gd name="T26" fmla="*/ 3498 w 3622"/>
              <a:gd name="T27" fmla="*/ 258 h 608"/>
              <a:gd name="T28" fmla="*/ 3484 w 3622"/>
              <a:gd name="T29" fmla="*/ 268 h 608"/>
              <a:gd name="T30" fmla="*/ 3466 w 3622"/>
              <a:gd name="T31" fmla="*/ 280 h 608"/>
              <a:gd name="T32" fmla="*/ 3448 w 3622"/>
              <a:gd name="T33" fmla="*/ 288 h 608"/>
              <a:gd name="T34" fmla="*/ 3430 w 3622"/>
              <a:gd name="T35" fmla="*/ 298 h 608"/>
              <a:gd name="T36" fmla="*/ 3410 w 3622"/>
              <a:gd name="T37" fmla="*/ 304 h 608"/>
              <a:gd name="T38" fmla="*/ 3386 w 3622"/>
              <a:gd name="T39" fmla="*/ 310 h 608"/>
              <a:gd name="T40" fmla="*/ 3364 w 3622"/>
              <a:gd name="T41" fmla="*/ 316 h 608"/>
              <a:gd name="T42" fmla="*/ 3338 w 3622"/>
              <a:gd name="T43" fmla="*/ 318 h 608"/>
              <a:gd name="T44" fmla="*/ 3338 w 3622"/>
              <a:gd name="T45" fmla="*/ 318 h 608"/>
              <a:gd name="T46" fmla="*/ 0 w 3622"/>
              <a:gd name="T47" fmla="*/ 608 h 608"/>
              <a:gd name="T48" fmla="*/ 3622 w 3622"/>
              <a:gd name="T49" fmla="*/ 608 h 608"/>
              <a:gd name="connsiteX0" fmla="*/ 10000 w 10000"/>
              <a:gd name="connsiteY0" fmla="*/ 10000 h 10000"/>
              <a:gd name="connsiteX1" fmla="*/ 10000 w 10000"/>
              <a:gd name="connsiteY1" fmla="*/ 0 h 10000"/>
              <a:gd name="connsiteX2" fmla="*/ 10000 w 10000"/>
              <a:gd name="connsiteY2" fmla="*/ 0 h 10000"/>
              <a:gd name="connsiteX3" fmla="*/ 10000 w 10000"/>
              <a:gd name="connsiteY3" fmla="*/ 230 h 10000"/>
              <a:gd name="connsiteX4" fmla="*/ 9983 w 10000"/>
              <a:gd name="connsiteY4" fmla="*/ 757 h 10000"/>
              <a:gd name="connsiteX5" fmla="*/ 9972 w 10000"/>
              <a:gd name="connsiteY5" fmla="*/ 1118 h 10000"/>
              <a:gd name="connsiteX6" fmla="*/ 9950 w 10000"/>
              <a:gd name="connsiteY6" fmla="*/ 1546 h 10000"/>
              <a:gd name="connsiteX7" fmla="*/ 9928 w 10000"/>
              <a:gd name="connsiteY7" fmla="*/ 2007 h 10000"/>
              <a:gd name="connsiteX8" fmla="*/ 9895 w 10000"/>
              <a:gd name="connsiteY8" fmla="*/ 2467 h 10000"/>
              <a:gd name="connsiteX9" fmla="*/ 9851 w 10000"/>
              <a:gd name="connsiteY9" fmla="*/ 2928 h 10000"/>
              <a:gd name="connsiteX10" fmla="*/ 9801 w 10000"/>
              <a:gd name="connsiteY10" fmla="*/ 3388 h 10000"/>
              <a:gd name="connsiteX11" fmla="*/ 9735 w 10000"/>
              <a:gd name="connsiteY11" fmla="*/ 3816 h 10000"/>
              <a:gd name="connsiteX12" fmla="*/ 9702 w 10000"/>
              <a:gd name="connsiteY12" fmla="*/ 4046 h 10000"/>
              <a:gd name="connsiteX13" fmla="*/ 9658 w 10000"/>
              <a:gd name="connsiteY13" fmla="*/ 4243 h 10000"/>
              <a:gd name="connsiteX14" fmla="*/ 9619 w 10000"/>
              <a:gd name="connsiteY14" fmla="*/ 4408 h 10000"/>
              <a:gd name="connsiteX15" fmla="*/ 9569 w 10000"/>
              <a:gd name="connsiteY15" fmla="*/ 4605 h 10000"/>
              <a:gd name="connsiteX16" fmla="*/ 9520 w 10000"/>
              <a:gd name="connsiteY16" fmla="*/ 4737 h 10000"/>
              <a:gd name="connsiteX17" fmla="*/ 9470 w 10000"/>
              <a:gd name="connsiteY17" fmla="*/ 4901 h 10000"/>
              <a:gd name="connsiteX18" fmla="*/ 9415 w 10000"/>
              <a:gd name="connsiteY18" fmla="*/ 5000 h 10000"/>
              <a:gd name="connsiteX19" fmla="*/ 9348 w 10000"/>
              <a:gd name="connsiteY19" fmla="*/ 5099 h 10000"/>
              <a:gd name="connsiteX20" fmla="*/ 9288 w 10000"/>
              <a:gd name="connsiteY20" fmla="*/ 5197 h 10000"/>
              <a:gd name="connsiteX21" fmla="*/ 9216 w 10000"/>
              <a:gd name="connsiteY21" fmla="*/ 5230 h 10000"/>
              <a:gd name="connsiteX22" fmla="*/ 9216 w 10000"/>
              <a:gd name="connsiteY22" fmla="*/ 5230 h 10000"/>
              <a:gd name="connsiteX23" fmla="*/ 1190 w 10000"/>
              <a:gd name="connsiteY23" fmla="*/ 9414 h 10000"/>
              <a:gd name="connsiteX24" fmla="*/ 0 w 10000"/>
              <a:gd name="connsiteY24" fmla="*/ 10000 h 10000"/>
              <a:gd name="connsiteX25" fmla="*/ 10000 w 10000"/>
              <a:gd name="connsiteY25" fmla="*/ 10000 h 10000"/>
              <a:gd name="connsiteX0" fmla="*/ 10000 w 10000"/>
              <a:gd name="connsiteY0" fmla="*/ 10000 h 10011"/>
              <a:gd name="connsiteX1" fmla="*/ 10000 w 10000"/>
              <a:gd name="connsiteY1" fmla="*/ 0 h 10011"/>
              <a:gd name="connsiteX2" fmla="*/ 10000 w 10000"/>
              <a:gd name="connsiteY2" fmla="*/ 0 h 10011"/>
              <a:gd name="connsiteX3" fmla="*/ 10000 w 10000"/>
              <a:gd name="connsiteY3" fmla="*/ 230 h 10011"/>
              <a:gd name="connsiteX4" fmla="*/ 9983 w 10000"/>
              <a:gd name="connsiteY4" fmla="*/ 757 h 10011"/>
              <a:gd name="connsiteX5" fmla="*/ 9972 w 10000"/>
              <a:gd name="connsiteY5" fmla="*/ 1118 h 10011"/>
              <a:gd name="connsiteX6" fmla="*/ 9950 w 10000"/>
              <a:gd name="connsiteY6" fmla="*/ 1546 h 10011"/>
              <a:gd name="connsiteX7" fmla="*/ 9928 w 10000"/>
              <a:gd name="connsiteY7" fmla="*/ 2007 h 10011"/>
              <a:gd name="connsiteX8" fmla="*/ 9895 w 10000"/>
              <a:gd name="connsiteY8" fmla="*/ 2467 h 10011"/>
              <a:gd name="connsiteX9" fmla="*/ 9851 w 10000"/>
              <a:gd name="connsiteY9" fmla="*/ 2928 h 10011"/>
              <a:gd name="connsiteX10" fmla="*/ 9801 w 10000"/>
              <a:gd name="connsiteY10" fmla="*/ 3388 h 10011"/>
              <a:gd name="connsiteX11" fmla="*/ 9735 w 10000"/>
              <a:gd name="connsiteY11" fmla="*/ 3816 h 10011"/>
              <a:gd name="connsiteX12" fmla="*/ 9702 w 10000"/>
              <a:gd name="connsiteY12" fmla="*/ 4046 h 10011"/>
              <a:gd name="connsiteX13" fmla="*/ 9658 w 10000"/>
              <a:gd name="connsiteY13" fmla="*/ 4243 h 10011"/>
              <a:gd name="connsiteX14" fmla="*/ 9619 w 10000"/>
              <a:gd name="connsiteY14" fmla="*/ 4408 h 10011"/>
              <a:gd name="connsiteX15" fmla="*/ 9569 w 10000"/>
              <a:gd name="connsiteY15" fmla="*/ 4605 h 10011"/>
              <a:gd name="connsiteX16" fmla="*/ 9520 w 10000"/>
              <a:gd name="connsiteY16" fmla="*/ 4737 h 10011"/>
              <a:gd name="connsiteX17" fmla="*/ 9470 w 10000"/>
              <a:gd name="connsiteY17" fmla="*/ 4901 h 10011"/>
              <a:gd name="connsiteX18" fmla="*/ 9415 w 10000"/>
              <a:gd name="connsiteY18" fmla="*/ 5000 h 10011"/>
              <a:gd name="connsiteX19" fmla="*/ 9348 w 10000"/>
              <a:gd name="connsiteY19" fmla="*/ 5099 h 10011"/>
              <a:gd name="connsiteX20" fmla="*/ 9288 w 10000"/>
              <a:gd name="connsiteY20" fmla="*/ 5197 h 10011"/>
              <a:gd name="connsiteX21" fmla="*/ 9216 w 10000"/>
              <a:gd name="connsiteY21" fmla="*/ 5230 h 10011"/>
              <a:gd name="connsiteX22" fmla="*/ 9216 w 10000"/>
              <a:gd name="connsiteY22" fmla="*/ 5230 h 10011"/>
              <a:gd name="connsiteX23" fmla="*/ 1190 w 10000"/>
              <a:gd name="connsiteY23" fmla="*/ 9414 h 10011"/>
              <a:gd name="connsiteX24" fmla="*/ 0 w 10000"/>
              <a:gd name="connsiteY24" fmla="*/ 10000 h 10011"/>
              <a:gd name="connsiteX25" fmla="*/ 1185 w 10000"/>
              <a:gd name="connsiteY25" fmla="*/ 10011 h 10011"/>
              <a:gd name="connsiteX26" fmla="*/ 10000 w 10000"/>
              <a:gd name="connsiteY26" fmla="*/ 10000 h 10011"/>
              <a:gd name="connsiteX0" fmla="*/ 8815 w 8815"/>
              <a:gd name="connsiteY0" fmla="*/ 10000 h 10011"/>
              <a:gd name="connsiteX1" fmla="*/ 8815 w 8815"/>
              <a:gd name="connsiteY1" fmla="*/ 0 h 10011"/>
              <a:gd name="connsiteX2" fmla="*/ 8815 w 8815"/>
              <a:gd name="connsiteY2" fmla="*/ 0 h 10011"/>
              <a:gd name="connsiteX3" fmla="*/ 8815 w 8815"/>
              <a:gd name="connsiteY3" fmla="*/ 230 h 10011"/>
              <a:gd name="connsiteX4" fmla="*/ 8798 w 8815"/>
              <a:gd name="connsiteY4" fmla="*/ 757 h 10011"/>
              <a:gd name="connsiteX5" fmla="*/ 8787 w 8815"/>
              <a:gd name="connsiteY5" fmla="*/ 1118 h 10011"/>
              <a:gd name="connsiteX6" fmla="*/ 8765 w 8815"/>
              <a:gd name="connsiteY6" fmla="*/ 1546 h 10011"/>
              <a:gd name="connsiteX7" fmla="*/ 8743 w 8815"/>
              <a:gd name="connsiteY7" fmla="*/ 2007 h 10011"/>
              <a:gd name="connsiteX8" fmla="*/ 8710 w 8815"/>
              <a:gd name="connsiteY8" fmla="*/ 2467 h 10011"/>
              <a:gd name="connsiteX9" fmla="*/ 8666 w 8815"/>
              <a:gd name="connsiteY9" fmla="*/ 2928 h 10011"/>
              <a:gd name="connsiteX10" fmla="*/ 8616 w 8815"/>
              <a:gd name="connsiteY10" fmla="*/ 3388 h 10011"/>
              <a:gd name="connsiteX11" fmla="*/ 8550 w 8815"/>
              <a:gd name="connsiteY11" fmla="*/ 3816 h 10011"/>
              <a:gd name="connsiteX12" fmla="*/ 8517 w 8815"/>
              <a:gd name="connsiteY12" fmla="*/ 4046 h 10011"/>
              <a:gd name="connsiteX13" fmla="*/ 8473 w 8815"/>
              <a:gd name="connsiteY13" fmla="*/ 4243 h 10011"/>
              <a:gd name="connsiteX14" fmla="*/ 8434 w 8815"/>
              <a:gd name="connsiteY14" fmla="*/ 4408 h 10011"/>
              <a:gd name="connsiteX15" fmla="*/ 8384 w 8815"/>
              <a:gd name="connsiteY15" fmla="*/ 4605 h 10011"/>
              <a:gd name="connsiteX16" fmla="*/ 8335 w 8815"/>
              <a:gd name="connsiteY16" fmla="*/ 4737 h 10011"/>
              <a:gd name="connsiteX17" fmla="*/ 8285 w 8815"/>
              <a:gd name="connsiteY17" fmla="*/ 4901 h 10011"/>
              <a:gd name="connsiteX18" fmla="*/ 8230 w 8815"/>
              <a:gd name="connsiteY18" fmla="*/ 5000 h 10011"/>
              <a:gd name="connsiteX19" fmla="*/ 8163 w 8815"/>
              <a:gd name="connsiteY19" fmla="*/ 5099 h 10011"/>
              <a:gd name="connsiteX20" fmla="*/ 8103 w 8815"/>
              <a:gd name="connsiteY20" fmla="*/ 5197 h 10011"/>
              <a:gd name="connsiteX21" fmla="*/ 8031 w 8815"/>
              <a:gd name="connsiteY21" fmla="*/ 5230 h 10011"/>
              <a:gd name="connsiteX22" fmla="*/ 8031 w 8815"/>
              <a:gd name="connsiteY22" fmla="*/ 5230 h 10011"/>
              <a:gd name="connsiteX23" fmla="*/ 5 w 8815"/>
              <a:gd name="connsiteY23" fmla="*/ 9414 h 10011"/>
              <a:gd name="connsiteX24" fmla="*/ 0 w 8815"/>
              <a:gd name="connsiteY24" fmla="*/ 10011 h 10011"/>
              <a:gd name="connsiteX25" fmla="*/ 8815 w 8815"/>
              <a:gd name="connsiteY25" fmla="*/ 10000 h 10011"/>
              <a:gd name="connsiteX0" fmla="*/ 9996 w 9996"/>
              <a:gd name="connsiteY0" fmla="*/ 9989 h 10000"/>
              <a:gd name="connsiteX1" fmla="*/ 9996 w 9996"/>
              <a:gd name="connsiteY1" fmla="*/ 0 h 10000"/>
              <a:gd name="connsiteX2" fmla="*/ 9996 w 9996"/>
              <a:gd name="connsiteY2" fmla="*/ 0 h 10000"/>
              <a:gd name="connsiteX3" fmla="*/ 9996 w 9996"/>
              <a:gd name="connsiteY3" fmla="*/ 230 h 10000"/>
              <a:gd name="connsiteX4" fmla="*/ 9977 w 9996"/>
              <a:gd name="connsiteY4" fmla="*/ 756 h 10000"/>
              <a:gd name="connsiteX5" fmla="*/ 9964 w 9996"/>
              <a:gd name="connsiteY5" fmla="*/ 1117 h 10000"/>
              <a:gd name="connsiteX6" fmla="*/ 9939 w 9996"/>
              <a:gd name="connsiteY6" fmla="*/ 1544 h 10000"/>
              <a:gd name="connsiteX7" fmla="*/ 9914 w 9996"/>
              <a:gd name="connsiteY7" fmla="*/ 2005 h 10000"/>
              <a:gd name="connsiteX8" fmla="*/ 9877 w 9996"/>
              <a:gd name="connsiteY8" fmla="*/ 2464 h 10000"/>
              <a:gd name="connsiteX9" fmla="*/ 9827 w 9996"/>
              <a:gd name="connsiteY9" fmla="*/ 2925 h 10000"/>
              <a:gd name="connsiteX10" fmla="*/ 9770 w 9996"/>
              <a:gd name="connsiteY10" fmla="*/ 3384 h 10000"/>
              <a:gd name="connsiteX11" fmla="*/ 9695 w 9996"/>
              <a:gd name="connsiteY11" fmla="*/ 3812 h 10000"/>
              <a:gd name="connsiteX12" fmla="*/ 9658 w 9996"/>
              <a:gd name="connsiteY12" fmla="*/ 4042 h 10000"/>
              <a:gd name="connsiteX13" fmla="*/ 9608 w 9996"/>
              <a:gd name="connsiteY13" fmla="*/ 4238 h 10000"/>
              <a:gd name="connsiteX14" fmla="*/ 9564 w 9996"/>
              <a:gd name="connsiteY14" fmla="*/ 4403 h 10000"/>
              <a:gd name="connsiteX15" fmla="*/ 9507 w 9996"/>
              <a:gd name="connsiteY15" fmla="*/ 4600 h 10000"/>
              <a:gd name="connsiteX16" fmla="*/ 9451 w 9996"/>
              <a:gd name="connsiteY16" fmla="*/ 4732 h 10000"/>
              <a:gd name="connsiteX17" fmla="*/ 9395 w 9996"/>
              <a:gd name="connsiteY17" fmla="*/ 4896 h 10000"/>
              <a:gd name="connsiteX18" fmla="*/ 9332 w 9996"/>
              <a:gd name="connsiteY18" fmla="*/ 4995 h 10000"/>
              <a:gd name="connsiteX19" fmla="*/ 9256 w 9996"/>
              <a:gd name="connsiteY19" fmla="*/ 5093 h 10000"/>
              <a:gd name="connsiteX20" fmla="*/ 9188 w 9996"/>
              <a:gd name="connsiteY20" fmla="*/ 5191 h 10000"/>
              <a:gd name="connsiteX21" fmla="*/ 9107 w 9996"/>
              <a:gd name="connsiteY21" fmla="*/ 5224 h 10000"/>
              <a:gd name="connsiteX22" fmla="*/ 9107 w 9996"/>
              <a:gd name="connsiteY22" fmla="*/ 5224 h 10000"/>
              <a:gd name="connsiteX23" fmla="*/ 2 w 9996"/>
              <a:gd name="connsiteY23" fmla="*/ 9404 h 10000"/>
              <a:gd name="connsiteX24" fmla="*/ 0 w 9996"/>
              <a:gd name="connsiteY24" fmla="*/ 10000 h 10000"/>
              <a:gd name="connsiteX25" fmla="*/ 9996 w 9996"/>
              <a:gd name="connsiteY25" fmla="*/ 9989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9996" h="10000">
                <a:moveTo>
                  <a:pt x="9996" y="9989"/>
                </a:moveTo>
                <a:lnTo>
                  <a:pt x="9996" y="0"/>
                </a:lnTo>
                <a:lnTo>
                  <a:pt x="9996" y="0"/>
                </a:lnTo>
                <a:lnTo>
                  <a:pt x="9996" y="230"/>
                </a:lnTo>
                <a:cubicBezTo>
                  <a:pt x="9989" y="406"/>
                  <a:pt x="9984" y="580"/>
                  <a:pt x="9977" y="756"/>
                </a:cubicBezTo>
                <a:cubicBezTo>
                  <a:pt x="9972" y="876"/>
                  <a:pt x="9969" y="997"/>
                  <a:pt x="9964" y="1117"/>
                </a:cubicBezTo>
                <a:cubicBezTo>
                  <a:pt x="9956" y="1260"/>
                  <a:pt x="9947" y="1401"/>
                  <a:pt x="9939" y="1544"/>
                </a:cubicBezTo>
                <a:cubicBezTo>
                  <a:pt x="9931" y="1698"/>
                  <a:pt x="9922" y="1851"/>
                  <a:pt x="9914" y="2005"/>
                </a:cubicBezTo>
                <a:cubicBezTo>
                  <a:pt x="9902" y="2158"/>
                  <a:pt x="9889" y="2311"/>
                  <a:pt x="9877" y="2464"/>
                </a:cubicBezTo>
                <a:cubicBezTo>
                  <a:pt x="9860" y="2618"/>
                  <a:pt x="9844" y="2771"/>
                  <a:pt x="9827" y="2925"/>
                </a:cubicBezTo>
                <a:cubicBezTo>
                  <a:pt x="9808" y="3078"/>
                  <a:pt x="9790" y="3231"/>
                  <a:pt x="9770" y="3384"/>
                </a:cubicBezTo>
                <a:cubicBezTo>
                  <a:pt x="9745" y="3527"/>
                  <a:pt x="9720" y="3669"/>
                  <a:pt x="9695" y="3812"/>
                </a:cubicBezTo>
                <a:cubicBezTo>
                  <a:pt x="9683" y="3889"/>
                  <a:pt x="9670" y="3965"/>
                  <a:pt x="9658" y="4042"/>
                </a:cubicBezTo>
                <a:cubicBezTo>
                  <a:pt x="9641" y="4107"/>
                  <a:pt x="9625" y="4172"/>
                  <a:pt x="9608" y="4238"/>
                </a:cubicBezTo>
                <a:cubicBezTo>
                  <a:pt x="9593" y="4293"/>
                  <a:pt x="9579" y="4348"/>
                  <a:pt x="9564" y="4403"/>
                </a:cubicBezTo>
                <a:cubicBezTo>
                  <a:pt x="9544" y="4469"/>
                  <a:pt x="9526" y="4534"/>
                  <a:pt x="9507" y="4600"/>
                </a:cubicBezTo>
                <a:cubicBezTo>
                  <a:pt x="9489" y="4644"/>
                  <a:pt x="9470" y="4688"/>
                  <a:pt x="9451" y="4732"/>
                </a:cubicBezTo>
                <a:cubicBezTo>
                  <a:pt x="9432" y="4787"/>
                  <a:pt x="9414" y="4841"/>
                  <a:pt x="9395" y="4896"/>
                </a:cubicBezTo>
                <a:lnTo>
                  <a:pt x="9332" y="4995"/>
                </a:lnTo>
                <a:cubicBezTo>
                  <a:pt x="9307" y="5027"/>
                  <a:pt x="9281" y="5060"/>
                  <a:pt x="9256" y="5093"/>
                </a:cubicBezTo>
                <a:cubicBezTo>
                  <a:pt x="9234" y="5126"/>
                  <a:pt x="9211" y="5158"/>
                  <a:pt x="9188" y="5191"/>
                </a:cubicBezTo>
                <a:lnTo>
                  <a:pt x="9107" y="5224"/>
                </a:lnTo>
                <a:lnTo>
                  <a:pt x="9107" y="5224"/>
                </a:lnTo>
                <a:lnTo>
                  <a:pt x="2" y="9404"/>
                </a:lnTo>
                <a:cubicBezTo>
                  <a:pt x="-1" y="9602"/>
                  <a:pt x="2" y="9801"/>
                  <a:pt x="0" y="10000"/>
                </a:cubicBezTo>
                <a:lnTo>
                  <a:pt x="9996" y="9989"/>
                </a:lnTo>
                <a:close/>
              </a:path>
            </a:pathLst>
          </a:custGeom>
          <a:solidFill>
            <a:schemeClr val="accent6"/>
          </a:solidFill>
          <a:ln>
            <a:noFill/>
          </a:ln>
        </p:spPr>
        <p:txBody>
          <a:bodyPr vert="horz" wrap="square" lIns="133428" tIns="66715" rIns="133428" bIns="66715" numCol="1" anchor="t" anchorCtr="0" compatLnSpc="1">
            <a:prstTxWarp prst="textNoShape">
              <a:avLst/>
            </a:prstTxWarp>
          </a:bodyPr>
          <a:lstStyle/>
          <a:p>
            <a:pPr marL="0" marR="0" lvl="0" indent="0" algn="l" defTabSz="478835" rtl="0" eaLnBrk="1" fontAlgn="auto" latinLnBrk="0" hangingPunct="1">
              <a:lnSpc>
                <a:spcPct val="100000"/>
              </a:lnSpc>
              <a:spcBef>
                <a:spcPts val="0"/>
              </a:spcBef>
              <a:spcAft>
                <a:spcPts val="0"/>
              </a:spcAft>
              <a:buClrTx/>
              <a:buSzTx/>
              <a:buFontTx/>
              <a:buNone/>
              <a:tabLst/>
              <a:defRPr/>
            </a:pPr>
            <a:endParaRPr kumimoji="1" lang="ja-JP" altLang="en-US" sz="2533"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endParaRPr>
          </a:p>
        </p:txBody>
      </p:sp>
      <p:sp>
        <p:nvSpPr>
          <p:cNvPr id="2" name="タイトル 1"/>
          <p:cNvSpPr>
            <a:spLocks noGrp="1"/>
          </p:cNvSpPr>
          <p:nvPr>
            <p:ph type="title"/>
          </p:nvPr>
        </p:nvSpPr>
        <p:spPr>
          <a:xfrm>
            <a:off x="368550" y="1959102"/>
            <a:ext cx="11451591" cy="540000"/>
          </a:xfrm>
          <a:prstGeom prst="rect">
            <a:avLst/>
          </a:prstGeom>
        </p:spPr>
        <p:txBody>
          <a:bodyPr lIns="95767" tIns="47884" rIns="95767" bIns="47884"/>
          <a:lstStyle>
            <a:lvl1pPr>
              <a:defRPr sz="3200">
                <a:latin typeface="Meiryo UI" panose="020B0604030504040204" pitchFamily="50" charset="-128"/>
                <a:ea typeface="Meiryo UI" panose="020B0604030504040204" pitchFamily="50" charset="-128"/>
              </a:defRPr>
            </a:lvl1pPr>
          </a:lstStyle>
          <a:p>
            <a:r>
              <a:rPr kumimoji="1" lang="ja-JP" altLang="en-US"/>
              <a:t>マスター タイトルの書式設定</a:t>
            </a:r>
          </a:p>
        </p:txBody>
      </p:sp>
      <p:sp>
        <p:nvSpPr>
          <p:cNvPr id="6" name="スライド番号プレースホルダー 5"/>
          <p:cNvSpPr>
            <a:spLocks noGrp="1"/>
          </p:cNvSpPr>
          <p:nvPr>
            <p:ph type="sldNum" sz="quarter" idx="12"/>
          </p:nvPr>
        </p:nvSpPr>
        <p:spPr>
          <a:xfrm>
            <a:off x="11524630" y="6468878"/>
            <a:ext cx="555811" cy="289299"/>
          </a:xfrm>
          <a:prstGeom prst="rect">
            <a:avLst/>
          </a:prstGeom>
        </p:spPr>
        <p:txBody>
          <a:bodyPr lIns="95767" tIns="47884" rIns="95767" bIns="47884"/>
          <a:lstStyle>
            <a:lvl1pPr algn="r">
              <a:defRPr sz="1050">
                <a:latin typeface="Meiryo UI" panose="020B0604030504040204" pitchFamily="50" charset="-128"/>
                <a:ea typeface="Meiryo UI" panose="020B0604030504040204" pitchFamily="50" charset="-128"/>
              </a:defRPr>
            </a:lvl1pPr>
          </a:lstStyle>
          <a:p>
            <a:pPr marL="0" marR="0" lvl="0" indent="0" algn="r" defTabSz="478835" rtl="0" eaLnBrk="1" fontAlgn="auto" latinLnBrk="0" hangingPunct="1">
              <a:lnSpc>
                <a:spcPct val="100000"/>
              </a:lnSpc>
              <a:spcBef>
                <a:spcPts val="0"/>
              </a:spcBef>
              <a:spcAft>
                <a:spcPts val="0"/>
              </a:spcAft>
              <a:buClrTx/>
              <a:buSzTx/>
              <a:buFontTx/>
              <a:buNone/>
              <a:tabLst/>
              <a:defRPr/>
            </a:pPr>
            <a:fld id="{2FF5E1DE-7B95-8A44-8552-65323269AE41}" type="slidenum">
              <a:rPr kumimoji="1" lang="ja-JP" altLang="en-US" sz="1050" b="0" i="0" u="none" strike="noStrike" kern="1200" cap="none" spc="0" normalizeH="0" baseline="0" noProof="0" smtClean="0">
                <a:ln>
                  <a:noFill/>
                </a:ln>
                <a:solidFill>
                  <a:srgbClr val="000000"/>
                </a:solidFill>
                <a:effectLst/>
                <a:uLnTx/>
                <a:uFillTx/>
                <a:latin typeface="Meiryo UI" panose="020B0604030504040204" pitchFamily="50" charset="-128"/>
                <a:ea typeface="Meiryo UI" panose="020B0604030504040204" pitchFamily="50" charset="-128"/>
                <a:cs typeface="+mn-cs"/>
              </a:rPr>
              <a:pPr marL="0" marR="0" lvl="0" indent="0" algn="r" defTabSz="478835" rtl="0" eaLnBrk="1" fontAlgn="auto" latinLnBrk="0" hangingPunct="1">
                <a:lnSpc>
                  <a:spcPct val="100000"/>
                </a:lnSpc>
                <a:spcBef>
                  <a:spcPts val="0"/>
                </a:spcBef>
                <a:spcAft>
                  <a:spcPts val="0"/>
                </a:spcAft>
                <a:buClrTx/>
                <a:buSzTx/>
                <a:buFontTx/>
                <a:buNone/>
                <a:tabLst/>
                <a:defRPr/>
              </a:pPr>
              <a:t>‹#›</a:t>
            </a:fld>
            <a:endParaRPr kumimoji="1" lang="ja-JP" altLang="en-US" sz="105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endParaRPr>
          </a:p>
        </p:txBody>
      </p:sp>
      <p:pic>
        <p:nvPicPr>
          <p:cNvPr id="8" name="Picture 2" descr="K:\新ロゴ（データ一式）\DLH_3_EN.png"/>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11038066" y="-34312"/>
            <a:ext cx="973128" cy="90043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1187222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8_タイトルとコンテンツ">
    <p:spTree>
      <p:nvGrpSpPr>
        <p:cNvPr id="1" name=""/>
        <p:cNvGrpSpPr/>
        <p:nvPr/>
      </p:nvGrpSpPr>
      <p:grpSpPr>
        <a:xfrm>
          <a:off x="0" y="0"/>
          <a:ext cx="0" cy="0"/>
          <a:chOff x="0" y="0"/>
          <a:chExt cx="0" cy="0"/>
        </a:xfrm>
      </p:grpSpPr>
      <p:sp>
        <p:nvSpPr>
          <p:cNvPr id="9" name="Freeform 8"/>
          <p:cNvSpPr>
            <a:spLocks/>
          </p:cNvSpPr>
          <p:nvPr userDrawn="1"/>
        </p:nvSpPr>
        <p:spPr bwMode="auto">
          <a:xfrm>
            <a:off x="-2100" y="5505984"/>
            <a:ext cx="12192504" cy="1353504"/>
          </a:xfrm>
          <a:custGeom>
            <a:avLst/>
            <a:gdLst>
              <a:gd name="T0" fmla="*/ 3622 w 3622"/>
              <a:gd name="T1" fmla="*/ 608 h 608"/>
              <a:gd name="T2" fmla="*/ 3622 w 3622"/>
              <a:gd name="T3" fmla="*/ 0 h 608"/>
              <a:gd name="T4" fmla="*/ 3622 w 3622"/>
              <a:gd name="T5" fmla="*/ 0 h 608"/>
              <a:gd name="T6" fmla="*/ 3622 w 3622"/>
              <a:gd name="T7" fmla="*/ 14 h 608"/>
              <a:gd name="T8" fmla="*/ 3616 w 3622"/>
              <a:gd name="T9" fmla="*/ 46 h 608"/>
              <a:gd name="T10" fmla="*/ 3612 w 3622"/>
              <a:gd name="T11" fmla="*/ 68 h 608"/>
              <a:gd name="T12" fmla="*/ 3604 w 3622"/>
              <a:gd name="T13" fmla="*/ 94 h 608"/>
              <a:gd name="T14" fmla="*/ 3596 w 3622"/>
              <a:gd name="T15" fmla="*/ 122 h 608"/>
              <a:gd name="T16" fmla="*/ 3584 w 3622"/>
              <a:gd name="T17" fmla="*/ 150 h 608"/>
              <a:gd name="T18" fmla="*/ 3568 w 3622"/>
              <a:gd name="T19" fmla="*/ 178 h 608"/>
              <a:gd name="T20" fmla="*/ 3550 w 3622"/>
              <a:gd name="T21" fmla="*/ 206 h 608"/>
              <a:gd name="T22" fmla="*/ 3526 w 3622"/>
              <a:gd name="T23" fmla="*/ 232 h 608"/>
              <a:gd name="T24" fmla="*/ 3514 w 3622"/>
              <a:gd name="T25" fmla="*/ 246 h 608"/>
              <a:gd name="T26" fmla="*/ 3498 w 3622"/>
              <a:gd name="T27" fmla="*/ 258 h 608"/>
              <a:gd name="T28" fmla="*/ 3484 w 3622"/>
              <a:gd name="T29" fmla="*/ 268 h 608"/>
              <a:gd name="T30" fmla="*/ 3466 w 3622"/>
              <a:gd name="T31" fmla="*/ 280 h 608"/>
              <a:gd name="T32" fmla="*/ 3448 w 3622"/>
              <a:gd name="T33" fmla="*/ 288 h 608"/>
              <a:gd name="T34" fmla="*/ 3430 w 3622"/>
              <a:gd name="T35" fmla="*/ 298 h 608"/>
              <a:gd name="T36" fmla="*/ 3410 w 3622"/>
              <a:gd name="T37" fmla="*/ 304 h 608"/>
              <a:gd name="T38" fmla="*/ 3386 w 3622"/>
              <a:gd name="T39" fmla="*/ 310 h 608"/>
              <a:gd name="T40" fmla="*/ 3364 w 3622"/>
              <a:gd name="T41" fmla="*/ 316 h 608"/>
              <a:gd name="T42" fmla="*/ 3338 w 3622"/>
              <a:gd name="T43" fmla="*/ 318 h 608"/>
              <a:gd name="T44" fmla="*/ 3338 w 3622"/>
              <a:gd name="T45" fmla="*/ 318 h 608"/>
              <a:gd name="T46" fmla="*/ 0 w 3622"/>
              <a:gd name="T47" fmla="*/ 608 h 608"/>
              <a:gd name="T48" fmla="*/ 3622 w 3622"/>
              <a:gd name="T49" fmla="*/ 608 h 608"/>
              <a:gd name="connsiteX0" fmla="*/ 10000 w 10000"/>
              <a:gd name="connsiteY0" fmla="*/ 10000 h 10000"/>
              <a:gd name="connsiteX1" fmla="*/ 10000 w 10000"/>
              <a:gd name="connsiteY1" fmla="*/ 0 h 10000"/>
              <a:gd name="connsiteX2" fmla="*/ 10000 w 10000"/>
              <a:gd name="connsiteY2" fmla="*/ 0 h 10000"/>
              <a:gd name="connsiteX3" fmla="*/ 10000 w 10000"/>
              <a:gd name="connsiteY3" fmla="*/ 230 h 10000"/>
              <a:gd name="connsiteX4" fmla="*/ 9983 w 10000"/>
              <a:gd name="connsiteY4" fmla="*/ 757 h 10000"/>
              <a:gd name="connsiteX5" fmla="*/ 9972 w 10000"/>
              <a:gd name="connsiteY5" fmla="*/ 1118 h 10000"/>
              <a:gd name="connsiteX6" fmla="*/ 9950 w 10000"/>
              <a:gd name="connsiteY6" fmla="*/ 1546 h 10000"/>
              <a:gd name="connsiteX7" fmla="*/ 9928 w 10000"/>
              <a:gd name="connsiteY7" fmla="*/ 2007 h 10000"/>
              <a:gd name="connsiteX8" fmla="*/ 9895 w 10000"/>
              <a:gd name="connsiteY8" fmla="*/ 2467 h 10000"/>
              <a:gd name="connsiteX9" fmla="*/ 9851 w 10000"/>
              <a:gd name="connsiteY9" fmla="*/ 2928 h 10000"/>
              <a:gd name="connsiteX10" fmla="*/ 9801 w 10000"/>
              <a:gd name="connsiteY10" fmla="*/ 3388 h 10000"/>
              <a:gd name="connsiteX11" fmla="*/ 9735 w 10000"/>
              <a:gd name="connsiteY11" fmla="*/ 3816 h 10000"/>
              <a:gd name="connsiteX12" fmla="*/ 9702 w 10000"/>
              <a:gd name="connsiteY12" fmla="*/ 4046 h 10000"/>
              <a:gd name="connsiteX13" fmla="*/ 9658 w 10000"/>
              <a:gd name="connsiteY13" fmla="*/ 4243 h 10000"/>
              <a:gd name="connsiteX14" fmla="*/ 9619 w 10000"/>
              <a:gd name="connsiteY14" fmla="*/ 4408 h 10000"/>
              <a:gd name="connsiteX15" fmla="*/ 9569 w 10000"/>
              <a:gd name="connsiteY15" fmla="*/ 4605 h 10000"/>
              <a:gd name="connsiteX16" fmla="*/ 9520 w 10000"/>
              <a:gd name="connsiteY16" fmla="*/ 4737 h 10000"/>
              <a:gd name="connsiteX17" fmla="*/ 9470 w 10000"/>
              <a:gd name="connsiteY17" fmla="*/ 4901 h 10000"/>
              <a:gd name="connsiteX18" fmla="*/ 9415 w 10000"/>
              <a:gd name="connsiteY18" fmla="*/ 5000 h 10000"/>
              <a:gd name="connsiteX19" fmla="*/ 9348 w 10000"/>
              <a:gd name="connsiteY19" fmla="*/ 5099 h 10000"/>
              <a:gd name="connsiteX20" fmla="*/ 9288 w 10000"/>
              <a:gd name="connsiteY20" fmla="*/ 5197 h 10000"/>
              <a:gd name="connsiteX21" fmla="*/ 9216 w 10000"/>
              <a:gd name="connsiteY21" fmla="*/ 5230 h 10000"/>
              <a:gd name="connsiteX22" fmla="*/ 9216 w 10000"/>
              <a:gd name="connsiteY22" fmla="*/ 5230 h 10000"/>
              <a:gd name="connsiteX23" fmla="*/ 1190 w 10000"/>
              <a:gd name="connsiteY23" fmla="*/ 9414 h 10000"/>
              <a:gd name="connsiteX24" fmla="*/ 0 w 10000"/>
              <a:gd name="connsiteY24" fmla="*/ 10000 h 10000"/>
              <a:gd name="connsiteX25" fmla="*/ 10000 w 10000"/>
              <a:gd name="connsiteY25" fmla="*/ 10000 h 10000"/>
              <a:gd name="connsiteX0" fmla="*/ 10000 w 10000"/>
              <a:gd name="connsiteY0" fmla="*/ 10000 h 10011"/>
              <a:gd name="connsiteX1" fmla="*/ 10000 w 10000"/>
              <a:gd name="connsiteY1" fmla="*/ 0 h 10011"/>
              <a:gd name="connsiteX2" fmla="*/ 10000 w 10000"/>
              <a:gd name="connsiteY2" fmla="*/ 0 h 10011"/>
              <a:gd name="connsiteX3" fmla="*/ 10000 w 10000"/>
              <a:gd name="connsiteY3" fmla="*/ 230 h 10011"/>
              <a:gd name="connsiteX4" fmla="*/ 9983 w 10000"/>
              <a:gd name="connsiteY4" fmla="*/ 757 h 10011"/>
              <a:gd name="connsiteX5" fmla="*/ 9972 w 10000"/>
              <a:gd name="connsiteY5" fmla="*/ 1118 h 10011"/>
              <a:gd name="connsiteX6" fmla="*/ 9950 w 10000"/>
              <a:gd name="connsiteY6" fmla="*/ 1546 h 10011"/>
              <a:gd name="connsiteX7" fmla="*/ 9928 w 10000"/>
              <a:gd name="connsiteY7" fmla="*/ 2007 h 10011"/>
              <a:gd name="connsiteX8" fmla="*/ 9895 w 10000"/>
              <a:gd name="connsiteY8" fmla="*/ 2467 h 10011"/>
              <a:gd name="connsiteX9" fmla="*/ 9851 w 10000"/>
              <a:gd name="connsiteY9" fmla="*/ 2928 h 10011"/>
              <a:gd name="connsiteX10" fmla="*/ 9801 w 10000"/>
              <a:gd name="connsiteY10" fmla="*/ 3388 h 10011"/>
              <a:gd name="connsiteX11" fmla="*/ 9735 w 10000"/>
              <a:gd name="connsiteY11" fmla="*/ 3816 h 10011"/>
              <a:gd name="connsiteX12" fmla="*/ 9702 w 10000"/>
              <a:gd name="connsiteY12" fmla="*/ 4046 h 10011"/>
              <a:gd name="connsiteX13" fmla="*/ 9658 w 10000"/>
              <a:gd name="connsiteY13" fmla="*/ 4243 h 10011"/>
              <a:gd name="connsiteX14" fmla="*/ 9619 w 10000"/>
              <a:gd name="connsiteY14" fmla="*/ 4408 h 10011"/>
              <a:gd name="connsiteX15" fmla="*/ 9569 w 10000"/>
              <a:gd name="connsiteY15" fmla="*/ 4605 h 10011"/>
              <a:gd name="connsiteX16" fmla="*/ 9520 w 10000"/>
              <a:gd name="connsiteY16" fmla="*/ 4737 h 10011"/>
              <a:gd name="connsiteX17" fmla="*/ 9470 w 10000"/>
              <a:gd name="connsiteY17" fmla="*/ 4901 h 10011"/>
              <a:gd name="connsiteX18" fmla="*/ 9415 w 10000"/>
              <a:gd name="connsiteY18" fmla="*/ 5000 h 10011"/>
              <a:gd name="connsiteX19" fmla="*/ 9348 w 10000"/>
              <a:gd name="connsiteY19" fmla="*/ 5099 h 10011"/>
              <a:gd name="connsiteX20" fmla="*/ 9288 w 10000"/>
              <a:gd name="connsiteY20" fmla="*/ 5197 h 10011"/>
              <a:gd name="connsiteX21" fmla="*/ 9216 w 10000"/>
              <a:gd name="connsiteY21" fmla="*/ 5230 h 10011"/>
              <a:gd name="connsiteX22" fmla="*/ 9216 w 10000"/>
              <a:gd name="connsiteY22" fmla="*/ 5230 h 10011"/>
              <a:gd name="connsiteX23" fmla="*/ 1190 w 10000"/>
              <a:gd name="connsiteY23" fmla="*/ 9414 h 10011"/>
              <a:gd name="connsiteX24" fmla="*/ 0 w 10000"/>
              <a:gd name="connsiteY24" fmla="*/ 10000 h 10011"/>
              <a:gd name="connsiteX25" fmla="*/ 1185 w 10000"/>
              <a:gd name="connsiteY25" fmla="*/ 10011 h 10011"/>
              <a:gd name="connsiteX26" fmla="*/ 10000 w 10000"/>
              <a:gd name="connsiteY26" fmla="*/ 10000 h 10011"/>
              <a:gd name="connsiteX0" fmla="*/ 8815 w 8815"/>
              <a:gd name="connsiteY0" fmla="*/ 10000 h 10011"/>
              <a:gd name="connsiteX1" fmla="*/ 8815 w 8815"/>
              <a:gd name="connsiteY1" fmla="*/ 0 h 10011"/>
              <a:gd name="connsiteX2" fmla="*/ 8815 w 8815"/>
              <a:gd name="connsiteY2" fmla="*/ 0 h 10011"/>
              <a:gd name="connsiteX3" fmla="*/ 8815 w 8815"/>
              <a:gd name="connsiteY3" fmla="*/ 230 h 10011"/>
              <a:gd name="connsiteX4" fmla="*/ 8798 w 8815"/>
              <a:gd name="connsiteY4" fmla="*/ 757 h 10011"/>
              <a:gd name="connsiteX5" fmla="*/ 8787 w 8815"/>
              <a:gd name="connsiteY5" fmla="*/ 1118 h 10011"/>
              <a:gd name="connsiteX6" fmla="*/ 8765 w 8815"/>
              <a:gd name="connsiteY6" fmla="*/ 1546 h 10011"/>
              <a:gd name="connsiteX7" fmla="*/ 8743 w 8815"/>
              <a:gd name="connsiteY7" fmla="*/ 2007 h 10011"/>
              <a:gd name="connsiteX8" fmla="*/ 8710 w 8815"/>
              <a:gd name="connsiteY8" fmla="*/ 2467 h 10011"/>
              <a:gd name="connsiteX9" fmla="*/ 8666 w 8815"/>
              <a:gd name="connsiteY9" fmla="*/ 2928 h 10011"/>
              <a:gd name="connsiteX10" fmla="*/ 8616 w 8815"/>
              <a:gd name="connsiteY10" fmla="*/ 3388 h 10011"/>
              <a:gd name="connsiteX11" fmla="*/ 8550 w 8815"/>
              <a:gd name="connsiteY11" fmla="*/ 3816 h 10011"/>
              <a:gd name="connsiteX12" fmla="*/ 8517 w 8815"/>
              <a:gd name="connsiteY12" fmla="*/ 4046 h 10011"/>
              <a:gd name="connsiteX13" fmla="*/ 8473 w 8815"/>
              <a:gd name="connsiteY13" fmla="*/ 4243 h 10011"/>
              <a:gd name="connsiteX14" fmla="*/ 8434 w 8815"/>
              <a:gd name="connsiteY14" fmla="*/ 4408 h 10011"/>
              <a:gd name="connsiteX15" fmla="*/ 8384 w 8815"/>
              <a:gd name="connsiteY15" fmla="*/ 4605 h 10011"/>
              <a:gd name="connsiteX16" fmla="*/ 8335 w 8815"/>
              <a:gd name="connsiteY16" fmla="*/ 4737 h 10011"/>
              <a:gd name="connsiteX17" fmla="*/ 8285 w 8815"/>
              <a:gd name="connsiteY17" fmla="*/ 4901 h 10011"/>
              <a:gd name="connsiteX18" fmla="*/ 8230 w 8815"/>
              <a:gd name="connsiteY18" fmla="*/ 5000 h 10011"/>
              <a:gd name="connsiteX19" fmla="*/ 8163 w 8815"/>
              <a:gd name="connsiteY19" fmla="*/ 5099 h 10011"/>
              <a:gd name="connsiteX20" fmla="*/ 8103 w 8815"/>
              <a:gd name="connsiteY20" fmla="*/ 5197 h 10011"/>
              <a:gd name="connsiteX21" fmla="*/ 8031 w 8815"/>
              <a:gd name="connsiteY21" fmla="*/ 5230 h 10011"/>
              <a:gd name="connsiteX22" fmla="*/ 8031 w 8815"/>
              <a:gd name="connsiteY22" fmla="*/ 5230 h 10011"/>
              <a:gd name="connsiteX23" fmla="*/ 5 w 8815"/>
              <a:gd name="connsiteY23" fmla="*/ 9414 h 10011"/>
              <a:gd name="connsiteX24" fmla="*/ 0 w 8815"/>
              <a:gd name="connsiteY24" fmla="*/ 10011 h 10011"/>
              <a:gd name="connsiteX25" fmla="*/ 8815 w 8815"/>
              <a:gd name="connsiteY25" fmla="*/ 10000 h 10011"/>
              <a:gd name="connsiteX0" fmla="*/ 9996 w 9996"/>
              <a:gd name="connsiteY0" fmla="*/ 9989 h 10000"/>
              <a:gd name="connsiteX1" fmla="*/ 9996 w 9996"/>
              <a:gd name="connsiteY1" fmla="*/ 0 h 10000"/>
              <a:gd name="connsiteX2" fmla="*/ 9996 w 9996"/>
              <a:gd name="connsiteY2" fmla="*/ 0 h 10000"/>
              <a:gd name="connsiteX3" fmla="*/ 9996 w 9996"/>
              <a:gd name="connsiteY3" fmla="*/ 230 h 10000"/>
              <a:gd name="connsiteX4" fmla="*/ 9977 w 9996"/>
              <a:gd name="connsiteY4" fmla="*/ 756 h 10000"/>
              <a:gd name="connsiteX5" fmla="*/ 9964 w 9996"/>
              <a:gd name="connsiteY5" fmla="*/ 1117 h 10000"/>
              <a:gd name="connsiteX6" fmla="*/ 9939 w 9996"/>
              <a:gd name="connsiteY6" fmla="*/ 1544 h 10000"/>
              <a:gd name="connsiteX7" fmla="*/ 9914 w 9996"/>
              <a:gd name="connsiteY7" fmla="*/ 2005 h 10000"/>
              <a:gd name="connsiteX8" fmla="*/ 9877 w 9996"/>
              <a:gd name="connsiteY8" fmla="*/ 2464 h 10000"/>
              <a:gd name="connsiteX9" fmla="*/ 9827 w 9996"/>
              <a:gd name="connsiteY9" fmla="*/ 2925 h 10000"/>
              <a:gd name="connsiteX10" fmla="*/ 9770 w 9996"/>
              <a:gd name="connsiteY10" fmla="*/ 3384 h 10000"/>
              <a:gd name="connsiteX11" fmla="*/ 9695 w 9996"/>
              <a:gd name="connsiteY11" fmla="*/ 3812 h 10000"/>
              <a:gd name="connsiteX12" fmla="*/ 9658 w 9996"/>
              <a:gd name="connsiteY12" fmla="*/ 4042 h 10000"/>
              <a:gd name="connsiteX13" fmla="*/ 9608 w 9996"/>
              <a:gd name="connsiteY13" fmla="*/ 4238 h 10000"/>
              <a:gd name="connsiteX14" fmla="*/ 9564 w 9996"/>
              <a:gd name="connsiteY14" fmla="*/ 4403 h 10000"/>
              <a:gd name="connsiteX15" fmla="*/ 9507 w 9996"/>
              <a:gd name="connsiteY15" fmla="*/ 4600 h 10000"/>
              <a:gd name="connsiteX16" fmla="*/ 9451 w 9996"/>
              <a:gd name="connsiteY16" fmla="*/ 4732 h 10000"/>
              <a:gd name="connsiteX17" fmla="*/ 9395 w 9996"/>
              <a:gd name="connsiteY17" fmla="*/ 4896 h 10000"/>
              <a:gd name="connsiteX18" fmla="*/ 9332 w 9996"/>
              <a:gd name="connsiteY18" fmla="*/ 4995 h 10000"/>
              <a:gd name="connsiteX19" fmla="*/ 9256 w 9996"/>
              <a:gd name="connsiteY19" fmla="*/ 5093 h 10000"/>
              <a:gd name="connsiteX20" fmla="*/ 9188 w 9996"/>
              <a:gd name="connsiteY20" fmla="*/ 5191 h 10000"/>
              <a:gd name="connsiteX21" fmla="*/ 9107 w 9996"/>
              <a:gd name="connsiteY21" fmla="*/ 5224 h 10000"/>
              <a:gd name="connsiteX22" fmla="*/ 9107 w 9996"/>
              <a:gd name="connsiteY22" fmla="*/ 5224 h 10000"/>
              <a:gd name="connsiteX23" fmla="*/ 2 w 9996"/>
              <a:gd name="connsiteY23" fmla="*/ 9404 h 10000"/>
              <a:gd name="connsiteX24" fmla="*/ 0 w 9996"/>
              <a:gd name="connsiteY24" fmla="*/ 10000 h 10000"/>
              <a:gd name="connsiteX25" fmla="*/ 9996 w 9996"/>
              <a:gd name="connsiteY25" fmla="*/ 9989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9996" h="10000">
                <a:moveTo>
                  <a:pt x="9996" y="9989"/>
                </a:moveTo>
                <a:lnTo>
                  <a:pt x="9996" y="0"/>
                </a:lnTo>
                <a:lnTo>
                  <a:pt x="9996" y="0"/>
                </a:lnTo>
                <a:lnTo>
                  <a:pt x="9996" y="230"/>
                </a:lnTo>
                <a:cubicBezTo>
                  <a:pt x="9989" y="406"/>
                  <a:pt x="9984" y="580"/>
                  <a:pt x="9977" y="756"/>
                </a:cubicBezTo>
                <a:cubicBezTo>
                  <a:pt x="9972" y="876"/>
                  <a:pt x="9969" y="997"/>
                  <a:pt x="9964" y="1117"/>
                </a:cubicBezTo>
                <a:cubicBezTo>
                  <a:pt x="9956" y="1260"/>
                  <a:pt x="9947" y="1401"/>
                  <a:pt x="9939" y="1544"/>
                </a:cubicBezTo>
                <a:cubicBezTo>
                  <a:pt x="9931" y="1698"/>
                  <a:pt x="9922" y="1851"/>
                  <a:pt x="9914" y="2005"/>
                </a:cubicBezTo>
                <a:cubicBezTo>
                  <a:pt x="9902" y="2158"/>
                  <a:pt x="9889" y="2311"/>
                  <a:pt x="9877" y="2464"/>
                </a:cubicBezTo>
                <a:cubicBezTo>
                  <a:pt x="9860" y="2618"/>
                  <a:pt x="9844" y="2771"/>
                  <a:pt x="9827" y="2925"/>
                </a:cubicBezTo>
                <a:cubicBezTo>
                  <a:pt x="9808" y="3078"/>
                  <a:pt x="9790" y="3231"/>
                  <a:pt x="9770" y="3384"/>
                </a:cubicBezTo>
                <a:cubicBezTo>
                  <a:pt x="9745" y="3527"/>
                  <a:pt x="9720" y="3669"/>
                  <a:pt x="9695" y="3812"/>
                </a:cubicBezTo>
                <a:cubicBezTo>
                  <a:pt x="9683" y="3889"/>
                  <a:pt x="9670" y="3965"/>
                  <a:pt x="9658" y="4042"/>
                </a:cubicBezTo>
                <a:cubicBezTo>
                  <a:pt x="9641" y="4107"/>
                  <a:pt x="9625" y="4172"/>
                  <a:pt x="9608" y="4238"/>
                </a:cubicBezTo>
                <a:cubicBezTo>
                  <a:pt x="9593" y="4293"/>
                  <a:pt x="9579" y="4348"/>
                  <a:pt x="9564" y="4403"/>
                </a:cubicBezTo>
                <a:cubicBezTo>
                  <a:pt x="9544" y="4469"/>
                  <a:pt x="9526" y="4534"/>
                  <a:pt x="9507" y="4600"/>
                </a:cubicBezTo>
                <a:cubicBezTo>
                  <a:pt x="9489" y="4644"/>
                  <a:pt x="9470" y="4688"/>
                  <a:pt x="9451" y="4732"/>
                </a:cubicBezTo>
                <a:cubicBezTo>
                  <a:pt x="9432" y="4787"/>
                  <a:pt x="9414" y="4841"/>
                  <a:pt x="9395" y="4896"/>
                </a:cubicBezTo>
                <a:lnTo>
                  <a:pt x="9332" y="4995"/>
                </a:lnTo>
                <a:cubicBezTo>
                  <a:pt x="9307" y="5027"/>
                  <a:pt x="9281" y="5060"/>
                  <a:pt x="9256" y="5093"/>
                </a:cubicBezTo>
                <a:cubicBezTo>
                  <a:pt x="9234" y="5126"/>
                  <a:pt x="9211" y="5158"/>
                  <a:pt x="9188" y="5191"/>
                </a:cubicBezTo>
                <a:lnTo>
                  <a:pt x="9107" y="5224"/>
                </a:lnTo>
                <a:lnTo>
                  <a:pt x="9107" y="5224"/>
                </a:lnTo>
                <a:lnTo>
                  <a:pt x="2" y="9404"/>
                </a:lnTo>
                <a:cubicBezTo>
                  <a:pt x="-1" y="9602"/>
                  <a:pt x="2" y="9801"/>
                  <a:pt x="0" y="10000"/>
                </a:cubicBezTo>
                <a:lnTo>
                  <a:pt x="9996" y="9989"/>
                </a:lnTo>
                <a:close/>
              </a:path>
            </a:pathLst>
          </a:custGeom>
          <a:solidFill>
            <a:schemeClr val="accent6"/>
          </a:solidFill>
          <a:ln>
            <a:noFill/>
          </a:ln>
        </p:spPr>
        <p:txBody>
          <a:bodyPr vert="horz" wrap="square" lIns="133428" tIns="66715" rIns="133428" bIns="66715" numCol="1" anchor="t" anchorCtr="0" compatLnSpc="1">
            <a:prstTxWarp prst="textNoShape">
              <a:avLst/>
            </a:prstTxWarp>
          </a:bodyPr>
          <a:lstStyle/>
          <a:p>
            <a:pPr marL="0" marR="0" lvl="0" indent="0" algn="l" defTabSz="478835" rtl="0" eaLnBrk="1" fontAlgn="auto" latinLnBrk="0" hangingPunct="1">
              <a:lnSpc>
                <a:spcPct val="100000"/>
              </a:lnSpc>
              <a:spcBef>
                <a:spcPts val="0"/>
              </a:spcBef>
              <a:spcAft>
                <a:spcPts val="0"/>
              </a:spcAft>
              <a:buClrTx/>
              <a:buSzTx/>
              <a:buFontTx/>
              <a:buNone/>
              <a:tabLst/>
              <a:defRPr/>
            </a:pPr>
            <a:endParaRPr kumimoji="1" lang="ja-JP" altLang="en-US" sz="2533"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endParaRPr>
          </a:p>
        </p:txBody>
      </p:sp>
      <p:sp>
        <p:nvSpPr>
          <p:cNvPr id="3" name="コンテンツ プレースホルダー 2"/>
          <p:cNvSpPr>
            <a:spLocks noGrp="1"/>
          </p:cNvSpPr>
          <p:nvPr>
            <p:ph idx="1"/>
          </p:nvPr>
        </p:nvSpPr>
        <p:spPr>
          <a:xfrm>
            <a:off x="368551" y="903600"/>
            <a:ext cx="11583452" cy="5540400"/>
          </a:xfrm>
          <a:prstGeom prst="rect">
            <a:avLst/>
          </a:prstGeom>
        </p:spPr>
        <p:txBody>
          <a:bodyPr lIns="95767" tIns="47884" rIns="95767" bIns="47884"/>
          <a:lstStyle>
            <a:lvl1pPr>
              <a:defRPr sz="1800">
                <a:latin typeface="Meiryo UI" panose="020B0604030504040204" pitchFamily="50" charset="-128"/>
                <a:ea typeface="Meiryo UI" panose="020B0604030504040204" pitchFamily="50" charset="-128"/>
              </a:defRPr>
            </a:lvl1pPr>
            <a:lvl2pPr indent="-236233">
              <a:defRPr sz="1800">
                <a:latin typeface="Meiryo UI" panose="020B0604030504040204" pitchFamily="50" charset="-128"/>
                <a:ea typeface="Meiryo UI" panose="020B0604030504040204" pitchFamily="50" charset="-128"/>
              </a:defRPr>
            </a:lvl2pPr>
            <a:lvl3pPr indent="-236233">
              <a:defRPr sz="1800">
                <a:latin typeface="Meiryo UI" panose="020B0604030504040204" pitchFamily="50" charset="-128"/>
                <a:ea typeface="Meiryo UI" panose="020B0604030504040204" pitchFamily="50" charset="-128"/>
              </a:defRPr>
            </a:lvl3pPr>
            <a:lvl4pPr indent="-236233">
              <a:defRPr sz="1800">
                <a:latin typeface="Meiryo UI" panose="020B0604030504040204" pitchFamily="50" charset="-128"/>
                <a:ea typeface="Meiryo UI" panose="020B0604030504040204" pitchFamily="50" charset="-128"/>
              </a:defRPr>
            </a:lvl4pPr>
            <a:lvl5pPr indent="-236233">
              <a:defRPr sz="1800">
                <a:latin typeface="Meiryo UI" panose="020B0604030504040204" pitchFamily="50" charset="-128"/>
                <a:ea typeface="Meiryo UI" panose="020B0604030504040204" pitchFamily="50" charset="-128"/>
              </a:defRPr>
            </a:lvl5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6" name="スライド番号プレースホルダー 5"/>
          <p:cNvSpPr>
            <a:spLocks noGrp="1"/>
          </p:cNvSpPr>
          <p:nvPr>
            <p:ph type="sldNum" sz="quarter" idx="12"/>
          </p:nvPr>
        </p:nvSpPr>
        <p:spPr>
          <a:xfrm>
            <a:off x="11524630" y="6468878"/>
            <a:ext cx="555811" cy="289299"/>
          </a:xfrm>
          <a:prstGeom prst="rect">
            <a:avLst/>
          </a:prstGeom>
        </p:spPr>
        <p:txBody>
          <a:bodyPr lIns="95767" tIns="47884" rIns="95767" bIns="47884"/>
          <a:lstStyle>
            <a:lvl1pPr algn="r">
              <a:defRPr sz="1050">
                <a:latin typeface="Meiryo UI" panose="020B0604030504040204" pitchFamily="50" charset="-128"/>
                <a:ea typeface="Meiryo UI" panose="020B0604030504040204" pitchFamily="50" charset="-128"/>
              </a:defRPr>
            </a:lvl1pPr>
          </a:lstStyle>
          <a:p>
            <a:pPr marL="0" marR="0" lvl="0" indent="0" algn="r" defTabSz="478835" rtl="0" eaLnBrk="1" fontAlgn="auto" latinLnBrk="0" hangingPunct="1">
              <a:lnSpc>
                <a:spcPct val="100000"/>
              </a:lnSpc>
              <a:spcBef>
                <a:spcPts val="0"/>
              </a:spcBef>
              <a:spcAft>
                <a:spcPts val="0"/>
              </a:spcAft>
              <a:buClrTx/>
              <a:buSzTx/>
              <a:buFontTx/>
              <a:buNone/>
              <a:tabLst/>
              <a:defRPr/>
            </a:pPr>
            <a:fld id="{2FF5E1DE-7B95-8A44-8552-65323269AE41}" type="slidenum">
              <a:rPr kumimoji="1" lang="ja-JP" altLang="en-US" sz="1050" b="0" i="0" u="none" strike="noStrike" kern="1200" cap="none" spc="0" normalizeH="0" baseline="0" noProof="0" smtClean="0">
                <a:ln>
                  <a:noFill/>
                </a:ln>
                <a:solidFill>
                  <a:srgbClr val="000000"/>
                </a:solidFill>
                <a:effectLst/>
                <a:uLnTx/>
                <a:uFillTx/>
                <a:latin typeface="Meiryo UI" panose="020B0604030504040204" pitchFamily="50" charset="-128"/>
                <a:ea typeface="Meiryo UI" panose="020B0604030504040204" pitchFamily="50" charset="-128"/>
                <a:cs typeface="+mn-cs"/>
              </a:rPr>
              <a:pPr marL="0" marR="0" lvl="0" indent="0" algn="r" defTabSz="478835" rtl="0" eaLnBrk="1" fontAlgn="auto" latinLnBrk="0" hangingPunct="1">
                <a:lnSpc>
                  <a:spcPct val="100000"/>
                </a:lnSpc>
                <a:spcBef>
                  <a:spcPts val="0"/>
                </a:spcBef>
                <a:spcAft>
                  <a:spcPts val="0"/>
                </a:spcAft>
                <a:buClrTx/>
                <a:buSzTx/>
                <a:buFontTx/>
                <a:buNone/>
                <a:tabLst/>
                <a:defRPr/>
              </a:pPr>
              <a:t>‹#›</a:t>
            </a:fld>
            <a:endParaRPr kumimoji="1" lang="ja-JP" altLang="en-US" sz="105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endParaRPr>
          </a:p>
        </p:txBody>
      </p:sp>
      <p:cxnSp>
        <p:nvCxnSpPr>
          <p:cNvPr id="8" name="直線コネクタ 7"/>
          <p:cNvCxnSpPr/>
          <p:nvPr userDrawn="1"/>
        </p:nvCxnSpPr>
        <p:spPr>
          <a:xfrm>
            <a:off x="239959" y="817200"/>
            <a:ext cx="11709966" cy="0"/>
          </a:xfrm>
          <a:prstGeom prst="line">
            <a:avLst/>
          </a:prstGeom>
          <a:ln>
            <a:solidFill>
              <a:srgbClr val="92846E"/>
            </a:solidFill>
          </a:ln>
          <a:effectLst/>
        </p:spPr>
        <p:style>
          <a:lnRef idx="2">
            <a:schemeClr val="accent1"/>
          </a:lnRef>
          <a:fillRef idx="0">
            <a:schemeClr val="accent1"/>
          </a:fillRef>
          <a:effectRef idx="1">
            <a:schemeClr val="accent1"/>
          </a:effectRef>
          <a:fontRef idx="minor">
            <a:schemeClr val="tx1"/>
          </a:fontRef>
        </p:style>
      </p:cxnSp>
      <p:pic>
        <p:nvPicPr>
          <p:cNvPr id="10" name="Picture 2" descr="K:\新ロゴ（データ一式）\DLH_3_EN.png"/>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11038066" y="-34312"/>
            <a:ext cx="973128" cy="900434"/>
          </a:xfrm>
          <a:prstGeom prst="rect">
            <a:avLst/>
          </a:prstGeom>
          <a:noFill/>
          <a:extLst>
            <a:ext uri="{909E8E84-426E-40DD-AFC4-6F175D3DCCD1}">
              <a14:hiddenFill xmlns:a14="http://schemas.microsoft.com/office/drawing/2010/main">
                <a:solidFill>
                  <a:srgbClr val="FFFFFF"/>
                </a:solidFill>
              </a14:hiddenFill>
            </a:ext>
          </a:extLst>
        </p:spPr>
      </p:pic>
      <p:sp>
        <p:nvSpPr>
          <p:cNvPr id="11" name="タイトル 1"/>
          <p:cNvSpPr>
            <a:spLocks noGrp="1"/>
          </p:cNvSpPr>
          <p:nvPr>
            <p:ph type="title"/>
          </p:nvPr>
        </p:nvSpPr>
        <p:spPr>
          <a:xfrm>
            <a:off x="368549" y="241861"/>
            <a:ext cx="9791452" cy="540000"/>
          </a:xfrm>
          <a:prstGeom prst="rect">
            <a:avLst/>
          </a:prstGeom>
        </p:spPr>
        <p:txBody>
          <a:bodyPr lIns="95767" tIns="47884" rIns="95767" bIns="47884" anchor="b"/>
          <a:lstStyle>
            <a:lvl1pPr>
              <a:defRPr sz="2200">
                <a:latin typeface="Meiryo UI" panose="020B0604030504040204" pitchFamily="50" charset="-128"/>
                <a:ea typeface="Meiryo UI" panose="020B0604030504040204" pitchFamily="50" charset="-128"/>
              </a:defRPr>
            </a:lvl1pPr>
          </a:lstStyle>
          <a:p>
            <a:r>
              <a:rPr kumimoji="1" lang="ja-JP" altLang="en-US"/>
              <a:t>マスター タイトルの書式設定</a:t>
            </a:r>
          </a:p>
        </p:txBody>
      </p:sp>
    </p:spTree>
    <p:extLst>
      <p:ext uri="{BB962C8B-B14F-4D97-AF65-F5344CB8AC3E}">
        <p14:creationId xmlns:p14="http://schemas.microsoft.com/office/powerpoint/2010/main" val="387091965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type="title" preserve="1">
  <p:cSld name="6_タイトル スライド">
    <p:spTree>
      <p:nvGrpSpPr>
        <p:cNvPr id="1" name=""/>
        <p:cNvGrpSpPr/>
        <p:nvPr/>
      </p:nvGrpSpPr>
      <p:grpSpPr>
        <a:xfrm>
          <a:off x="0" y="0"/>
          <a:ext cx="0" cy="0"/>
          <a:chOff x="0" y="0"/>
          <a:chExt cx="0" cy="0"/>
        </a:xfrm>
      </p:grpSpPr>
      <p:sp>
        <p:nvSpPr>
          <p:cNvPr id="10" name="Freeform 5"/>
          <p:cNvSpPr>
            <a:spLocks/>
          </p:cNvSpPr>
          <p:nvPr userDrawn="1"/>
        </p:nvSpPr>
        <p:spPr bwMode="auto">
          <a:xfrm>
            <a:off x="233538" y="169337"/>
            <a:ext cx="11730712" cy="5207000"/>
          </a:xfrm>
          <a:custGeom>
            <a:avLst/>
            <a:gdLst>
              <a:gd name="T0" fmla="*/ 0 w 1618"/>
              <a:gd name="T1" fmla="*/ 0 h 957"/>
              <a:gd name="T2" fmla="*/ 0 w 1618"/>
              <a:gd name="T3" fmla="*/ 957 h 957"/>
              <a:gd name="T4" fmla="*/ 1279 w 1618"/>
              <a:gd name="T5" fmla="*/ 842 h 957"/>
              <a:gd name="T6" fmla="*/ 1618 w 1618"/>
              <a:gd name="T7" fmla="*/ 472 h 957"/>
              <a:gd name="T8" fmla="*/ 1618 w 1618"/>
              <a:gd name="T9" fmla="*/ 0 h 957"/>
              <a:gd name="T10" fmla="*/ 0 w 1618"/>
              <a:gd name="T11" fmla="*/ 0 h 957"/>
            </a:gdLst>
            <a:ahLst/>
            <a:cxnLst>
              <a:cxn ang="0">
                <a:pos x="T0" y="T1"/>
              </a:cxn>
              <a:cxn ang="0">
                <a:pos x="T2" y="T3"/>
              </a:cxn>
              <a:cxn ang="0">
                <a:pos x="T4" y="T5"/>
              </a:cxn>
              <a:cxn ang="0">
                <a:pos x="T6" y="T7"/>
              </a:cxn>
              <a:cxn ang="0">
                <a:pos x="T8" y="T9"/>
              </a:cxn>
              <a:cxn ang="0">
                <a:pos x="T10" y="T11"/>
              </a:cxn>
            </a:cxnLst>
            <a:rect l="0" t="0" r="r" b="b"/>
            <a:pathLst>
              <a:path w="1618" h="957">
                <a:moveTo>
                  <a:pt x="0" y="0"/>
                </a:moveTo>
                <a:cubicBezTo>
                  <a:pt x="0" y="957"/>
                  <a:pt x="0" y="957"/>
                  <a:pt x="0" y="957"/>
                </a:cubicBezTo>
                <a:cubicBezTo>
                  <a:pt x="1279" y="842"/>
                  <a:pt x="1279" y="842"/>
                  <a:pt x="1279" y="842"/>
                </a:cubicBezTo>
                <a:cubicBezTo>
                  <a:pt x="1465" y="825"/>
                  <a:pt x="1618" y="659"/>
                  <a:pt x="1618" y="472"/>
                </a:cubicBezTo>
                <a:cubicBezTo>
                  <a:pt x="1618" y="0"/>
                  <a:pt x="1618" y="0"/>
                  <a:pt x="1618" y="0"/>
                </a:cubicBezTo>
                <a:lnTo>
                  <a:pt x="0" y="0"/>
                </a:lnTo>
                <a:close/>
              </a:path>
            </a:pathLst>
          </a:custGeom>
          <a:solidFill>
            <a:schemeClr val="accent6"/>
          </a:solidFill>
          <a:ln>
            <a:noFill/>
          </a:ln>
        </p:spPr>
        <p:txBody>
          <a:bodyPr lIns="127667" tIns="63834" rIns="127667" bIns="63834"/>
          <a:lstStyle/>
          <a:p>
            <a:pPr marL="0" marR="0" lvl="0" indent="0" algn="l" defTabSz="478835" rtl="0" eaLnBrk="1" fontAlgn="auto" latinLnBrk="0" hangingPunct="1">
              <a:lnSpc>
                <a:spcPct val="100000"/>
              </a:lnSpc>
              <a:spcBef>
                <a:spcPts val="0"/>
              </a:spcBef>
              <a:spcAft>
                <a:spcPts val="0"/>
              </a:spcAft>
              <a:buClrTx/>
              <a:buSzTx/>
              <a:buFontTx/>
              <a:buNone/>
              <a:tabLst/>
              <a:defRPr/>
            </a:pPr>
            <a:endParaRPr kumimoji="1" lang="ja-JP" altLang="en-US" sz="2533"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endParaRPr>
          </a:p>
        </p:txBody>
      </p:sp>
      <p:sp>
        <p:nvSpPr>
          <p:cNvPr id="2" name="タイトル 1"/>
          <p:cNvSpPr>
            <a:spLocks noGrp="1"/>
          </p:cNvSpPr>
          <p:nvPr>
            <p:ph type="ctrTitle"/>
          </p:nvPr>
        </p:nvSpPr>
        <p:spPr>
          <a:xfrm>
            <a:off x="914400" y="1416804"/>
            <a:ext cx="10363200" cy="1470025"/>
          </a:xfrm>
          <a:prstGeom prst="rect">
            <a:avLst/>
          </a:prstGeom>
        </p:spPr>
        <p:txBody>
          <a:bodyPr lIns="95767" tIns="47884" rIns="95767" bIns="47884" anchor="b">
            <a:normAutofit/>
          </a:bodyPr>
          <a:lstStyle>
            <a:lvl1pPr algn="l">
              <a:defRPr sz="4000" kern="1200">
                <a:solidFill>
                  <a:schemeClr val="tx1"/>
                </a:solidFill>
                <a:latin typeface="Meiryo UI" panose="020B0604030504040204" pitchFamily="50" charset="-128"/>
                <a:ea typeface="Meiryo UI" panose="020B0604030504040204" pitchFamily="50" charset="-128"/>
              </a:defRPr>
            </a:lvl1pPr>
          </a:lstStyle>
          <a:p>
            <a:r>
              <a:rPr kumimoji="1" lang="ja-JP" altLang="en-US"/>
              <a:t>マスター タイトルの書式設定</a:t>
            </a:r>
          </a:p>
        </p:txBody>
      </p:sp>
      <p:sp>
        <p:nvSpPr>
          <p:cNvPr id="3" name="サブタイトル 2"/>
          <p:cNvSpPr>
            <a:spLocks noGrp="1"/>
          </p:cNvSpPr>
          <p:nvPr>
            <p:ph type="subTitle" idx="1"/>
          </p:nvPr>
        </p:nvSpPr>
        <p:spPr>
          <a:xfrm>
            <a:off x="916801" y="3420000"/>
            <a:ext cx="9691436" cy="977153"/>
          </a:xfrm>
          <a:prstGeom prst="rect">
            <a:avLst/>
          </a:prstGeom>
        </p:spPr>
        <p:txBody>
          <a:bodyPr lIns="95767" tIns="47884" rIns="95767" bIns="47884">
            <a:normAutofit/>
          </a:bodyPr>
          <a:lstStyle>
            <a:lvl1pPr marL="0" indent="0" algn="l">
              <a:buNone/>
              <a:defRPr sz="2800">
                <a:solidFill>
                  <a:schemeClr val="tx1"/>
                </a:solidFill>
                <a:latin typeface="Meiryo UI" panose="020B0604030504040204" pitchFamily="50" charset="-128"/>
                <a:ea typeface="Meiryo UI" panose="020B0604030504040204" pitchFamily="50" charset="-128"/>
              </a:defRPr>
            </a:lvl1pPr>
            <a:lvl2pPr marL="638335" indent="0" algn="ctr">
              <a:buNone/>
              <a:defRPr>
                <a:solidFill>
                  <a:schemeClr val="tx1">
                    <a:tint val="75000"/>
                  </a:schemeClr>
                </a:solidFill>
              </a:defRPr>
            </a:lvl2pPr>
            <a:lvl3pPr marL="1276669" indent="0" algn="ctr">
              <a:buNone/>
              <a:defRPr>
                <a:solidFill>
                  <a:schemeClr val="tx1">
                    <a:tint val="75000"/>
                  </a:schemeClr>
                </a:solidFill>
              </a:defRPr>
            </a:lvl3pPr>
            <a:lvl4pPr marL="1915003" indent="0" algn="ctr">
              <a:buNone/>
              <a:defRPr>
                <a:solidFill>
                  <a:schemeClr val="tx1">
                    <a:tint val="75000"/>
                  </a:schemeClr>
                </a:solidFill>
              </a:defRPr>
            </a:lvl4pPr>
            <a:lvl5pPr marL="2553338" indent="0" algn="ctr">
              <a:buNone/>
              <a:defRPr>
                <a:solidFill>
                  <a:schemeClr val="tx1">
                    <a:tint val="75000"/>
                  </a:schemeClr>
                </a:solidFill>
              </a:defRPr>
            </a:lvl5pPr>
            <a:lvl6pPr marL="3191671" indent="0" algn="ctr">
              <a:buNone/>
              <a:defRPr>
                <a:solidFill>
                  <a:schemeClr val="tx1">
                    <a:tint val="75000"/>
                  </a:schemeClr>
                </a:solidFill>
              </a:defRPr>
            </a:lvl6pPr>
            <a:lvl7pPr marL="3830007" indent="0" algn="ctr">
              <a:buNone/>
              <a:defRPr>
                <a:solidFill>
                  <a:schemeClr val="tx1">
                    <a:tint val="75000"/>
                  </a:schemeClr>
                </a:solidFill>
              </a:defRPr>
            </a:lvl7pPr>
            <a:lvl8pPr marL="4468342" indent="0" algn="ctr">
              <a:buNone/>
              <a:defRPr>
                <a:solidFill>
                  <a:schemeClr val="tx1">
                    <a:tint val="75000"/>
                  </a:schemeClr>
                </a:solidFill>
              </a:defRPr>
            </a:lvl8pPr>
            <a:lvl9pPr marL="5106676" indent="0" algn="ctr">
              <a:buNone/>
              <a:defRPr>
                <a:solidFill>
                  <a:schemeClr val="tx1">
                    <a:tint val="75000"/>
                  </a:schemeClr>
                </a:solidFill>
              </a:defRPr>
            </a:lvl9pPr>
          </a:lstStyle>
          <a:p>
            <a:r>
              <a:rPr kumimoji="1" lang="ja-JP" altLang="en-US"/>
              <a:t>マスター サブタイトルの書式設定</a:t>
            </a:r>
          </a:p>
        </p:txBody>
      </p:sp>
      <p:sp>
        <p:nvSpPr>
          <p:cNvPr id="16" name="日付プレースホルダー 11"/>
          <p:cNvSpPr>
            <a:spLocks noGrp="1"/>
          </p:cNvSpPr>
          <p:nvPr>
            <p:ph type="dt" sz="half" idx="10"/>
          </p:nvPr>
        </p:nvSpPr>
        <p:spPr>
          <a:xfrm>
            <a:off x="609600" y="5691768"/>
            <a:ext cx="3860800" cy="365125"/>
          </a:xfrm>
          <a:prstGeom prst="rect">
            <a:avLst/>
          </a:prstGeom>
        </p:spPr>
        <p:txBody>
          <a:bodyPr lIns="95767" tIns="47884" rIns="95767" bIns="47884"/>
          <a:lstStyle>
            <a:lvl1pPr algn="l">
              <a:defRPr sz="1800">
                <a:solidFill>
                  <a:srgbClr val="000000"/>
                </a:solidFill>
                <a:latin typeface="Meiryo UI" panose="020B0604030504040204" pitchFamily="50" charset="-128"/>
                <a:ea typeface="Meiryo UI" panose="020B0604030504040204" pitchFamily="50" charset="-128"/>
              </a:defRPr>
            </a:lvl1pPr>
          </a:lstStyle>
          <a:p>
            <a:pPr marL="0" marR="0" lvl="0" indent="0" algn="l" defTabSz="478835"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endParaRPr>
          </a:p>
        </p:txBody>
      </p:sp>
      <p:sp>
        <p:nvSpPr>
          <p:cNvPr id="8" name="フッター プレースホルダー 12"/>
          <p:cNvSpPr>
            <a:spLocks noGrp="1"/>
          </p:cNvSpPr>
          <p:nvPr>
            <p:ph type="ftr" sz="quarter" idx="11"/>
          </p:nvPr>
        </p:nvSpPr>
        <p:spPr>
          <a:xfrm>
            <a:off x="609600" y="6099529"/>
            <a:ext cx="6668998" cy="365125"/>
          </a:xfrm>
          <a:prstGeom prst="rect">
            <a:avLst/>
          </a:prstGeom>
        </p:spPr>
        <p:txBody>
          <a:bodyPr lIns="95767" tIns="47884" rIns="95767" bIns="47884"/>
          <a:lstStyle>
            <a:lvl1pPr algn="l">
              <a:defRPr sz="1800">
                <a:latin typeface="Meiryo UI" panose="020B0604030504040204" pitchFamily="50" charset="-128"/>
                <a:ea typeface="Meiryo UI" panose="020B0604030504040204" pitchFamily="50" charset="-128"/>
              </a:defRPr>
            </a:lvl1pPr>
          </a:lstStyle>
          <a:p>
            <a:pPr marL="0" marR="0" lvl="0" indent="0" algn="l" defTabSz="478835"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endParaRPr>
          </a:p>
        </p:txBody>
      </p:sp>
      <p:pic>
        <p:nvPicPr>
          <p:cNvPr id="11" name="Picture 2" descr="K:\新ロゴ（データ一式）\DLH_3_EN.png"/>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10521597" y="5335811"/>
            <a:ext cx="1644525" cy="152167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75858396"/>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25_タイトルとコンテンツ">
    <p:spTree>
      <p:nvGrpSpPr>
        <p:cNvPr id="1" name=""/>
        <p:cNvGrpSpPr/>
        <p:nvPr/>
      </p:nvGrpSpPr>
      <p:grpSpPr>
        <a:xfrm>
          <a:off x="0" y="0"/>
          <a:ext cx="0" cy="0"/>
          <a:chOff x="0" y="0"/>
          <a:chExt cx="0" cy="0"/>
        </a:xfrm>
      </p:grpSpPr>
      <p:sp>
        <p:nvSpPr>
          <p:cNvPr id="7" name="Freeform 8"/>
          <p:cNvSpPr>
            <a:spLocks/>
          </p:cNvSpPr>
          <p:nvPr userDrawn="1"/>
        </p:nvSpPr>
        <p:spPr bwMode="auto">
          <a:xfrm>
            <a:off x="-2100" y="5505984"/>
            <a:ext cx="12192504" cy="1353504"/>
          </a:xfrm>
          <a:custGeom>
            <a:avLst/>
            <a:gdLst>
              <a:gd name="T0" fmla="*/ 3622 w 3622"/>
              <a:gd name="T1" fmla="*/ 608 h 608"/>
              <a:gd name="T2" fmla="*/ 3622 w 3622"/>
              <a:gd name="T3" fmla="*/ 0 h 608"/>
              <a:gd name="T4" fmla="*/ 3622 w 3622"/>
              <a:gd name="T5" fmla="*/ 0 h 608"/>
              <a:gd name="T6" fmla="*/ 3622 w 3622"/>
              <a:gd name="T7" fmla="*/ 14 h 608"/>
              <a:gd name="T8" fmla="*/ 3616 w 3622"/>
              <a:gd name="T9" fmla="*/ 46 h 608"/>
              <a:gd name="T10" fmla="*/ 3612 w 3622"/>
              <a:gd name="T11" fmla="*/ 68 h 608"/>
              <a:gd name="T12" fmla="*/ 3604 w 3622"/>
              <a:gd name="T13" fmla="*/ 94 h 608"/>
              <a:gd name="T14" fmla="*/ 3596 w 3622"/>
              <a:gd name="T15" fmla="*/ 122 h 608"/>
              <a:gd name="T16" fmla="*/ 3584 w 3622"/>
              <a:gd name="T17" fmla="*/ 150 h 608"/>
              <a:gd name="T18" fmla="*/ 3568 w 3622"/>
              <a:gd name="T19" fmla="*/ 178 h 608"/>
              <a:gd name="T20" fmla="*/ 3550 w 3622"/>
              <a:gd name="T21" fmla="*/ 206 h 608"/>
              <a:gd name="T22" fmla="*/ 3526 w 3622"/>
              <a:gd name="T23" fmla="*/ 232 h 608"/>
              <a:gd name="T24" fmla="*/ 3514 w 3622"/>
              <a:gd name="T25" fmla="*/ 246 h 608"/>
              <a:gd name="T26" fmla="*/ 3498 w 3622"/>
              <a:gd name="T27" fmla="*/ 258 h 608"/>
              <a:gd name="T28" fmla="*/ 3484 w 3622"/>
              <a:gd name="T29" fmla="*/ 268 h 608"/>
              <a:gd name="T30" fmla="*/ 3466 w 3622"/>
              <a:gd name="T31" fmla="*/ 280 h 608"/>
              <a:gd name="T32" fmla="*/ 3448 w 3622"/>
              <a:gd name="T33" fmla="*/ 288 h 608"/>
              <a:gd name="T34" fmla="*/ 3430 w 3622"/>
              <a:gd name="T35" fmla="*/ 298 h 608"/>
              <a:gd name="T36" fmla="*/ 3410 w 3622"/>
              <a:gd name="T37" fmla="*/ 304 h 608"/>
              <a:gd name="T38" fmla="*/ 3386 w 3622"/>
              <a:gd name="T39" fmla="*/ 310 h 608"/>
              <a:gd name="T40" fmla="*/ 3364 w 3622"/>
              <a:gd name="T41" fmla="*/ 316 h 608"/>
              <a:gd name="T42" fmla="*/ 3338 w 3622"/>
              <a:gd name="T43" fmla="*/ 318 h 608"/>
              <a:gd name="T44" fmla="*/ 3338 w 3622"/>
              <a:gd name="T45" fmla="*/ 318 h 608"/>
              <a:gd name="T46" fmla="*/ 0 w 3622"/>
              <a:gd name="T47" fmla="*/ 608 h 608"/>
              <a:gd name="T48" fmla="*/ 3622 w 3622"/>
              <a:gd name="T49" fmla="*/ 608 h 608"/>
              <a:gd name="connsiteX0" fmla="*/ 10000 w 10000"/>
              <a:gd name="connsiteY0" fmla="*/ 10000 h 10000"/>
              <a:gd name="connsiteX1" fmla="*/ 10000 w 10000"/>
              <a:gd name="connsiteY1" fmla="*/ 0 h 10000"/>
              <a:gd name="connsiteX2" fmla="*/ 10000 w 10000"/>
              <a:gd name="connsiteY2" fmla="*/ 0 h 10000"/>
              <a:gd name="connsiteX3" fmla="*/ 10000 w 10000"/>
              <a:gd name="connsiteY3" fmla="*/ 230 h 10000"/>
              <a:gd name="connsiteX4" fmla="*/ 9983 w 10000"/>
              <a:gd name="connsiteY4" fmla="*/ 757 h 10000"/>
              <a:gd name="connsiteX5" fmla="*/ 9972 w 10000"/>
              <a:gd name="connsiteY5" fmla="*/ 1118 h 10000"/>
              <a:gd name="connsiteX6" fmla="*/ 9950 w 10000"/>
              <a:gd name="connsiteY6" fmla="*/ 1546 h 10000"/>
              <a:gd name="connsiteX7" fmla="*/ 9928 w 10000"/>
              <a:gd name="connsiteY7" fmla="*/ 2007 h 10000"/>
              <a:gd name="connsiteX8" fmla="*/ 9895 w 10000"/>
              <a:gd name="connsiteY8" fmla="*/ 2467 h 10000"/>
              <a:gd name="connsiteX9" fmla="*/ 9851 w 10000"/>
              <a:gd name="connsiteY9" fmla="*/ 2928 h 10000"/>
              <a:gd name="connsiteX10" fmla="*/ 9801 w 10000"/>
              <a:gd name="connsiteY10" fmla="*/ 3388 h 10000"/>
              <a:gd name="connsiteX11" fmla="*/ 9735 w 10000"/>
              <a:gd name="connsiteY11" fmla="*/ 3816 h 10000"/>
              <a:gd name="connsiteX12" fmla="*/ 9702 w 10000"/>
              <a:gd name="connsiteY12" fmla="*/ 4046 h 10000"/>
              <a:gd name="connsiteX13" fmla="*/ 9658 w 10000"/>
              <a:gd name="connsiteY13" fmla="*/ 4243 h 10000"/>
              <a:gd name="connsiteX14" fmla="*/ 9619 w 10000"/>
              <a:gd name="connsiteY14" fmla="*/ 4408 h 10000"/>
              <a:gd name="connsiteX15" fmla="*/ 9569 w 10000"/>
              <a:gd name="connsiteY15" fmla="*/ 4605 h 10000"/>
              <a:gd name="connsiteX16" fmla="*/ 9520 w 10000"/>
              <a:gd name="connsiteY16" fmla="*/ 4737 h 10000"/>
              <a:gd name="connsiteX17" fmla="*/ 9470 w 10000"/>
              <a:gd name="connsiteY17" fmla="*/ 4901 h 10000"/>
              <a:gd name="connsiteX18" fmla="*/ 9415 w 10000"/>
              <a:gd name="connsiteY18" fmla="*/ 5000 h 10000"/>
              <a:gd name="connsiteX19" fmla="*/ 9348 w 10000"/>
              <a:gd name="connsiteY19" fmla="*/ 5099 h 10000"/>
              <a:gd name="connsiteX20" fmla="*/ 9288 w 10000"/>
              <a:gd name="connsiteY20" fmla="*/ 5197 h 10000"/>
              <a:gd name="connsiteX21" fmla="*/ 9216 w 10000"/>
              <a:gd name="connsiteY21" fmla="*/ 5230 h 10000"/>
              <a:gd name="connsiteX22" fmla="*/ 9216 w 10000"/>
              <a:gd name="connsiteY22" fmla="*/ 5230 h 10000"/>
              <a:gd name="connsiteX23" fmla="*/ 1190 w 10000"/>
              <a:gd name="connsiteY23" fmla="*/ 9414 h 10000"/>
              <a:gd name="connsiteX24" fmla="*/ 0 w 10000"/>
              <a:gd name="connsiteY24" fmla="*/ 10000 h 10000"/>
              <a:gd name="connsiteX25" fmla="*/ 10000 w 10000"/>
              <a:gd name="connsiteY25" fmla="*/ 10000 h 10000"/>
              <a:gd name="connsiteX0" fmla="*/ 10000 w 10000"/>
              <a:gd name="connsiteY0" fmla="*/ 10000 h 10011"/>
              <a:gd name="connsiteX1" fmla="*/ 10000 w 10000"/>
              <a:gd name="connsiteY1" fmla="*/ 0 h 10011"/>
              <a:gd name="connsiteX2" fmla="*/ 10000 w 10000"/>
              <a:gd name="connsiteY2" fmla="*/ 0 h 10011"/>
              <a:gd name="connsiteX3" fmla="*/ 10000 w 10000"/>
              <a:gd name="connsiteY3" fmla="*/ 230 h 10011"/>
              <a:gd name="connsiteX4" fmla="*/ 9983 w 10000"/>
              <a:gd name="connsiteY4" fmla="*/ 757 h 10011"/>
              <a:gd name="connsiteX5" fmla="*/ 9972 w 10000"/>
              <a:gd name="connsiteY5" fmla="*/ 1118 h 10011"/>
              <a:gd name="connsiteX6" fmla="*/ 9950 w 10000"/>
              <a:gd name="connsiteY6" fmla="*/ 1546 h 10011"/>
              <a:gd name="connsiteX7" fmla="*/ 9928 w 10000"/>
              <a:gd name="connsiteY7" fmla="*/ 2007 h 10011"/>
              <a:gd name="connsiteX8" fmla="*/ 9895 w 10000"/>
              <a:gd name="connsiteY8" fmla="*/ 2467 h 10011"/>
              <a:gd name="connsiteX9" fmla="*/ 9851 w 10000"/>
              <a:gd name="connsiteY9" fmla="*/ 2928 h 10011"/>
              <a:gd name="connsiteX10" fmla="*/ 9801 w 10000"/>
              <a:gd name="connsiteY10" fmla="*/ 3388 h 10011"/>
              <a:gd name="connsiteX11" fmla="*/ 9735 w 10000"/>
              <a:gd name="connsiteY11" fmla="*/ 3816 h 10011"/>
              <a:gd name="connsiteX12" fmla="*/ 9702 w 10000"/>
              <a:gd name="connsiteY12" fmla="*/ 4046 h 10011"/>
              <a:gd name="connsiteX13" fmla="*/ 9658 w 10000"/>
              <a:gd name="connsiteY13" fmla="*/ 4243 h 10011"/>
              <a:gd name="connsiteX14" fmla="*/ 9619 w 10000"/>
              <a:gd name="connsiteY14" fmla="*/ 4408 h 10011"/>
              <a:gd name="connsiteX15" fmla="*/ 9569 w 10000"/>
              <a:gd name="connsiteY15" fmla="*/ 4605 h 10011"/>
              <a:gd name="connsiteX16" fmla="*/ 9520 w 10000"/>
              <a:gd name="connsiteY16" fmla="*/ 4737 h 10011"/>
              <a:gd name="connsiteX17" fmla="*/ 9470 w 10000"/>
              <a:gd name="connsiteY17" fmla="*/ 4901 h 10011"/>
              <a:gd name="connsiteX18" fmla="*/ 9415 w 10000"/>
              <a:gd name="connsiteY18" fmla="*/ 5000 h 10011"/>
              <a:gd name="connsiteX19" fmla="*/ 9348 w 10000"/>
              <a:gd name="connsiteY19" fmla="*/ 5099 h 10011"/>
              <a:gd name="connsiteX20" fmla="*/ 9288 w 10000"/>
              <a:gd name="connsiteY20" fmla="*/ 5197 h 10011"/>
              <a:gd name="connsiteX21" fmla="*/ 9216 w 10000"/>
              <a:gd name="connsiteY21" fmla="*/ 5230 h 10011"/>
              <a:gd name="connsiteX22" fmla="*/ 9216 w 10000"/>
              <a:gd name="connsiteY22" fmla="*/ 5230 h 10011"/>
              <a:gd name="connsiteX23" fmla="*/ 1190 w 10000"/>
              <a:gd name="connsiteY23" fmla="*/ 9414 h 10011"/>
              <a:gd name="connsiteX24" fmla="*/ 0 w 10000"/>
              <a:gd name="connsiteY24" fmla="*/ 10000 h 10011"/>
              <a:gd name="connsiteX25" fmla="*/ 1185 w 10000"/>
              <a:gd name="connsiteY25" fmla="*/ 10011 h 10011"/>
              <a:gd name="connsiteX26" fmla="*/ 10000 w 10000"/>
              <a:gd name="connsiteY26" fmla="*/ 10000 h 10011"/>
              <a:gd name="connsiteX0" fmla="*/ 8815 w 8815"/>
              <a:gd name="connsiteY0" fmla="*/ 10000 h 10011"/>
              <a:gd name="connsiteX1" fmla="*/ 8815 w 8815"/>
              <a:gd name="connsiteY1" fmla="*/ 0 h 10011"/>
              <a:gd name="connsiteX2" fmla="*/ 8815 w 8815"/>
              <a:gd name="connsiteY2" fmla="*/ 0 h 10011"/>
              <a:gd name="connsiteX3" fmla="*/ 8815 w 8815"/>
              <a:gd name="connsiteY3" fmla="*/ 230 h 10011"/>
              <a:gd name="connsiteX4" fmla="*/ 8798 w 8815"/>
              <a:gd name="connsiteY4" fmla="*/ 757 h 10011"/>
              <a:gd name="connsiteX5" fmla="*/ 8787 w 8815"/>
              <a:gd name="connsiteY5" fmla="*/ 1118 h 10011"/>
              <a:gd name="connsiteX6" fmla="*/ 8765 w 8815"/>
              <a:gd name="connsiteY6" fmla="*/ 1546 h 10011"/>
              <a:gd name="connsiteX7" fmla="*/ 8743 w 8815"/>
              <a:gd name="connsiteY7" fmla="*/ 2007 h 10011"/>
              <a:gd name="connsiteX8" fmla="*/ 8710 w 8815"/>
              <a:gd name="connsiteY8" fmla="*/ 2467 h 10011"/>
              <a:gd name="connsiteX9" fmla="*/ 8666 w 8815"/>
              <a:gd name="connsiteY9" fmla="*/ 2928 h 10011"/>
              <a:gd name="connsiteX10" fmla="*/ 8616 w 8815"/>
              <a:gd name="connsiteY10" fmla="*/ 3388 h 10011"/>
              <a:gd name="connsiteX11" fmla="*/ 8550 w 8815"/>
              <a:gd name="connsiteY11" fmla="*/ 3816 h 10011"/>
              <a:gd name="connsiteX12" fmla="*/ 8517 w 8815"/>
              <a:gd name="connsiteY12" fmla="*/ 4046 h 10011"/>
              <a:gd name="connsiteX13" fmla="*/ 8473 w 8815"/>
              <a:gd name="connsiteY13" fmla="*/ 4243 h 10011"/>
              <a:gd name="connsiteX14" fmla="*/ 8434 w 8815"/>
              <a:gd name="connsiteY14" fmla="*/ 4408 h 10011"/>
              <a:gd name="connsiteX15" fmla="*/ 8384 w 8815"/>
              <a:gd name="connsiteY15" fmla="*/ 4605 h 10011"/>
              <a:gd name="connsiteX16" fmla="*/ 8335 w 8815"/>
              <a:gd name="connsiteY16" fmla="*/ 4737 h 10011"/>
              <a:gd name="connsiteX17" fmla="*/ 8285 w 8815"/>
              <a:gd name="connsiteY17" fmla="*/ 4901 h 10011"/>
              <a:gd name="connsiteX18" fmla="*/ 8230 w 8815"/>
              <a:gd name="connsiteY18" fmla="*/ 5000 h 10011"/>
              <a:gd name="connsiteX19" fmla="*/ 8163 w 8815"/>
              <a:gd name="connsiteY19" fmla="*/ 5099 h 10011"/>
              <a:gd name="connsiteX20" fmla="*/ 8103 w 8815"/>
              <a:gd name="connsiteY20" fmla="*/ 5197 h 10011"/>
              <a:gd name="connsiteX21" fmla="*/ 8031 w 8815"/>
              <a:gd name="connsiteY21" fmla="*/ 5230 h 10011"/>
              <a:gd name="connsiteX22" fmla="*/ 8031 w 8815"/>
              <a:gd name="connsiteY22" fmla="*/ 5230 h 10011"/>
              <a:gd name="connsiteX23" fmla="*/ 5 w 8815"/>
              <a:gd name="connsiteY23" fmla="*/ 9414 h 10011"/>
              <a:gd name="connsiteX24" fmla="*/ 0 w 8815"/>
              <a:gd name="connsiteY24" fmla="*/ 10011 h 10011"/>
              <a:gd name="connsiteX25" fmla="*/ 8815 w 8815"/>
              <a:gd name="connsiteY25" fmla="*/ 10000 h 10011"/>
              <a:gd name="connsiteX0" fmla="*/ 9996 w 9996"/>
              <a:gd name="connsiteY0" fmla="*/ 9989 h 10000"/>
              <a:gd name="connsiteX1" fmla="*/ 9996 w 9996"/>
              <a:gd name="connsiteY1" fmla="*/ 0 h 10000"/>
              <a:gd name="connsiteX2" fmla="*/ 9996 w 9996"/>
              <a:gd name="connsiteY2" fmla="*/ 0 h 10000"/>
              <a:gd name="connsiteX3" fmla="*/ 9996 w 9996"/>
              <a:gd name="connsiteY3" fmla="*/ 230 h 10000"/>
              <a:gd name="connsiteX4" fmla="*/ 9977 w 9996"/>
              <a:gd name="connsiteY4" fmla="*/ 756 h 10000"/>
              <a:gd name="connsiteX5" fmla="*/ 9964 w 9996"/>
              <a:gd name="connsiteY5" fmla="*/ 1117 h 10000"/>
              <a:gd name="connsiteX6" fmla="*/ 9939 w 9996"/>
              <a:gd name="connsiteY6" fmla="*/ 1544 h 10000"/>
              <a:gd name="connsiteX7" fmla="*/ 9914 w 9996"/>
              <a:gd name="connsiteY7" fmla="*/ 2005 h 10000"/>
              <a:gd name="connsiteX8" fmla="*/ 9877 w 9996"/>
              <a:gd name="connsiteY8" fmla="*/ 2464 h 10000"/>
              <a:gd name="connsiteX9" fmla="*/ 9827 w 9996"/>
              <a:gd name="connsiteY9" fmla="*/ 2925 h 10000"/>
              <a:gd name="connsiteX10" fmla="*/ 9770 w 9996"/>
              <a:gd name="connsiteY10" fmla="*/ 3384 h 10000"/>
              <a:gd name="connsiteX11" fmla="*/ 9695 w 9996"/>
              <a:gd name="connsiteY11" fmla="*/ 3812 h 10000"/>
              <a:gd name="connsiteX12" fmla="*/ 9658 w 9996"/>
              <a:gd name="connsiteY12" fmla="*/ 4042 h 10000"/>
              <a:gd name="connsiteX13" fmla="*/ 9608 w 9996"/>
              <a:gd name="connsiteY13" fmla="*/ 4238 h 10000"/>
              <a:gd name="connsiteX14" fmla="*/ 9564 w 9996"/>
              <a:gd name="connsiteY14" fmla="*/ 4403 h 10000"/>
              <a:gd name="connsiteX15" fmla="*/ 9507 w 9996"/>
              <a:gd name="connsiteY15" fmla="*/ 4600 h 10000"/>
              <a:gd name="connsiteX16" fmla="*/ 9451 w 9996"/>
              <a:gd name="connsiteY16" fmla="*/ 4732 h 10000"/>
              <a:gd name="connsiteX17" fmla="*/ 9395 w 9996"/>
              <a:gd name="connsiteY17" fmla="*/ 4896 h 10000"/>
              <a:gd name="connsiteX18" fmla="*/ 9332 w 9996"/>
              <a:gd name="connsiteY18" fmla="*/ 4995 h 10000"/>
              <a:gd name="connsiteX19" fmla="*/ 9256 w 9996"/>
              <a:gd name="connsiteY19" fmla="*/ 5093 h 10000"/>
              <a:gd name="connsiteX20" fmla="*/ 9188 w 9996"/>
              <a:gd name="connsiteY20" fmla="*/ 5191 h 10000"/>
              <a:gd name="connsiteX21" fmla="*/ 9107 w 9996"/>
              <a:gd name="connsiteY21" fmla="*/ 5224 h 10000"/>
              <a:gd name="connsiteX22" fmla="*/ 9107 w 9996"/>
              <a:gd name="connsiteY22" fmla="*/ 5224 h 10000"/>
              <a:gd name="connsiteX23" fmla="*/ 2 w 9996"/>
              <a:gd name="connsiteY23" fmla="*/ 9404 h 10000"/>
              <a:gd name="connsiteX24" fmla="*/ 0 w 9996"/>
              <a:gd name="connsiteY24" fmla="*/ 10000 h 10000"/>
              <a:gd name="connsiteX25" fmla="*/ 9996 w 9996"/>
              <a:gd name="connsiteY25" fmla="*/ 9989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9996" h="10000">
                <a:moveTo>
                  <a:pt x="9996" y="9989"/>
                </a:moveTo>
                <a:lnTo>
                  <a:pt x="9996" y="0"/>
                </a:lnTo>
                <a:lnTo>
                  <a:pt x="9996" y="0"/>
                </a:lnTo>
                <a:lnTo>
                  <a:pt x="9996" y="230"/>
                </a:lnTo>
                <a:cubicBezTo>
                  <a:pt x="9989" y="406"/>
                  <a:pt x="9984" y="580"/>
                  <a:pt x="9977" y="756"/>
                </a:cubicBezTo>
                <a:cubicBezTo>
                  <a:pt x="9972" y="876"/>
                  <a:pt x="9969" y="997"/>
                  <a:pt x="9964" y="1117"/>
                </a:cubicBezTo>
                <a:cubicBezTo>
                  <a:pt x="9956" y="1260"/>
                  <a:pt x="9947" y="1401"/>
                  <a:pt x="9939" y="1544"/>
                </a:cubicBezTo>
                <a:cubicBezTo>
                  <a:pt x="9931" y="1698"/>
                  <a:pt x="9922" y="1851"/>
                  <a:pt x="9914" y="2005"/>
                </a:cubicBezTo>
                <a:cubicBezTo>
                  <a:pt x="9902" y="2158"/>
                  <a:pt x="9889" y="2311"/>
                  <a:pt x="9877" y="2464"/>
                </a:cubicBezTo>
                <a:cubicBezTo>
                  <a:pt x="9860" y="2618"/>
                  <a:pt x="9844" y="2771"/>
                  <a:pt x="9827" y="2925"/>
                </a:cubicBezTo>
                <a:cubicBezTo>
                  <a:pt x="9808" y="3078"/>
                  <a:pt x="9790" y="3231"/>
                  <a:pt x="9770" y="3384"/>
                </a:cubicBezTo>
                <a:cubicBezTo>
                  <a:pt x="9745" y="3527"/>
                  <a:pt x="9720" y="3669"/>
                  <a:pt x="9695" y="3812"/>
                </a:cubicBezTo>
                <a:cubicBezTo>
                  <a:pt x="9683" y="3889"/>
                  <a:pt x="9670" y="3965"/>
                  <a:pt x="9658" y="4042"/>
                </a:cubicBezTo>
                <a:cubicBezTo>
                  <a:pt x="9641" y="4107"/>
                  <a:pt x="9625" y="4172"/>
                  <a:pt x="9608" y="4238"/>
                </a:cubicBezTo>
                <a:cubicBezTo>
                  <a:pt x="9593" y="4293"/>
                  <a:pt x="9579" y="4348"/>
                  <a:pt x="9564" y="4403"/>
                </a:cubicBezTo>
                <a:cubicBezTo>
                  <a:pt x="9544" y="4469"/>
                  <a:pt x="9526" y="4534"/>
                  <a:pt x="9507" y="4600"/>
                </a:cubicBezTo>
                <a:cubicBezTo>
                  <a:pt x="9489" y="4644"/>
                  <a:pt x="9470" y="4688"/>
                  <a:pt x="9451" y="4732"/>
                </a:cubicBezTo>
                <a:cubicBezTo>
                  <a:pt x="9432" y="4787"/>
                  <a:pt x="9414" y="4841"/>
                  <a:pt x="9395" y="4896"/>
                </a:cubicBezTo>
                <a:lnTo>
                  <a:pt x="9332" y="4995"/>
                </a:lnTo>
                <a:cubicBezTo>
                  <a:pt x="9307" y="5027"/>
                  <a:pt x="9281" y="5060"/>
                  <a:pt x="9256" y="5093"/>
                </a:cubicBezTo>
                <a:cubicBezTo>
                  <a:pt x="9234" y="5126"/>
                  <a:pt x="9211" y="5158"/>
                  <a:pt x="9188" y="5191"/>
                </a:cubicBezTo>
                <a:lnTo>
                  <a:pt x="9107" y="5224"/>
                </a:lnTo>
                <a:lnTo>
                  <a:pt x="9107" y="5224"/>
                </a:lnTo>
                <a:lnTo>
                  <a:pt x="2" y="9404"/>
                </a:lnTo>
                <a:cubicBezTo>
                  <a:pt x="-1" y="9602"/>
                  <a:pt x="2" y="9801"/>
                  <a:pt x="0" y="10000"/>
                </a:cubicBezTo>
                <a:lnTo>
                  <a:pt x="9996" y="9989"/>
                </a:lnTo>
                <a:close/>
              </a:path>
            </a:pathLst>
          </a:custGeom>
          <a:solidFill>
            <a:schemeClr val="accent6"/>
          </a:solidFill>
          <a:ln>
            <a:noFill/>
          </a:ln>
        </p:spPr>
        <p:txBody>
          <a:bodyPr vert="horz" wrap="square" lIns="133428" tIns="66715" rIns="133428" bIns="66715" numCol="1" anchor="t" anchorCtr="0" compatLnSpc="1">
            <a:prstTxWarp prst="textNoShape">
              <a:avLst/>
            </a:prstTxWarp>
          </a:bodyPr>
          <a:lstStyle/>
          <a:p>
            <a:pPr marL="0" marR="0" lvl="0" indent="0" algn="l" defTabSz="478835" rtl="0" eaLnBrk="1" fontAlgn="auto" latinLnBrk="0" hangingPunct="1">
              <a:lnSpc>
                <a:spcPct val="100000"/>
              </a:lnSpc>
              <a:spcBef>
                <a:spcPts val="0"/>
              </a:spcBef>
              <a:spcAft>
                <a:spcPts val="0"/>
              </a:spcAft>
              <a:buClrTx/>
              <a:buSzTx/>
              <a:buFontTx/>
              <a:buNone/>
              <a:tabLst/>
              <a:defRPr/>
            </a:pPr>
            <a:endParaRPr kumimoji="1" lang="ja-JP" altLang="en-US" sz="2533"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endParaRPr>
          </a:p>
        </p:txBody>
      </p:sp>
      <p:sp>
        <p:nvSpPr>
          <p:cNvPr id="2" name="タイトル 1"/>
          <p:cNvSpPr>
            <a:spLocks noGrp="1"/>
          </p:cNvSpPr>
          <p:nvPr>
            <p:ph type="title"/>
          </p:nvPr>
        </p:nvSpPr>
        <p:spPr>
          <a:xfrm>
            <a:off x="368550" y="1959102"/>
            <a:ext cx="11451591" cy="540000"/>
          </a:xfrm>
          <a:prstGeom prst="rect">
            <a:avLst/>
          </a:prstGeom>
        </p:spPr>
        <p:txBody>
          <a:bodyPr lIns="95767" tIns="47884" rIns="95767" bIns="47884"/>
          <a:lstStyle>
            <a:lvl1pPr>
              <a:defRPr sz="3200">
                <a:latin typeface="Meiryo UI" panose="020B0604030504040204" pitchFamily="50" charset="-128"/>
                <a:ea typeface="Meiryo UI" panose="020B0604030504040204" pitchFamily="50" charset="-128"/>
              </a:defRPr>
            </a:lvl1pPr>
          </a:lstStyle>
          <a:p>
            <a:r>
              <a:rPr kumimoji="1" lang="ja-JP" altLang="en-US"/>
              <a:t>マスター タイトルの書式設定</a:t>
            </a:r>
          </a:p>
        </p:txBody>
      </p:sp>
      <p:sp>
        <p:nvSpPr>
          <p:cNvPr id="6" name="スライド番号プレースホルダー 5"/>
          <p:cNvSpPr>
            <a:spLocks noGrp="1"/>
          </p:cNvSpPr>
          <p:nvPr>
            <p:ph type="sldNum" sz="quarter" idx="12"/>
          </p:nvPr>
        </p:nvSpPr>
        <p:spPr>
          <a:xfrm>
            <a:off x="11524630" y="6468878"/>
            <a:ext cx="555811" cy="289299"/>
          </a:xfrm>
          <a:prstGeom prst="rect">
            <a:avLst/>
          </a:prstGeom>
        </p:spPr>
        <p:txBody>
          <a:bodyPr lIns="95767" tIns="47884" rIns="95767" bIns="47884"/>
          <a:lstStyle>
            <a:lvl1pPr algn="r">
              <a:defRPr sz="1050">
                <a:latin typeface="Meiryo UI" panose="020B0604030504040204" pitchFamily="50" charset="-128"/>
                <a:ea typeface="Meiryo UI" panose="020B0604030504040204" pitchFamily="50" charset="-128"/>
              </a:defRPr>
            </a:lvl1pPr>
          </a:lstStyle>
          <a:p>
            <a:pPr marL="0" marR="0" lvl="0" indent="0" algn="r" defTabSz="478835" rtl="0" eaLnBrk="1" fontAlgn="auto" latinLnBrk="0" hangingPunct="1">
              <a:lnSpc>
                <a:spcPct val="100000"/>
              </a:lnSpc>
              <a:spcBef>
                <a:spcPts val="0"/>
              </a:spcBef>
              <a:spcAft>
                <a:spcPts val="0"/>
              </a:spcAft>
              <a:buClrTx/>
              <a:buSzTx/>
              <a:buFontTx/>
              <a:buNone/>
              <a:tabLst/>
              <a:defRPr/>
            </a:pPr>
            <a:fld id="{2FF5E1DE-7B95-8A44-8552-65323269AE41}" type="slidenum">
              <a:rPr kumimoji="1" lang="ja-JP" altLang="en-US" sz="1050" b="0" i="0" u="none" strike="noStrike" kern="1200" cap="none" spc="0" normalizeH="0" baseline="0" noProof="0" smtClean="0">
                <a:ln>
                  <a:noFill/>
                </a:ln>
                <a:solidFill>
                  <a:srgbClr val="000000"/>
                </a:solidFill>
                <a:effectLst/>
                <a:uLnTx/>
                <a:uFillTx/>
                <a:latin typeface="Meiryo UI" panose="020B0604030504040204" pitchFamily="50" charset="-128"/>
                <a:ea typeface="Meiryo UI" panose="020B0604030504040204" pitchFamily="50" charset="-128"/>
                <a:cs typeface="+mn-cs"/>
              </a:rPr>
              <a:pPr marL="0" marR="0" lvl="0" indent="0" algn="r" defTabSz="478835" rtl="0" eaLnBrk="1" fontAlgn="auto" latinLnBrk="0" hangingPunct="1">
                <a:lnSpc>
                  <a:spcPct val="100000"/>
                </a:lnSpc>
                <a:spcBef>
                  <a:spcPts val="0"/>
                </a:spcBef>
                <a:spcAft>
                  <a:spcPts val="0"/>
                </a:spcAft>
                <a:buClrTx/>
                <a:buSzTx/>
                <a:buFontTx/>
                <a:buNone/>
                <a:tabLst/>
                <a:defRPr/>
              </a:pPr>
              <a:t>‹#›</a:t>
            </a:fld>
            <a:endParaRPr kumimoji="1" lang="ja-JP" altLang="en-US" sz="105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endParaRPr>
          </a:p>
        </p:txBody>
      </p:sp>
      <p:pic>
        <p:nvPicPr>
          <p:cNvPr id="8" name="Picture 2" descr="K:\新ロゴ（データ一式）\DLH_3_EN.png"/>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11038066" y="-34312"/>
            <a:ext cx="973128" cy="90043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86865860"/>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obj" preserve="1">
  <p:cSld name="26_タイトルとコンテンツ">
    <p:spTree>
      <p:nvGrpSpPr>
        <p:cNvPr id="1" name=""/>
        <p:cNvGrpSpPr/>
        <p:nvPr/>
      </p:nvGrpSpPr>
      <p:grpSpPr>
        <a:xfrm>
          <a:off x="0" y="0"/>
          <a:ext cx="0" cy="0"/>
          <a:chOff x="0" y="0"/>
          <a:chExt cx="0" cy="0"/>
        </a:xfrm>
      </p:grpSpPr>
      <p:sp>
        <p:nvSpPr>
          <p:cNvPr id="9" name="Freeform 8"/>
          <p:cNvSpPr>
            <a:spLocks/>
          </p:cNvSpPr>
          <p:nvPr userDrawn="1"/>
        </p:nvSpPr>
        <p:spPr bwMode="auto">
          <a:xfrm>
            <a:off x="-2100" y="5505984"/>
            <a:ext cx="12192504" cy="1353504"/>
          </a:xfrm>
          <a:custGeom>
            <a:avLst/>
            <a:gdLst>
              <a:gd name="T0" fmla="*/ 3622 w 3622"/>
              <a:gd name="T1" fmla="*/ 608 h 608"/>
              <a:gd name="T2" fmla="*/ 3622 w 3622"/>
              <a:gd name="T3" fmla="*/ 0 h 608"/>
              <a:gd name="T4" fmla="*/ 3622 w 3622"/>
              <a:gd name="T5" fmla="*/ 0 h 608"/>
              <a:gd name="T6" fmla="*/ 3622 w 3622"/>
              <a:gd name="T7" fmla="*/ 14 h 608"/>
              <a:gd name="T8" fmla="*/ 3616 w 3622"/>
              <a:gd name="T9" fmla="*/ 46 h 608"/>
              <a:gd name="T10" fmla="*/ 3612 w 3622"/>
              <a:gd name="T11" fmla="*/ 68 h 608"/>
              <a:gd name="T12" fmla="*/ 3604 w 3622"/>
              <a:gd name="T13" fmla="*/ 94 h 608"/>
              <a:gd name="T14" fmla="*/ 3596 w 3622"/>
              <a:gd name="T15" fmla="*/ 122 h 608"/>
              <a:gd name="T16" fmla="*/ 3584 w 3622"/>
              <a:gd name="T17" fmla="*/ 150 h 608"/>
              <a:gd name="T18" fmla="*/ 3568 w 3622"/>
              <a:gd name="T19" fmla="*/ 178 h 608"/>
              <a:gd name="T20" fmla="*/ 3550 w 3622"/>
              <a:gd name="T21" fmla="*/ 206 h 608"/>
              <a:gd name="T22" fmla="*/ 3526 w 3622"/>
              <a:gd name="T23" fmla="*/ 232 h 608"/>
              <a:gd name="T24" fmla="*/ 3514 w 3622"/>
              <a:gd name="T25" fmla="*/ 246 h 608"/>
              <a:gd name="T26" fmla="*/ 3498 w 3622"/>
              <a:gd name="T27" fmla="*/ 258 h 608"/>
              <a:gd name="T28" fmla="*/ 3484 w 3622"/>
              <a:gd name="T29" fmla="*/ 268 h 608"/>
              <a:gd name="T30" fmla="*/ 3466 w 3622"/>
              <a:gd name="T31" fmla="*/ 280 h 608"/>
              <a:gd name="T32" fmla="*/ 3448 w 3622"/>
              <a:gd name="T33" fmla="*/ 288 h 608"/>
              <a:gd name="T34" fmla="*/ 3430 w 3622"/>
              <a:gd name="T35" fmla="*/ 298 h 608"/>
              <a:gd name="T36" fmla="*/ 3410 w 3622"/>
              <a:gd name="T37" fmla="*/ 304 h 608"/>
              <a:gd name="T38" fmla="*/ 3386 w 3622"/>
              <a:gd name="T39" fmla="*/ 310 h 608"/>
              <a:gd name="T40" fmla="*/ 3364 w 3622"/>
              <a:gd name="T41" fmla="*/ 316 h 608"/>
              <a:gd name="T42" fmla="*/ 3338 w 3622"/>
              <a:gd name="T43" fmla="*/ 318 h 608"/>
              <a:gd name="T44" fmla="*/ 3338 w 3622"/>
              <a:gd name="T45" fmla="*/ 318 h 608"/>
              <a:gd name="T46" fmla="*/ 0 w 3622"/>
              <a:gd name="T47" fmla="*/ 608 h 608"/>
              <a:gd name="T48" fmla="*/ 3622 w 3622"/>
              <a:gd name="T49" fmla="*/ 608 h 608"/>
              <a:gd name="connsiteX0" fmla="*/ 10000 w 10000"/>
              <a:gd name="connsiteY0" fmla="*/ 10000 h 10000"/>
              <a:gd name="connsiteX1" fmla="*/ 10000 w 10000"/>
              <a:gd name="connsiteY1" fmla="*/ 0 h 10000"/>
              <a:gd name="connsiteX2" fmla="*/ 10000 w 10000"/>
              <a:gd name="connsiteY2" fmla="*/ 0 h 10000"/>
              <a:gd name="connsiteX3" fmla="*/ 10000 w 10000"/>
              <a:gd name="connsiteY3" fmla="*/ 230 h 10000"/>
              <a:gd name="connsiteX4" fmla="*/ 9983 w 10000"/>
              <a:gd name="connsiteY4" fmla="*/ 757 h 10000"/>
              <a:gd name="connsiteX5" fmla="*/ 9972 w 10000"/>
              <a:gd name="connsiteY5" fmla="*/ 1118 h 10000"/>
              <a:gd name="connsiteX6" fmla="*/ 9950 w 10000"/>
              <a:gd name="connsiteY6" fmla="*/ 1546 h 10000"/>
              <a:gd name="connsiteX7" fmla="*/ 9928 w 10000"/>
              <a:gd name="connsiteY7" fmla="*/ 2007 h 10000"/>
              <a:gd name="connsiteX8" fmla="*/ 9895 w 10000"/>
              <a:gd name="connsiteY8" fmla="*/ 2467 h 10000"/>
              <a:gd name="connsiteX9" fmla="*/ 9851 w 10000"/>
              <a:gd name="connsiteY9" fmla="*/ 2928 h 10000"/>
              <a:gd name="connsiteX10" fmla="*/ 9801 w 10000"/>
              <a:gd name="connsiteY10" fmla="*/ 3388 h 10000"/>
              <a:gd name="connsiteX11" fmla="*/ 9735 w 10000"/>
              <a:gd name="connsiteY11" fmla="*/ 3816 h 10000"/>
              <a:gd name="connsiteX12" fmla="*/ 9702 w 10000"/>
              <a:gd name="connsiteY12" fmla="*/ 4046 h 10000"/>
              <a:gd name="connsiteX13" fmla="*/ 9658 w 10000"/>
              <a:gd name="connsiteY13" fmla="*/ 4243 h 10000"/>
              <a:gd name="connsiteX14" fmla="*/ 9619 w 10000"/>
              <a:gd name="connsiteY14" fmla="*/ 4408 h 10000"/>
              <a:gd name="connsiteX15" fmla="*/ 9569 w 10000"/>
              <a:gd name="connsiteY15" fmla="*/ 4605 h 10000"/>
              <a:gd name="connsiteX16" fmla="*/ 9520 w 10000"/>
              <a:gd name="connsiteY16" fmla="*/ 4737 h 10000"/>
              <a:gd name="connsiteX17" fmla="*/ 9470 w 10000"/>
              <a:gd name="connsiteY17" fmla="*/ 4901 h 10000"/>
              <a:gd name="connsiteX18" fmla="*/ 9415 w 10000"/>
              <a:gd name="connsiteY18" fmla="*/ 5000 h 10000"/>
              <a:gd name="connsiteX19" fmla="*/ 9348 w 10000"/>
              <a:gd name="connsiteY19" fmla="*/ 5099 h 10000"/>
              <a:gd name="connsiteX20" fmla="*/ 9288 w 10000"/>
              <a:gd name="connsiteY20" fmla="*/ 5197 h 10000"/>
              <a:gd name="connsiteX21" fmla="*/ 9216 w 10000"/>
              <a:gd name="connsiteY21" fmla="*/ 5230 h 10000"/>
              <a:gd name="connsiteX22" fmla="*/ 9216 w 10000"/>
              <a:gd name="connsiteY22" fmla="*/ 5230 h 10000"/>
              <a:gd name="connsiteX23" fmla="*/ 1190 w 10000"/>
              <a:gd name="connsiteY23" fmla="*/ 9414 h 10000"/>
              <a:gd name="connsiteX24" fmla="*/ 0 w 10000"/>
              <a:gd name="connsiteY24" fmla="*/ 10000 h 10000"/>
              <a:gd name="connsiteX25" fmla="*/ 10000 w 10000"/>
              <a:gd name="connsiteY25" fmla="*/ 10000 h 10000"/>
              <a:gd name="connsiteX0" fmla="*/ 10000 w 10000"/>
              <a:gd name="connsiteY0" fmla="*/ 10000 h 10011"/>
              <a:gd name="connsiteX1" fmla="*/ 10000 w 10000"/>
              <a:gd name="connsiteY1" fmla="*/ 0 h 10011"/>
              <a:gd name="connsiteX2" fmla="*/ 10000 w 10000"/>
              <a:gd name="connsiteY2" fmla="*/ 0 h 10011"/>
              <a:gd name="connsiteX3" fmla="*/ 10000 w 10000"/>
              <a:gd name="connsiteY3" fmla="*/ 230 h 10011"/>
              <a:gd name="connsiteX4" fmla="*/ 9983 w 10000"/>
              <a:gd name="connsiteY4" fmla="*/ 757 h 10011"/>
              <a:gd name="connsiteX5" fmla="*/ 9972 w 10000"/>
              <a:gd name="connsiteY5" fmla="*/ 1118 h 10011"/>
              <a:gd name="connsiteX6" fmla="*/ 9950 w 10000"/>
              <a:gd name="connsiteY6" fmla="*/ 1546 h 10011"/>
              <a:gd name="connsiteX7" fmla="*/ 9928 w 10000"/>
              <a:gd name="connsiteY7" fmla="*/ 2007 h 10011"/>
              <a:gd name="connsiteX8" fmla="*/ 9895 w 10000"/>
              <a:gd name="connsiteY8" fmla="*/ 2467 h 10011"/>
              <a:gd name="connsiteX9" fmla="*/ 9851 w 10000"/>
              <a:gd name="connsiteY9" fmla="*/ 2928 h 10011"/>
              <a:gd name="connsiteX10" fmla="*/ 9801 w 10000"/>
              <a:gd name="connsiteY10" fmla="*/ 3388 h 10011"/>
              <a:gd name="connsiteX11" fmla="*/ 9735 w 10000"/>
              <a:gd name="connsiteY11" fmla="*/ 3816 h 10011"/>
              <a:gd name="connsiteX12" fmla="*/ 9702 w 10000"/>
              <a:gd name="connsiteY12" fmla="*/ 4046 h 10011"/>
              <a:gd name="connsiteX13" fmla="*/ 9658 w 10000"/>
              <a:gd name="connsiteY13" fmla="*/ 4243 h 10011"/>
              <a:gd name="connsiteX14" fmla="*/ 9619 w 10000"/>
              <a:gd name="connsiteY14" fmla="*/ 4408 h 10011"/>
              <a:gd name="connsiteX15" fmla="*/ 9569 w 10000"/>
              <a:gd name="connsiteY15" fmla="*/ 4605 h 10011"/>
              <a:gd name="connsiteX16" fmla="*/ 9520 w 10000"/>
              <a:gd name="connsiteY16" fmla="*/ 4737 h 10011"/>
              <a:gd name="connsiteX17" fmla="*/ 9470 w 10000"/>
              <a:gd name="connsiteY17" fmla="*/ 4901 h 10011"/>
              <a:gd name="connsiteX18" fmla="*/ 9415 w 10000"/>
              <a:gd name="connsiteY18" fmla="*/ 5000 h 10011"/>
              <a:gd name="connsiteX19" fmla="*/ 9348 w 10000"/>
              <a:gd name="connsiteY19" fmla="*/ 5099 h 10011"/>
              <a:gd name="connsiteX20" fmla="*/ 9288 w 10000"/>
              <a:gd name="connsiteY20" fmla="*/ 5197 h 10011"/>
              <a:gd name="connsiteX21" fmla="*/ 9216 w 10000"/>
              <a:gd name="connsiteY21" fmla="*/ 5230 h 10011"/>
              <a:gd name="connsiteX22" fmla="*/ 9216 w 10000"/>
              <a:gd name="connsiteY22" fmla="*/ 5230 h 10011"/>
              <a:gd name="connsiteX23" fmla="*/ 1190 w 10000"/>
              <a:gd name="connsiteY23" fmla="*/ 9414 h 10011"/>
              <a:gd name="connsiteX24" fmla="*/ 0 w 10000"/>
              <a:gd name="connsiteY24" fmla="*/ 10000 h 10011"/>
              <a:gd name="connsiteX25" fmla="*/ 1185 w 10000"/>
              <a:gd name="connsiteY25" fmla="*/ 10011 h 10011"/>
              <a:gd name="connsiteX26" fmla="*/ 10000 w 10000"/>
              <a:gd name="connsiteY26" fmla="*/ 10000 h 10011"/>
              <a:gd name="connsiteX0" fmla="*/ 8815 w 8815"/>
              <a:gd name="connsiteY0" fmla="*/ 10000 h 10011"/>
              <a:gd name="connsiteX1" fmla="*/ 8815 w 8815"/>
              <a:gd name="connsiteY1" fmla="*/ 0 h 10011"/>
              <a:gd name="connsiteX2" fmla="*/ 8815 w 8815"/>
              <a:gd name="connsiteY2" fmla="*/ 0 h 10011"/>
              <a:gd name="connsiteX3" fmla="*/ 8815 w 8815"/>
              <a:gd name="connsiteY3" fmla="*/ 230 h 10011"/>
              <a:gd name="connsiteX4" fmla="*/ 8798 w 8815"/>
              <a:gd name="connsiteY4" fmla="*/ 757 h 10011"/>
              <a:gd name="connsiteX5" fmla="*/ 8787 w 8815"/>
              <a:gd name="connsiteY5" fmla="*/ 1118 h 10011"/>
              <a:gd name="connsiteX6" fmla="*/ 8765 w 8815"/>
              <a:gd name="connsiteY6" fmla="*/ 1546 h 10011"/>
              <a:gd name="connsiteX7" fmla="*/ 8743 w 8815"/>
              <a:gd name="connsiteY7" fmla="*/ 2007 h 10011"/>
              <a:gd name="connsiteX8" fmla="*/ 8710 w 8815"/>
              <a:gd name="connsiteY8" fmla="*/ 2467 h 10011"/>
              <a:gd name="connsiteX9" fmla="*/ 8666 w 8815"/>
              <a:gd name="connsiteY9" fmla="*/ 2928 h 10011"/>
              <a:gd name="connsiteX10" fmla="*/ 8616 w 8815"/>
              <a:gd name="connsiteY10" fmla="*/ 3388 h 10011"/>
              <a:gd name="connsiteX11" fmla="*/ 8550 w 8815"/>
              <a:gd name="connsiteY11" fmla="*/ 3816 h 10011"/>
              <a:gd name="connsiteX12" fmla="*/ 8517 w 8815"/>
              <a:gd name="connsiteY12" fmla="*/ 4046 h 10011"/>
              <a:gd name="connsiteX13" fmla="*/ 8473 w 8815"/>
              <a:gd name="connsiteY13" fmla="*/ 4243 h 10011"/>
              <a:gd name="connsiteX14" fmla="*/ 8434 w 8815"/>
              <a:gd name="connsiteY14" fmla="*/ 4408 h 10011"/>
              <a:gd name="connsiteX15" fmla="*/ 8384 w 8815"/>
              <a:gd name="connsiteY15" fmla="*/ 4605 h 10011"/>
              <a:gd name="connsiteX16" fmla="*/ 8335 w 8815"/>
              <a:gd name="connsiteY16" fmla="*/ 4737 h 10011"/>
              <a:gd name="connsiteX17" fmla="*/ 8285 w 8815"/>
              <a:gd name="connsiteY17" fmla="*/ 4901 h 10011"/>
              <a:gd name="connsiteX18" fmla="*/ 8230 w 8815"/>
              <a:gd name="connsiteY18" fmla="*/ 5000 h 10011"/>
              <a:gd name="connsiteX19" fmla="*/ 8163 w 8815"/>
              <a:gd name="connsiteY19" fmla="*/ 5099 h 10011"/>
              <a:gd name="connsiteX20" fmla="*/ 8103 w 8815"/>
              <a:gd name="connsiteY20" fmla="*/ 5197 h 10011"/>
              <a:gd name="connsiteX21" fmla="*/ 8031 w 8815"/>
              <a:gd name="connsiteY21" fmla="*/ 5230 h 10011"/>
              <a:gd name="connsiteX22" fmla="*/ 8031 w 8815"/>
              <a:gd name="connsiteY22" fmla="*/ 5230 h 10011"/>
              <a:gd name="connsiteX23" fmla="*/ 5 w 8815"/>
              <a:gd name="connsiteY23" fmla="*/ 9414 h 10011"/>
              <a:gd name="connsiteX24" fmla="*/ 0 w 8815"/>
              <a:gd name="connsiteY24" fmla="*/ 10011 h 10011"/>
              <a:gd name="connsiteX25" fmla="*/ 8815 w 8815"/>
              <a:gd name="connsiteY25" fmla="*/ 10000 h 10011"/>
              <a:gd name="connsiteX0" fmla="*/ 9996 w 9996"/>
              <a:gd name="connsiteY0" fmla="*/ 9989 h 10000"/>
              <a:gd name="connsiteX1" fmla="*/ 9996 w 9996"/>
              <a:gd name="connsiteY1" fmla="*/ 0 h 10000"/>
              <a:gd name="connsiteX2" fmla="*/ 9996 w 9996"/>
              <a:gd name="connsiteY2" fmla="*/ 0 h 10000"/>
              <a:gd name="connsiteX3" fmla="*/ 9996 w 9996"/>
              <a:gd name="connsiteY3" fmla="*/ 230 h 10000"/>
              <a:gd name="connsiteX4" fmla="*/ 9977 w 9996"/>
              <a:gd name="connsiteY4" fmla="*/ 756 h 10000"/>
              <a:gd name="connsiteX5" fmla="*/ 9964 w 9996"/>
              <a:gd name="connsiteY5" fmla="*/ 1117 h 10000"/>
              <a:gd name="connsiteX6" fmla="*/ 9939 w 9996"/>
              <a:gd name="connsiteY6" fmla="*/ 1544 h 10000"/>
              <a:gd name="connsiteX7" fmla="*/ 9914 w 9996"/>
              <a:gd name="connsiteY7" fmla="*/ 2005 h 10000"/>
              <a:gd name="connsiteX8" fmla="*/ 9877 w 9996"/>
              <a:gd name="connsiteY8" fmla="*/ 2464 h 10000"/>
              <a:gd name="connsiteX9" fmla="*/ 9827 w 9996"/>
              <a:gd name="connsiteY9" fmla="*/ 2925 h 10000"/>
              <a:gd name="connsiteX10" fmla="*/ 9770 w 9996"/>
              <a:gd name="connsiteY10" fmla="*/ 3384 h 10000"/>
              <a:gd name="connsiteX11" fmla="*/ 9695 w 9996"/>
              <a:gd name="connsiteY11" fmla="*/ 3812 h 10000"/>
              <a:gd name="connsiteX12" fmla="*/ 9658 w 9996"/>
              <a:gd name="connsiteY12" fmla="*/ 4042 h 10000"/>
              <a:gd name="connsiteX13" fmla="*/ 9608 w 9996"/>
              <a:gd name="connsiteY13" fmla="*/ 4238 h 10000"/>
              <a:gd name="connsiteX14" fmla="*/ 9564 w 9996"/>
              <a:gd name="connsiteY14" fmla="*/ 4403 h 10000"/>
              <a:gd name="connsiteX15" fmla="*/ 9507 w 9996"/>
              <a:gd name="connsiteY15" fmla="*/ 4600 h 10000"/>
              <a:gd name="connsiteX16" fmla="*/ 9451 w 9996"/>
              <a:gd name="connsiteY16" fmla="*/ 4732 h 10000"/>
              <a:gd name="connsiteX17" fmla="*/ 9395 w 9996"/>
              <a:gd name="connsiteY17" fmla="*/ 4896 h 10000"/>
              <a:gd name="connsiteX18" fmla="*/ 9332 w 9996"/>
              <a:gd name="connsiteY18" fmla="*/ 4995 h 10000"/>
              <a:gd name="connsiteX19" fmla="*/ 9256 w 9996"/>
              <a:gd name="connsiteY19" fmla="*/ 5093 h 10000"/>
              <a:gd name="connsiteX20" fmla="*/ 9188 w 9996"/>
              <a:gd name="connsiteY20" fmla="*/ 5191 h 10000"/>
              <a:gd name="connsiteX21" fmla="*/ 9107 w 9996"/>
              <a:gd name="connsiteY21" fmla="*/ 5224 h 10000"/>
              <a:gd name="connsiteX22" fmla="*/ 9107 w 9996"/>
              <a:gd name="connsiteY22" fmla="*/ 5224 h 10000"/>
              <a:gd name="connsiteX23" fmla="*/ 2 w 9996"/>
              <a:gd name="connsiteY23" fmla="*/ 9404 h 10000"/>
              <a:gd name="connsiteX24" fmla="*/ 0 w 9996"/>
              <a:gd name="connsiteY24" fmla="*/ 10000 h 10000"/>
              <a:gd name="connsiteX25" fmla="*/ 9996 w 9996"/>
              <a:gd name="connsiteY25" fmla="*/ 9989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9996" h="10000">
                <a:moveTo>
                  <a:pt x="9996" y="9989"/>
                </a:moveTo>
                <a:lnTo>
                  <a:pt x="9996" y="0"/>
                </a:lnTo>
                <a:lnTo>
                  <a:pt x="9996" y="0"/>
                </a:lnTo>
                <a:lnTo>
                  <a:pt x="9996" y="230"/>
                </a:lnTo>
                <a:cubicBezTo>
                  <a:pt x="9989" y="406"/>
                  <a:pt x="9984" y="580"/>
                  <a:pt x="9977" y="756"/>
                </a:cubicBezTo>
                <a:cubicBezTo>
                  <a:pt x="9972" y="876"/>
                  <a:pt x="9969" y="997"/>
                  <a:pt x="9964" y="1117"/>
                </a:cubicBezTo>
                <a:cubicBezTo>
                  <a:pt x="9956" y="1260"/>
                  <a:pt x="9947" y="1401"/>
                  <a:pt x="9939" y="1544"/>
                </a:cubicBezTo>
                <a:cubicBezTo>
                  <a:pt x="9931" y="1698"/>
                  <a:pt x="9922" y="1851"/>
                  <a:pt x="9914" y="2005"/>
                </a:cubicBezTo>
                <a:cubicBezTo>
                  <a:pt x="9902" y="2158"/>
                  <a:pt x="9889" y="2311"/>
                  <a:pt x="9877" y="2464"/>
                </a:cubicBezTo>
                <a:cubicBezTo>
                  <a:pt x="9860" y="2618"/>
                  <a:pt x="9844" y="2771"/>
                  <a:pt x="9827" y="2925"/>
                </a:cubicBezTo>
                <a:cubicBezTo>
                  <a:pt x="9808" y="3078"/>
                  <a:pt x="9790" y="3231"/>
                  <a:pt x="9770" y="3384"/>
                </a:cubicBezTo>
                <a:cubicBezTo>
                  <a:pt x="9745" y="3527"/>
                  <a:pt x="9720" y="3669"/>
                  <a:pt x="9695" y="3812"/>
                </a:cubicBezTo>
                <a:cubicBezTo>
                  <a:pt x="9683" y="3889"/>
                  <a:pt x="9670" y="3965"/>
                  <a:pt x="9658" y="4042"/>
                </a:cubicBezTo>
                <a:cubicBezTo>
                  <a:pt x="9641" y="4107"/>
                  <a:pt x="9625" y="4172"/>
                  <a:pt x="9608" y="4238"/>
                </a:cubicBezTo>
                <a:cubicBezTo>
                  <a:pt x="9593" y="4293"/>
                  <a:pt x="9579" y="4348"/>
                  <a:pt x="9564" y="4403"/>
                </a:cubicBezTo>
                <a:cubicBezTo>
                  <a:pt x="9544" y="4469"/>
                  <a:pt x="9526" y="4534"/>
                  <a:pt x="9507" y="4600"/>
                </a:cubicBezTo>
                <a:cubicBezTo>
                  <a:pt x="9489" y="4644"/>
                  <a:pt x="9470" y="4688"/>
                  <a:pt x="9451" y="4732"/>
                </a:cubicBezTo>
                <a:cubicBezTo>
                  <a:pt x="9432" y="4787"/>
                  <a:pt x="9414" y="4841"/>
                  <a:pt x="9395" y="4896"/>
                </a:cubicBezTo>
                <a:lnTo>
                  <a:pt x="9332" y="4995"/>
                </a:lnTo>
                <a:cubicBezTo>
                  <a:pt x="9307" y="5027"/>
                  <a:pt x="9281" y="5060"/>
                  <a:pt x="9256" y="5093"/>
                </a:cubicBezTo>
                <a:cubicBezTo>
                  <a:pt x="9234" y="5126"/>
                  <a:pt x="9211" y="5158"/>
                  <a:pt x="9188" y="5191"/>
                </a:cubicBezTo>
                <a:lnTo>
                  <a:pt x="9107" y="5224"/>
                </a:lnTo>
                <a:lnTo>
                  <a:pt x="9107" y="5224"/>
                </a:lnTo>
                <a:lnTo>
                  <a:pt x="2" y="9404"/>
                </a:lnTo>
                <a:cubicBezTo>
                  <a:pt x="-1" y="9602"/>
                  <a:pt x="2" y="9801"/>
                  <a:pt x="0" y="10000"/>
                </a:cubicBezTo>
                <a:lnTo>
                  <a:pt x="9996" y="9989"/>
                </a:lnTo>
                <a:close/>
              </a:path>
            </a:pathLst>
          </a:custGeom>
          <a:solidFill>
            <a:schemeClr val="accent6"/>
          </a:solidFill>
          <a:ln>
            <a:noFill/>
          </a:ln>
        </p:spPr>
        <p:txBody>
          <a:bodyPr vert="horz" wrap="square" lIns="133428" tIns="66715" rIns="133428" bIns="66715" numCol="1" anchor="t" anchorCtr="0" compatLnSpc="1">
            <a:prstTxWarp prst="textNoShape">
              <a:avLst/>
            </a:prstTxWarp>
          </a:bodyPr>
          <a:lstStyle/>
          <a:p>
            <a:pPr marL="0" marR="0" lvl="0" indent="0" algn="l" defTabSz="478835" rtl="0" eaLnBrk="1" fontAlgn="auto" latinLnBrk="0" hangingPunct="1">
              <a:lnSpc>
                <a:spcPct val="100000"/>
              </a:lnSpc>
              <a:spcBef>
                <a:spcPts val="0"/>
              </a:spcBef>
              <a:spcAft>
                <a:spcPts val="0"/>
              </a:spcAft>
              <a:buClrTx/>
              <a:buSzTx/>
              <a:buFontTx/>
              <a:buNone/>
              <a:tabLst/>
              <a:defRPr/>
            </a:pPr>
            <a:endParaRPr kumimoji="1" lang="ja-JP" altLang="en-US" sz="2533"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endParaRPr>
          </a:p>
        </p:txBody>
      </p:sp>
      <p:sp>
        <p:nvSpPr>
          <p:cNvPr id="2" name="タイトル 1"/>
          <p:cNvSpPr>
            <a:spLocks noGrp="1"/>
          </p:cNvSpPr>
          <p:nvPr>
            <p:ph type="title"/>
          </p:nvPr>
        </p:nvSpPr>
        <p:spPr>
          <a:xfrm>
            <a:off x="368549" y="241861"/>
            <a:ext cx="9791452" cy="540000"/>
          </a:xfrm>
          <a:prstGeom prst="rect">
            <a:avLst/>
          </a:prstGeom>
        </p:spPr>
        <p:txBody>
          <a:bodyPr lIns="95767" tIns="47884" rIns="95767" bIns="47884" anchor="b"/>
          <a:lstStyle>
            <a:lvl1pPr>
              <a:defRPr sz="2200">
                <a:latin typeface="Meiryo UI" panose="020B0604030504040204" pitchFamily="50" charset="-128"/>
                <a:ea typeface="Meiryo UI" panose="020B0604030504040204" pitchFamily="50" charset="-128"/>
              </a:defRPr>
            </a:lvl1pPr>
          </a:lstStyle>
          <a:p>
            <a:r>
              <a:rPr kumimoji="1" lang="ja-JP" altLang="en-US"/>
              <a:t>マスター タイトルの書式設定</a:t>
            </a:r>
          </a:p>
        </p:txBody>
      </p:sp>
      <p:sp>
        <p:nvSpPr>
          <p:cNvPr id="3" name="コンテンツ プレースホルダー 2"/>
          <p:cNvSpPr>
            <a:spLocks noGrp="1"/>
          </p:cNvSpPr>
          <p:nvPr>
            <p:ph idx="1"/>
          </p:nvPr>
        </p:nvSpPr>
        <p:spPr>
          <a:xfrm>
            <a:off x="368551" y="903600"/>
            <a:ext cx="11583452" cy="5540400"/>
          </a:xfrm>
          <a:prstGeom prst="rect">
            <a:avLst/>
          </a:prstGeom>
        </p:spPr>
        <p:txBody>
          <a:bodyPr lIns="95767" tIns="47884" rIns="95767" bIns="47884"/>
          <a:lstStyle>
            <a:lvl1pPr>
              <a:defRPr sz="1800">
                <a:latin typeface="Meiryo UI" panose="020B0604030504040204" pitchFamily="50" charset="-128"/>
                <a:ea typeface="Meiryo UI" panose="020B0604030504040204" pitchFamily="50" charset="-128"/>
              </a:defRPr>
            </a:lvl1pPr>
            <a:lvl2pPr indent="-236233">
              <a:defRPr sz="1800">
                <a:latin typeface="Meiryo UI" panose="020B0604030504040204" pitchFamily="50" charset="-128"/>
                <a:ea typeface="Meiryo UI" panose="020B0604030504040204" pitchFamily="50" charset="-128"/>
              </a:defRPr>
            </a:lvl2pPr>
            <a:lvl3pPr indent="-236233">
              <a:defRPr sz="1800">
                <a:latin typeface="Meiryo UI" panose="020B0604030504040204" pitchFamily="50" charset="-128"/>
                <a:ea typeface="Meiryo UI" panose="020B0604030504040204" pitchFamily="50" charset="-128"/>
              </a:defRPr>
            </a:lvl3pPr>
            <a:lvl4pPr indent="-236233">
              <a:defRPr sz="1800">
                <a:latin typeface="Meiryo UI" panose="020B0604030504040204" pitchFamily="50" charset="-128"/>
                <a:ea typeface="Meiryo UI" panose="020B0604030504040204" pitchFamily="50" charset="-128"/>
              </a:defRPr>
            </a:lvl4pPr>
            <a:lvl5pPr indent="-236233">
              <a:defRPr sz="1800">
                <a:latin typeface="Meiryo UI" panose="020B0604030504040204" pitchFamily="50" charset="-128"/>
                <a:ea typeface="Meiryo UI" panose="020B0604030504040204" pitchFamily="50" charset="-128"/>
              </a:defRPr>
            </a:lvl5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6" name="スライド番号プレースホルダー 5"/>
          <p:cNvSpPr>
            <a:spLocks noGrp="1"/>
          </p:cNvSpPr>
          <p:nvPr>
            <p:ph type="sldNum" sz="quarter" idx="12"/>
          </p:nvPr>
        </p:nvSpPr>
        <p:spPr>
          <a:xfrm>
            <a:off x="11524630" y="6468878"/>
            <a:ext cx="555811" cy="289299"/>
          </a:xfrm>
          <a:prstGeom prst="rect">
            <a:avLst/>
          </a:prstGeom>
        </p:spPr>
        <p:txBody>
          <a:bodyPr lIns="95767" tIns="47884" rIns="95767" bIns="47884"/>
          <a:lstStyle>
            <a:lvl1pPr algn="r">
              <a:defRPr sz="1050">
                <a:latin typeface="Meiryo UI" panose="020B0604030504040204" pitchFamily="50" charset="-128"/>
                <a:ea typeface="Meiryo UI" panose="020B0604030504040204" pitchFamily="50" charset="-128"/>
              </a:defRPr>
            </a:lvl1pPr>
          </a:lstStyle>
          <a:p>
            <a:pPr marL="0" marR="0" lvl="0" indent="0" algn="r" defTabSz="478835" rtl="0" eaLnBrk="1" fontAlgn="auto" latinLnBrk="0" hangingPunct="1">
              <a:lnSpc>
                <a:spcPct val="100000"/>
              </a:lnSpc>
              <a:spcBef>
                <a:spcPts val="0"/>
              </a:spcBef>
              <a:spcAft>
                <a:spcPts val="0"/>
              </a:spcAft>
              <a:buClrTx/>
              <a:buSzTx/>
              <a:buFontTx/>
              <a:buNone/>
              <a:tabLst/>
              <a:defRPr/>
            </a:pPr>
            <a:fld id="{2FF5E1DE-7B95-8A44-8552-65323269AE41}" type="slidenum">
              <a:rPr kumimoji="1" lang="ja-JP" altLang="en-US" sz="1050" b="0" i="0" u="none" strike="noStrike" kern="1200" cap="none" spc="0" normalizeH="0" baseline="0" noProof="0" smtClean="0">
                <a:ln>
                  <a:noFill/>
                </a:ln>
                <a:solidFill>
                  <a:srgbClr val="000000"/>
                </a:solidFill>
                <a:effectLst/>
                <a:uLnTx/>
                <a:uFillTx/>
                <a:latin typeface="Meiryo UI" panose="020B0604030504040204" pitchFamily="50" charset="-128"/>
                <a:ea typeface="Meiryo UI" panose="020B0604030504040204" pitchFamily="50" charset="-128"/>
                <a:cs typeface="+mn-cs"/>
              </a:rPr>
              <a:pPr marL="0" marR="0" lvl="0" indent="0" algn="r" defTabSz="478835" rtl="0" eaLnBrk="1" fontAlgn="auto" latinLnBrk="0" hangingPunct="1">
                <a:lnSpc>
                  <a:spcPct val="100000"/>
                </a:lnSpc>
                <a:spcBef>
                  <a:spcPts val="0"/>
                </a:spcBef>
                <a:spcAft>
                  <a:spcPts val="0"/>
                </a:spcAft>
                <a:buClrTx/>
                <a:buSzTx/>
                <a:buFontTx/>
                <a:buNone/>
                <a:tabLst/>
                <a:defRPr/>
              </a:pPr>
              <a:t>‹#›</a:t>
            </a:fld>
            <a:endParaRPr kumimoji="1" lang="ja-JP" altLang="en-US" sz="105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endParaRPr>
          </a:p>
        </p:txBody>
      </p:sp>
      <p:cxnSp>
        <p:nvCxnSpPr>
          <p:cNvPr id="8" name="直線コネクタ 7"/>
          <p:cNvCxnSpPr/>
          <p:nvPr userDrawn="1"/>
        </p:nvCxnSpPr>
        <p:spPr>
          <a:xfrm>
            <a:off x="239959" y="817200"/>
            <a:ext cx="11709966" cy="0"/>
          </a:xfrm>
          <a:prstGeom prst="line">
            <a:avLst/>
          </a:prstGeom>
          <a:ln>
            <a:solidFill>
              <a:srgbClr val="92846E"/>
            </a:solidFill>
          </a:ln>
          <a:effectLst/>
        </p:spPr>
        <p:style>
          <a:lnRef idx="2">
            <a:schemeClr val="accent1"/>
          </a:lnRef>
          <a:fillRef idx="0">
            <a:schemeClr val="accent1"/>
          </a:fillRef>
          <a:effectRef idx="1">
            <a:schemeClr val="accent1"/>
          </a:effectRef>
          <a:fontRef idx="minor">
            <a:schemeClr val="tx1"/>
          </a:fontRef>
        </p:style>
      </p:cxnSp>
      <p:pic>
        <p:nvPicPr>
          <p:cNvPr id="10" name="Picture 2" descr="K:\新ロゴ（データ一式）\DLH_3_EN.png"/>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11038066" y="-34312"/>
            <a:ext cx="973128" cy="90043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84090890"/>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type="title" preserve="1">
  <p:cSld name="1_タイトル スライド">
    <p:spTree>
      <p:nvGrpSpPr>
        <p:cNvPr id="1" name=""/>
        <p:cNvGrpSpPr/>
        <p:nvPr/>
      </p:nvGrpSpPr>
      <p:grpSpPr>
        <a:xfrm>
          <a:off x="0" y="0"/>
          <a:ext cx="0" cy="0"/>
          <a:chOff x="0" y="0"/>
          <a:chExt cx="0" cy="0"/>
        </a:xfrm>
      </p:grpSpPr>
      <p:sp>
        <p:nvSpPr>
          <p:cNvPr id="10" name="Freeform 5"/>
          <p:cNvSpPr>
            <a:spLocks/>
          </p:cNvSpPr>
          <p:nvPr userDrawn="1"/>
        </p:nvSpPr>
        <p:spPr bwMode="auto">
          <a:xfrm>
            <a:off x="233538" y="169337"/>
            <a:ext cx="11730712" cy="5207000"/>
          </a:xfrm>
          <a:custGeom>
            <a:avLst/>
            <a:gdLst>
              <a:gd name="T0" fmla="*/ 0 w 1618"/>
              <a:gd name="T1" fmla="*/ 0 h 957"/>
              <a:gd name="T2" fmla="*/ 0 w 1618"/>
              <a:gd name="T3" fmla="*/ 957 h 957"/>
              <a:gd name="T4" fmla="*/ 1279 w 1618"/>
              <a:gd name="T5" fmla="*/ 842 h 957"/>
              <a:gd name="T6" fmla="*/ 1618 w 1618"/>
              <a:gd name="T7" fmla="*/ 472 h 957"/>
              <a:gd name="T8" fmla="*/ 1618 w 1618"/>
              <a:gd name="T9" fmla="*/ 0 h 957"/>
              <a:gd name="T10" fmla="*/ 0 w 1618"/>
              <a:gd name="T11" fmla="*/ 0 h 957"/>
            </a:gdLst>
            <a:ahLst/>
            <a:cxnLst>
              <a:cxn ang="0">
                <a:pos x="T0" y="T1"/>
              </a:cxn>
              <a:cxn ang="0">
                <a:pos x="T2" y="T3"/>
              </a:cxn>
              <a:cxn ang="0">
                <a:pos x="T4" y="T5"/>
              </a:cxn>
              <a:cxn ang="0">
                <a:pos x="T6" y="T7"/>
              </a:cxn>
              <a:cxn ang="0">
                <a:pos x="T8" y="T9"/>
              </a:cxn>
              <a:cxn ang="0">
                <a:pos x="T10" y="T11"/>
              </a:cxn>
            </a:cxnLst>
            <a:rect l="0" t="0" r="r" b="b"/>
            <a:pathLst>
              <a:path w="1618" h="957">
                <a:moveTo>
                  <a:pt x="0" y="0"/>
                </a:moveTo>
                <a:cubicBezTo>
                  <a:pt x="0" y="957"/>
                  <a:pt x="0" y="957"/>
                  <a:pt x="0" y="957"/>
                </a:cubicBezTo>
                <a:cubicBezTo>
                  <a:pt x="1279" y="842"/>
                  <a:pt x="1279" y="842"/>
                  <a:pt x="1279" y="842"/>
                </a:cubicBezTo>
                <a:cubicBezTo>
                  <a:pt x="1465" y="825"/>
                  <a:pt x="1618" y="659"/>
                  <a:pt x="1618" y="472"/>
                </a:cubicBezTo>
                <a:cubicBezTo>
                  <a:pt x="1618" y="0"/>
                  <a:pt x="1618" y="0"/>
                  <a:pt x="1618" y="0"/>
                </a:cubicBezTo>
                <a:lnTo>
                  <a:pt x="0" y="0"/>
                </a:lnTo>
                <a:close/>
              </a:path>
            </a:pathLst>
          </a:custGeom>
          <a:solidFill>
            <a:schemeClr val="accent2"/>
          </a:solidFill>
          <a:ln>
            <a:noFill/>
          </a:ln>
        </p:spPr>
        <p:txBody>
          <a:bodyPr lIns="127667" tIns="63834" rIns="127667" bIns="63834"/>
          <a:lstStyle/>
          <a:p>
            <a:endParaRPr lang="ja-JP" altLang="en-US" sz="2533"/>
          </a:p>
        </p:txBody>
      </p:sp>
      <p:sp>
        <p:nvSpPr>
          <p:cNvPr id="2" name="タイトル 1"/>
          <p:cNvSpPr>
            <a:spLocks noGrp="1"/>
          </p:cNvSpPr>
          <p:nvPr>
            <p:ph type="ctrTitle"/>
          </p:nvPr>
        </p:nvSpPr>
        <p:spPr>
          <a:xfrm>
            <a:off x="914400" y="1416804"/>
            <a:ext cx="10363200" cy="1470025"/>
          </a:xfrm>
          <a:prstGeom prst="rect">
            <a:avLst/>
          </a:prstGeom>
        </p:spPr>
        <p:txBody>
          <a:bodyPr lIns="95767" tIns="47884" rIns="95767" bIns="47884" anchor="b">
            <a:normAutofit/>
          </a:bodyPr>
          <a:lstStyle>
            <a:lvl1pPr algn="l">
              <a:defRPr sz="5199" kern="1200">
                <a:solidFill>
                  <a:schemeClr val="bg1"/>
                </a:solidFill>
                <a:latin typeface="Meiryo UI" panose="020B0604030504040204" pitchFamily="50" charset="-128"/>
                <a:ea typeface="Meiryo UI" panose="020B0604030504040204" pitchFamily="50" charset="-128"/>
              </a:defRPr>
            </a:lvl1pPr>
          </a:lstStyle>
          <a:p>
            <a:r>
              <a:rPr kumimoji="1" lang="ja-JP" altLang="en-US"/>
              <a:t>マスター タイトルの書式設定</a:t>
            </a:r>
          </a:p>
        </p:txBody>
      </p:sp>
      <p:sp>
        <p:nvSpPr>
          <p:cNvPr id="3" name="サブタイトル 2"/>
          <p:cNvSpPr>
            <a:spLocks noGrp="1"/>
          </p:cNvSpPr>
          <p:nvPr>
            <p:ph type="subTitle" idx="1"/>
          </p:nvPr>
        </p:nvSpPr>
        <p:spPr>
          <a:xfrm>
            <a:off x="916801" y="3420000"/>
            <a:ext cx="9691436" cy="977153"/>
          </a:xfrm>
          <a:prstGeom prst="rect">
            <a:avLst/>
          </a:prstGeom>
        </p:spPr>
        <p:txBody>
          <a:bodyPr lIns="95767" tIns="47884" rIns="95767" bIns="47884">
            <a:normAutofit/>
          </a:bodyPr>
          <a:lstStyle>
            <a:lvl1pPr marL="0" indent="0" algn="l">
              <a:buNone/>
              <a:defRPr sz="3333">
                <a:solidFill>
                  <a:schemeClr val="bg1"/>
                </a:solidFill>
                <a:latin typeface="Meiryo UI" panose="020B0604030504040204" pitchFamily="50" charset="-128"/>
                <a:ea typeface="Meiryo UI" panose="020B0604030504040204" pitchFamily="50" charset="-128"/>
              </a:defRPr>
            </a:lvl1pPr>
            <a:lvl2pPr marL="638335" indent="0" algn="ctr">
              <a:buNone/>
              <a:defRPr>
                <a:solidFill>
                  <a:schemeClr val="tx1">
                    <a:tint val="75000"/>
                  </a:schemeClr>
                </a:solidFill>
              </a:defRPr>
            </a:lvl2pPr>
            <a:lvl3pPr marL="1276669" indent="0" algn="ctr">
              <a:buNone/>
              <a:defRPr>
                <a:solidFill>
                  <a:schemeClr val="tx1">
                    <a:tint val="75000"/>
                  </a:schemeClr>
                </a:solidFill>
              </a:defRPr>
            </a:lvl3pPr>
            <a:lvl4pPr marL="1915003" indent="0" algn="ctr">
              <a:buNone/>
              <a:defRPr>
                <a:solidFill>
                  <a:schemeClr val="tx1">
                    <a:tint val="75000"/>
                  </a:schemeClr>
                </a:solidFill>
              </a:defRPr>
            </a:lvl4pPr>
            <a:lvl5pPr marL="2553338" indent="0" algn="ctr">
              <a:buNone/>
              <a:defRPr>
                <a:solidFill>
                  <a:schemeClr val="tx1">
                    <a:tint val="75000"/>
                  </a:schemeClr>
                </a:solidFill>
              </a:defRPr>
            </a:lvl5pPr>
            <a:lvl6pPr marL="3191671" indent="0" algn="ctr">
              <a:buNone/>
              <a:defRPr>
                <a:solidFill>
                  <a:schemeClr val="tx1">
                    <a:tint val="75000"/>
                  </a:schemeClr>
                </a:solidFill>
              </a:defRPr>
            </a:lvl6pPr>
            <a:lvl7pPr marL="3830007" indent="0" algn="ctr">
              <a:buNone/>
              <a:defRPr>
                <a:solidFill>
                  <a:schemeClr val="tx1">
                    <a:tint val="75000"/>
                  </a:schemeClr>
                </a:solidFill>
              </a:defRPr>
            </a:lvl7pPr>
            <a:lvl8pPr marL="4468342" indent="0" algn="ctr">
              <a:buNone/>
              <a:defRPr>
                <a:solidFill>
                  <a:schemeClr val="tx1">
                    <a:tint val="75000"/>
                  </a:schemeClr>
                </a:solidFill>
              </a:defRPr>
            </a:lvl8pPr>
            <a:lvl9pPr marL="5106676" indent="0" algn="ctr">
              <a:buNone/>
              <a:defRPr>
                <a:solidFill>
                  <a:schemeClr val="tx1">
                    <a:tint val="75000"/>
                  </a:schemeClr>
                </a:solidFill>
              </a:defRPr>
            </a:lvl9pPr>
          </a:lstStyle>
          <a:p>
            <a:r>
              <a:rPr kumimoji="1" lang="ja-JP" altLang="en-US"/>
              <a:t>マスター サブタイトルの書式設定</a:t>
            </a:r>
          </a:p>
        </p:txBody>
      </p:sp>
      <p:sp>
        <p:nvSpPr>
          <p:cNvPr id="9" name="フッター プレースホルダー 12"/>
          <p:cNvSpPr>
            <a:spLocks noGrp="1"/>
          </p:cNvSpPr>
          <p:nvPr>
            <p:ph type="ftr" sz="quarter" idx="11"/>
          </p:nvPr>
        </p:nvSpPr>
        <p:spPr>
          <a:xfrm>
            <a:off x="609600" y="6099529"/>
            <a:ext cx="3860800" cy="365125"/>
          </a:xfrm>
          <a:prstGeom prst="rect">
            <a:avLst/>
          </a:prstGeom>
        </p:spPr>
        <p:txBody>
          <a:bodyPr lIns="95767" tIns="47884" rIns="95767" bIns="47884"/>
          <a:lstStyle>
            <a:lvl1pPr algn="l">
              <a:defRPr sz="2266">
                <a:latin typeface="Meiryo UI" panose="020B0604030504040204" pitchFamily="50" charset="-128"/>
                <a:ea typeface="Meiryo UI" panose="020B0604030504040204" pitchFamily="50" charset="-128"/>
              </a:defRPr>
            </a:lvl1pPr>
          </a:lstStyle>
          <a:p>
            <a:endParaRPr lang="ja-JP" altLang="en-US"/>
          </a:p>
        </p:txBody>
      </p:sp>
      <p:sp>
        <p:nvSpPr>
          <p:cNvPr id="12" name="日付プレースホルダー 11"/>
          <p:cNvSpPr>
            <a:spLocks noGrp="1"/>
          </p:cNvSpPr>
          <p:nvPr>
            <p:ph type="dt" sz="half" idx="10"/>
          </p:nvPr>
        </p:nvSpPr>
        <p:spPr>
          <a:xfrm>
            <a:off x="609600" y="5691768"/>
            <a:ext cx="3860800" cy="365125"/>
          </a:xfrm>
          <a:prstGeom prst="rect">
            <a:avLst/>
          </a:prstGeom>
        </p:spPr>
        <p:txBody>
          <a:bodyPr lIns="95767" tIns="47884" rIns="95767" bIns="47884"/>
          <a:lstStyle>
            <a:lvl1pPr algn="l">
              <a:defRPr sz="2266">
                <a:solidFill>
                  <a:srgbClr val="000000"/>
                </a:solidFill>
                <a:latin typeface="Meiryo UI" panose="020B0604030504040204" pitchFamily="50" charset="-128"/>
                <a:ea typeface="Meiryo UI" panose="020B0604030504040204" pitchFamily="50" charset="-128"/>
              </a:defRPr>
            </a:lvl1pPr>
          </a:lstStyle>
          <a:p>
            <a:endParaRPr lang="ja-JP" altLang="en-US"/>
          </a:p>
        </p:txBody>
      </p:sp>
      <p:pic>
        <p:nvPicPr>
          <p:cNvPr id="11" name="Picture 2" descr="C:\Users\00057835\AppData\Local\Temp\notesEA5B2A\グループ併記ロゴ（縦・英文）.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9672823" y="5316525"/>
            <a:ext cx="2519177" cy="1507239"/>
          </a:xfrm>
          <a:prstGeom prst="rect">
            <a:avLst/>
          </a:prstGeom>
          <a:noFill/>
          <a:extLst>
            <a:ext uri="{909E8E84-426E-40DD-AFC4-6F175D3DCCD1}">
              <a14:hiddenFill xmlns:a14="http://schemas.microsoft.com/office/drawing/2010/main">
                <a:solidFill>
                  <a:srgbClr val="FFFFFF"/>
                </a:solidFill>
              </a14:hiddenFill>
            </a:ext>
          </a:extLst>
        </p:spPr>
      </p:pic>
      <p:pic>
        <p:nvPicPr>
          <p:cNvPr id="5" name="図 4" descr="テキスト&#10;&#10;自動的に生成された説明">
            <a:extLst>
              <a:ext uri="{FF2B5EF4-FFF2-40B4-BE49-F238E27FC236}">
                <a16:creationId xmlns:a16="http://schemas.microsoft.com/office/drawing/2014/main" id="{01F41C4B-80DA-47D5-AD1C-68529F2E0EBF}"/>
              </a:ext>
            </a:extLst>
          </p:cNvPr>
          <p:cNvPicPr>
            <a:picLocks noChangeAspect="1"/>
          </p:cNvPicPr>
          <p:nvPr userDrawn="1"/>
        </p:nvPicPr>
        <p:blipFill>
          <a:blip r:embed="rId3"/>
          <a:stretch>
            <a:fillRect/>
          </a:stretch>
        </p:blipFill>
        <p:spPr>
          <a:xfrm>
            <a:off x="7614083" y="5874330"/>
            <a:ext cx="2138567" cy="637168"/>
          </a:xfrm>
          <a:prstGeom prst="rect">
            <a:avLst/>
          </a:prstGeom>
        </p:spPr>
      </p:pic>
    </p:spTree>
    <p:extLst>
      <p:ext uri="{BB962C8B-B14F-4D97-AF65-F5344CB8AC3E}">
        <p14:creationId xmlns:p14="http://schemas.microsoft.com/office/powerpoint/2010/main" val="3286207540"/>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5_タイトルとコンテンツ">
    <p:spTree>
      <p:nvGrpSpPr>
        <p:cNvPr id="1" name=""/>
        <p:cNvGrpSpPr/>
        <p:nvPr/>
      </p:nvGrpSpPr>
      <p:grpSpPr>
        <a:xfrm>
          <a:off x="0" y="0"/>
          <a:ext cx="0" cy="0"/>
          <a:chOff x="0" y="0"/>
          <a:chExt cx="0" cy="0"/>
        </a:xfrm>
      </p:grpSpPr>
      <p:sp>
        <p:nvSpPr>
          <p:cNvPr id="9" name="Freeform 8"/>
          <p:cNvSpPr>
            <a:spLocks/>
          </p:cNvSpPr>
          <p:nvPr userDrawn="1"/>
        </p:nvSpPr>
        <p:spPr bwMode="auto">
          <a:xfrm>
            <a:off x="-2100" y="5505984"/>
            <a:ext cx="12192504" cy="1353504"/>
          </a:xfrm>
          <a:custGeom>
            <a:avLst/>
            <a:gdLst>
              <a:gd name="T0" fmla="*/ 3622 w 3622"/>
              <a:gd name="T1" fmla="*/ 608 h 608"/>
              <a:gd name="T2" fmla="*/ 3622 w 3622"/>
              <a:gd name="T3" fmla="*/ 0 h 608"/>
              <a:gd name="T4" fmla="*/ 3622 w 3622"/>
              <a:gd name="T5" fmla="*/ 0 h 608"/>
              <a:gd name="T6" fmla="*/ 3622 w 3622"/>
              <a:gd name="T7" fmla="*/ 14 h 608"/>
              <a:gd name="T8" fmla="*/ 3616 w 3622"/>
              <a:gd name="T9" fmla="*/ 46 h 608"/>
              <a:gd name="T10" fmla="*/ 3612 w 3622"/>
              <a:gd name="T11" fmla="*/ 68 h 608"/>
              <a:gd name="T12" fmla="*/ 3604 w 3622"/>
              <a:gd name="T13" fmla="*/ 94 h 608"/>
              <a:gd name="T14" fmla="*/ 3596 w 3622"/>
              <a:gd name="T15" fmla="*/ 122 h 608"/>
              <a:gd name="T16" fmla="*/ 3584 w 3622"/>
              <a:gd name="T17" fmla="*/ 150 h 608"/>
              <a:gd name="T18" fmla="*/ 3568 w 3622"/>
              <a:gd name="T19" fmla="*/ 178 h 608"/>
              <a:gd name="T20" fmla="*/ 3550 w 3622"/>
              <a:gd name="T21" fmla="*/ 206 h 608"/>
              <a:gd name="T22" fmla="*/ 3526 w 3622"/>
              <a:gd name="T23" fmla="*/ 232 h 608"/>
              <a:gd name="T24" fmla="*/ 3514 w 3622"/>
              <a:gd name="T25" fmla="*/ 246 h 608"/>
              <a:gd name="T26" fmla="*/ 3498 w 3622"/>
              <a:gd name="T27" fmla="*/ 258 h 608"/>
              <a:gd name="T28" fmla="*/ 3484 w 3622"/>
              <a:gd name="T29" fmla="*/ 268 h 608"/>
              <a:gd name="T30" fmla="*/ 3466 w 3622"/>
              <a:gd name="T31" fmla="*/ 280 h 608"/>
              <a:gd name="T32" fmla="*/ 3448 w 3622"/>
              <a:gd name="T33" fmla="*/ 288 h 608"/>
              <a:gd name="T34" fmla="*/ 3430 w 3622"/>
              <a:gd name="T35" fmla="*/ 298 h 608"/>
              <a:gd name="T36" fmla="*/ 3410 w 3622"/>
              <a:gd name="T37" fmla="*/ 304 h 608"/>
              <a:gd name="T38" fmla="*/ 3386 w 3622"/>
              <a:gd name="T39" fmla="*/ 310 h 608"/>
              <a:gd name="T40" fmla="*/ 3364 w 3622"/>
              <a:gd name="T41" fmla="*/ 316 h 608"/>
              <a:gd name="T42" fmla="*/ 3338 w 3622"/>
              <a:gd name="T43" fmla="*/ 318 h 608"/>
              <a:gd name="T44" fmla="*/ 3338 w 3622"/>
              <a:gd name="T45" fmla="*/ 318 h 608"/>
              <a:gd name="T46" fmla="*/ 0 w 3622"/>
              <a:gd name="T47" fmla="*/ 608 h 608"/>
              <a:gd name="T48" fmla="*/ 3622 w 3622"/>
              <a:gd name="T49" fmla="*/ 608 h 608"/>
              <a:gd name="connsiteX0" fmla="*/ 10000 w 10000"/>
              <a:gd name="connsiteY0" fmla="*/ 10000 h 10000"/>
              <a:gd name="connsiteX1" fmla="*/ 10000 w 10000"/>
              <a:gd name="connsiteY1" fmla="*/ 0 h 10000"/>
              <a:gd name="connsiteX2" fmla="*/ 10000 w 10000"/>
              <a:gd name="connsiteY2" fmla="*/ 0 h 10000"/>
              <a:gd name="connsiteX3" fmla="*/ 10000 w 10000"/>
              <a:gd name="connsiteY3" fmla="*/ 230 h 10000"/>
              <a:gd name="connsiteX4" fmla="*/ 9983 w 10000"/>
              <a:gd name="connsiteY4" fmla="*/ 757 h 10000"/>
              <a:gd name="connsiteX5" fmla="*/ 9972 w 10000"/>
              <a:gd name="connsiteY5" fmla="*/ 1118 h 10000"/>
              <a:gd name="connsiteX6" fmla="*/ 9950 w 10000"/>
              <a:gd name="connsiteY6" fmla="*/ 1546 h 10000"/>
              <a:gd name="connsiteX7" fmla="*/ 9928 w 10000"/>
              <a:gd name="connsiteY7" fmla="*/ 2007 h 10000"/>
              <a:gd name="connsiteX8" fmla="*/ 9895 w 10000"/>
              <a:gd name="connsiteY8" fmla="*/ 2467 h 10000"/>
              <a:gd name="connsiteX9" fmla="*/ 9851 w 10000"/>
              <a:gd name="connsiteY9" fmla="*/ 2928 h 10000"/>
              <a:gd name="connsiteX10" fmla="*/ 9801 w 10000"/>
              <a:gd name="connsiteY10" fmla="*/ 3388 h 10000"/>
              <a:gd name="connsiteX11" fmla="*/ 9735 w 10000"/>
              <a:gd name="connsiteY11" fmla="*/ 3816 h 10000"/>
              <a:gd name="connsiteX12" fmla="*/ 9702 w 10000"/>
              <a:gd name="connsiteY12" fmla="*/ 4046 h 10000"/>
              <a:gd name="connsiteX13" fmla="*/ 9658 w 10000"/>
              <a:gd name="connsiteY13" fmla="*/ 4243 h 10000"/>
              <a:gd name="connsiteX14" fmla="*/ 9619 w 10000"/>
              <a:gd name="connsiteY14" fmla="*/ 4408 h 10000"/>
              <a:gd name="connsiteX15" fmla="*/ 9569 w 10000"/>
              <a:gd name="connsiteY15" fmla="*/ 4605 h 10000"/>
              <a:gd name="connsiteX16" fmla="*/ 9520 w 10000"/>
              <a:gd name="connsiteY16" fmla="*/ 4737 h 10000"/>
              <a:gd name="connsiteX17" fmla="*/ 9470 w 10000"/>
              <a:gd name="connsiteY17" fmla="*/ 4901 h 10000"/>
              <a:gd name="connsiteX18" fmla="*/ 9415 w 10000"/>
              <a:gd name="connsiteY18" fmla="*/ 5000 h 10000"/>
              <a:gd name="connsiteX19" fmla="*/ 9348 w 10000"/>
              <a:gd name="connsiteY19" fmla="*/ 5099 h 10000"/>
              <a:gd name="connsiteX20" fmla="*/ 9288 w 10000"/>
              <a:gd name="connsiteY20" fmla="*/ 5197 h 10000"/>
              <a:gd name="connsiteX21" fmla="*/ 9216 w 10000"/>
              <a:gd name="connsiteY21" fmla="*/ 5230 h 10000"/>
              <a:gd name="connsiteX22" fmla="*/ 9216 w 10000"/>
              <a:gd name="connsiteY22" fmla="*/ 5230 h 10000"/>
              <a:gd name="connsiteX23" fmla="*/ 1190 w 10000"/>
              <a:gd name="connsiteY23" fmla="*/ 9414 h 10000"/>
              <a:gd name="connsiteX24" fmla="*/ 0 w 10000"/>
              <a:gd name="connsiteY24" fmla="*/ 10000 h 10000"/>
              <a:gd name="connsiteX25" fmla="*/ 10000 w 10000"/>
              <a:gd name="connsiteY25" fmla="*/ 10000 h 10000"/>
              <a:gd name="connsiteX0" fmla="*/ 10000 w 10000"/>
              <a:gd name="connsiteY0" fmla="*/ 10000 h 10011"/>
              <a:gd name="connsiteX1" fmla="*/ 10000 w 10000"/>
              <a:gd name="connsiteY1" fmla="*/ 0 h 10011"/>
              <a:gd name="connsiteX2" fmla="*/ 10000 w 10000"/>
              <a:gd name="connsiteY2" fmla="*/ 0 h 10011"/>
              <a:gd name="connsiteX3" fmla="*/ 10000 w 10000"/>
              <a:gd name="connsiteY3" fmla="*/ 230 h 10011"/>
              <a:gd name="connsiteX4" fmla="*/ 9983 w 10000"/>
              <a:gd name="connsiteY4" fmla="*/ 757 h 10011"/>
              <a:gd name="connsiteX5" fmla="*/ 9972 w 10000"/>
              <a:gd name="connsiteY5" fmla="*/ 1118 h 10011"/>
              <a:gd name="connsiteX6" fmla="*/ 9950 w 10000"/>
              <a:gd name="connsiteY6" fmla="*/ 1546 h 10011"/>
              <a:gd name="connsiteX7" fmla="*/ 9928 w 10000"/>
              <a:gd name="connsiteY7" fmla="*/ 2007 h 10011"/>
              <a:gd name="connsiteX8" fmla="*/ 9895 w 10000"/>
              <a:gd name="connsiteY8" fmla="*/ 2467 h 10011"/>
              <a:gd name="connsiteX9" fmla="*/ 9851 w 10000"/>
              <a:gd name="connsiteY9" fmla="*/ 2928 h 10011"/>
              <a:gd name="connsiteX10" fmla="*/ 9801 w 10000"/>
              <a:gd name="connsiteY10" fmla="*/ 3388 h 10011"/>
              <a:gd name="connsiteX11" fmla="*/ 9735 w 10000"/>
              <a:gd name="connsiteY11" fmla="*/ 3816 h 10011"/>
              <a:gd name="connsiteX12" fmla="*/ 9702 w 10000"/>
              <a:gd name="connsiteY12" fmla="*/ 4046 h 10011"/>
              <a:gd name="connsiteX13" fmla="*/ 9658 w 10000"/>
              <a:gd name="connsiteY13" fmla="*/ 4243 h 10011"/>
              <a:gd name="connsiteX14" fmla="*/ 9619 w 10000"/>
              <a:gd name="connsiteY14" fmla="*/ 4408 h 10011"/>
              <a:gd name="connsiteX15" fmla="*/ 9569 w 10000"/>
              <a:gd name="connsiteY15" fmla="*/ 4605 h 10011"/>
              <a:gd name="connsiteX16" fmla="*/ 9520 w 10000"/>
              <a:gd name="connsiteY16" fmla="*/ 4737 h 10011"/>
              <a:gd name="connsiteX17" fmla="*/ 9470 w 10000"/>
              <a:gd name="connsiteY17" fmla="*/ 4901 h 10011"/>
              <a:gd name="connsiteX18" fmla="*/ 9415 w 10000"/>
              <a:gd name="connsiteY18" fmla="*/ 5000 h 10011"/>
              <a:gd name="connsiteX19" fmla="*/ 9348 w 10000"/>
              <a:gd name="connsiteY19" fmla="*/ 5099 h 10011"/>
              <a:gd name="connsiteX20" fmla="*/ 9288 w 10000"/>
              <a:gd name="connsiteY20" fmla="*/ 5197 h 10011"/>
              <a:gd name="connsiteX21" fmla="*/ 9216 w 10000"/>
              <a:gd name="connsiteY21" fmla="*/ 5230 h 10011"/>
              <a:gd name="connsiteX22" fmla="*/ 9216 w 10000"/>
              <a:gd name="connsiteY22" fmla="*/ 5230 h 10011"/>
              <a:gd name="connsiteX23" fmla="*/ 1190 w 10000"/>
              <a:gd name="connsiteY23" fmla="*/ 9414 h 10011"/>
              <a:gd name="connsiteX24" fmla="*/ 0 w 10000"/>
              <a:gd name="connsiteY24" fmla="*/ 10000 h 10011"/>
              <a:gd name="connsiteX25" fmla="*/ 1185 w 10000"/>
              <a:gd name="connsiteY25" fmla="*/ 10011 h 10011"/>
              <a:gd name="connsiteX26" fmla="*/ 10000 w 10000"/>
              <a:gd name="connsiteY26" fmla="*/ 10000 h 10011"/>
              <a:gd name="connsiteX0" fmla="*/ 8815 w 8815"/>
              <a:gd name="connsiteY0" fmla="*/ 10000 h 10011"/>
              <a:gd name="connsiteX1" fmla="*/ 8815 w 8815"/>
              <a:gd name="connsiteY1" fmla="*/ 0 h 10011"/>
              <a:gd name="connsiteX2" fmla="*/ 8815 w 8815"/>
              <a:gd name="connsiteY2" fmla="*/ 0 h 10011"/>
              <a:gd name="connsiteX3" fmla="*/ 8815 w 8815"/>
              <a:gd name="connsiteY3" fmla="*/ 230 h 10011"/>
              <a:gd name="connsiteX4" fmla="*/ 8798 w 8815"/>
              <a:gd name="connsiteY4" fmla="*/ 757 h 10011"/>
              <a:gd name="connsiteX5" fmla="*/ 8787 w 8815"/>
              <a:gd name="connsiteY5" fmla="*/ 1118 h 10011"/>
              <a:gd name="connsiteX6" fmla="*/ 8765 w 8815"/>
              <a:gd name="connsiteY6" fmla="*/ 1546 h 10011"/>
              <a:gd name="connsiteX7" fmla="*/ 8743 w 8815"/>
              <a:gd name="connsiteY7" fmla="*/ 2007 h 10011"/>
              <a:gd name="connsiteX8" fmla="*/ 8710 w 8815"/>
              <a:gd name="connsiteY8" fmla="*/ 2467 h 10011"/>
              <a:gd name="connsiteX9" fmla="*/ 8666 w 8815"/>
              <a:gd name="connsiteY9" fmla="*/ 2928 h 10011"/>
              <a:gd name="connsiteX10" fmla="*/ 8616 w 8815"/>
              <a:gd name="connsiteY10" fmla="*/ 3388 h 10011"/>
              <a:gd name="connsiteX11" fmla="*/ 8550 w 8815"/>
              <a:gd name="connsiteY11" fmla="*/ 3816 h 10011"/>
              <a:gd name="connsiteX12" fmla="*/ 8517 w 8815"/>
              <a:gd name="connsiteY12" fmla="*/ 4046 h 10011"/>
              <a:gd name="connsiteX13" fmla="*/ 8473 w 8815"/>
              <a:gd name="connsiteY13" fmla="*/ 4243 h 10011"/>
              <a:gd name="connsiteX14" fmla="*/ 8434 w 8815"/>
              <a:gd name="connsiteY14" fmla="*/ 4408 h 10011"/>
              <a:gd name="connsiteX15" fmla="*/ 8384 w 8815"/>
              <a:gd name="connsiteY15" fmla="*/ 4605 h 10011"/>
              <a:gd name="connsiteX16" fmla="*/ 8335 w 8815"/>
              <a:gd name="connsiteY16" fmla="*/ 4737 h 10011"/>
              <a:gd name="connsiteX17" fmla="*/ 8285 w 8815"/>
              <a:gd name="connsiteY17" fmla="*/ 4901 h 10011"/>
              <a:gd name="connsiteX18" fmla="*/ 8230 w 8815"/>
              <a:gd name="connsiteY18" fmla="*/ 5000 h 10011"/>
              <a:gd name="connsiteX19" fmla="*/ 8163 w 8815"/>
              <a:gd name="connsiteY19" fmla="*/ 5099 h 10011"/>
              <a:gd name="connsiteX20" fmla="*/ 8103 w 8815"/>
              <a:gd name="connsiteY20" fmla="*/ 5197 h 10011"/>
              <a:gd name="connsiteX21" fmla="*/ 8031 w 8815"/>
              <a:gd name="connsiteY21" fmla="*/ 5230 h 10011"/>
              <a:gd name="connsiteX22" fmla="*/ 8031 w 8815"/>
              <a:gd name="connsiteY22" fmla="*/ 5230 h 10011"/>
              <a:gd name="connsiteX23" fmla="*/ 5 w 8815"/>
              <a:gd name="connsiteY23" fmla="*/ 9414 h 10011"/>
              <a:gd name="connsiteX24" fmla="*/ 0 w 8815"/>
              <a:gd name="connsiteY24" fmla="*/ 10011 h 10011"/>
              <a:gd name="connsiteX25" fmla="*/ 8815 w 8815"/>
              <a:gd name="connsiteY25" fmla="*/ 10000 h 10011"/>
              <a:gd name="connsiteX0" fmla="*/ 9996 w 9996"/>
              <a:gd name="connsiteY0" fmla="*/ 9989 h 10000"/>
              <a:gd name="connsiteX1" fmla="*/ 9996 w 9996"/>
              <a:gd name="connsiteY1" fmla="*/ 0 h 10000"/>
              <a:gd name="connsiteX2" fmla="*/ 9996 w 9996"/>
              <a:gd name="connsiteY2" fmla="*/ 0 h 10000"/>
              <a:gd name="connsiteX3" fmla="*/ 9996 w 9996"/>
              <a:gd name="connsiteY3" fmla="*/ 230 h 10000"/>
              <a:gd name="connsiteX4" fmla="*/ 9977 w 9996"/>
              <a:gd name="connsiteY4" fmla="*/ 756 h 10000"/>
              <a:gd name="connsiteX5" fmla="*/ 9964 w 9996"/>
              <a:gd name="connsiteY5" fmla="*/ 1117 h 10000"/>
              <a:gd name="connsiteX6" fmla="*/ 9939 w 9996"/>
              <a:gd name="connsiteY6" fmla="*/ 1544 h 10000"/>
              <a:gd name="connsiteX7" fmla="*/ 9914 w 9996"/>
              <a:gd name="connsiteY7" fmla="*/ 2005 h 10000"/>
              <a:gd name="connsiteX8" fmla="*/ 9877 w 9996"/>
              <a:gd name="connsiteY8" fmla="*/ 2464 h 10000"/>
              <a:gd name="connsiteX9" fmla="*/ 9827 w 9996"/>
              <a:gd name="connsiteY9" fmla="*/ 2925 h 10000"/>
              <a:gd name="connsiteX10" fmla="*/ 9770 w 9996"/>
              <a:gd name="connsiteY10" fmla="*/ 3384 h 10000"/>
              <a:gd name="connsiteX11" fmla="*/ 9695 w 9996"/>
              <a:gd name="connsiteY11" fmla="*/ 3812 h 10000"/>
              <a:gd name="connsiteX12" fmla="*/ 9658 w 9996"/>
              <a:gd name="connsiteY12" fmla="*/ 4042 h 10000"/>
              <a:gd name="connsiteX13" fmla="*/ 9608 w 9996"/>
              <a:gd name="connsiteY13" fmla="*/ 4238 h 10000"/>
              <a:gd name="connsiteX14" fmla="*/ 9564 w 9996"/>
              <a:gd name="connsiteY14" fmla="*/ 4403 h 10000"/>
              <a:gd name="connsiteX15" fmla="*/ 9507 w 9996"/>
              <a:gd name="connsiteY15" fmla="*/ 4600 h 10000"/>
              <a:gd name="connsiteX16" fmla="*/ 9451 w 9996"/>
              <a:gd name="connsiteY16" fmla="*/ 4732 h 10000"/>
              <a:gd name="connsiteX17" fmla="*/ 9395 w 9996"/>
              <a:gd name="connsiteY17" fmla="*/ 4896 h 10000"/>
              <a:gd name="connsiteX18" fmla="*/ 9332 w 9996"/>
              <a:gd name="connsiteY18" fmla="*/ 4995 h 10000"/>
              <a:gd name="connsiteX19" fmla="*/ 9256 w 9996"/>
              <a:gd name="connsiteY19" fmla="*/ 5093 h 10000"/>
              <a:gd name="connsiteX20" fmla="*/ 9188 w 9996"/>
              <a:gd name="connsiteY20" fmla="*/ 5191 h 10000"/>
              <a:gd name="connsiteX21" fmla="*/ 9107 w 9996"/>
              <a:gd name="connsiteY21" fmla="*/ 5224 h 10000"/>
              <a:gd name="connsiteX22" fmla="*/ 9107 w 9996"/>
              <a:gd name="connsiteY22" fmla="*/ 5224 h 10000"/>
              <a:gd name="connsiteX23" fmla="*/ 2 w 9996"/>
              <a:gd name="connsiteY23" fmla="*/ 9404 h 10000"/>
              <a:gd name="connsiteX24" fmla="*/ 0 w 9996"/>
              <a:gd name="connsiteY24" fmla="*/ 10000 h 10000"/>
              <a:gd name="connsiteX25" fmla="*/ 9996 w 9996"/>
              <a:gd name="connsiteY25" fmla="*/ 9989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9996" h="10000">
                <a:moveTo>
                  <a:pt x="9996" y="9989"/>
                </a:moveTo>
                <a:lnTo>
                  <a:pt x="9996" y="0"/>
                </a:lnTo>
                <a:lnTo>
                  <a:pt x="9996" y="0"/>
                </a:lnTo>
                <a:lnTo>
                  <a:pt x="9996" y="230"/>
                </a:lnTo>
                <a:cubicBezTo>
                  <a:pt x="9989" y="406"/>
                  <a:pt x="9984" y="580"/>
                  <a:pt x="9977" y="756"/>
                </a:cubicBezTo>
                <a:cubicBezTo>
                  <a:pt x="9972" y="876"/>
                  <a:pt x="9969" y="997"/>
                  <a:pt x="9964" y="1117"/>
                </a:cubicBezTo>
                <a:cubicBezTo>
                  <a:pt x="9956" y="1260"/>
                  <a:pt x="9947" y="1401"/>
                  <a:pt x="9939" y="1544"/>
                </a:cubicBezTo>
                <a:cubicBezTo>
                  <a:pt x="9931" y="1698"/>
                  <a:pt x="9922" y="1851"/>
                  <a:pt x="9914" y="2005"/>
                </a:cubicBezTo>
                <a:cubicBezTo>
                  <a:pt x="9902" y="2158"/>
                  <a:pt x="9889" y="2311"/>
                  <a:pt x="9877" y="2464"/>
                </a:cubicBezTo>
                <a:cubicBezTo>
                  <a:pt x="9860" y="2618"/>
                  <a:pt x="9844" y="2771"/>
                  <a:pt x="9827" y="2925"/>
                </a:cubicBezTo>
                <a:cubicBezTo>
                  <a:pt x="9808" y="3078"/>
                  <a:pt x="9790" y="3231"/>
                  <a:pt x="9770" y="3384"/>
                </a:cubicBezTo>
                <a:cubicBezTo>
                  <a:pt x="9745" y="3527"/>
                  <a:pt x="9720" y="3669"/>
                  <a:pt x="9695" y="3812"/>
                </a:cubicBezTo>
                <a:cubicBezTo>
                  <a:pt x="9683" y="3889"/>
                  <a:pt x="9670" y="3965"/>
                  <a:pt x="9658" y="4042"/>
                </a:cubicBezTo>
                <a:cubicBezTo>
                  <a:pt x="9641" y="4107"/>
                  <a:pt x="9625" y="4172"/>
                  <a:pt x="9608" y="4238"/>
                </a:cubicBezTo>
                <a:cubicBezTo>
                  <a:pt x="9593" y="4293"/>
                  <a:pt x="9579" y="4348"/>
                  <a:pt x="9564" y="4403"/>
                </a:cubicBezTo>
                <a:cubicBezTo>
                  <a:pt x="9544" y="4469"/>
                  <a:pt x="9526" y="4534"/>
                  <a:pt x="9507" y="4600"/>
                </a:cubicBezTo>
                <a:cubicBezTo>
                  <a:pt x="9489" y="4644"/>
                  <a:pt x="9470" y="4688"/>
                  <a:pt x="9451" y="4732"/>
                </a:cubicBezTo>
                <a:cubicBezTo>
                  <a:pt x="9432" y="4787"/>
                  <a:pt x="9414" y="4841"/>
                  <a:pt x="9395" y="4896"/>
                </a:cubicBezTo>
                <a:lnTo>
                  <a:pt x="9332" y="4995"/>
                </a:lnTo>
                <a:cubicBezTo>
                  <a:pt x="9307" y="5027"/>
                  <a:pt x="9281" y="5060"/>
                  <a:pt x="9256" y="5093"/>
                </a:cubicBezTo>
                <a:cubicBezTo>
                  <a:pt x="9234" y="5126"/>
                  <a:pt x="9211" y="5158"/>
                  <a:pt x="9188" y="5191"/>
                </a:cubicBezTo>
                <a:lnTo>
                  <a:pt x="9107" y="5224"/>
                </a:lnTo>
                <a:lnTo>
                  <a:pt x="9107" y="5224"/>
                </a:lnTo>
                <a:lnTo>
                  <a:pt x="2" y="9404"/>
                </a:lnTo>
                <a:cubicBezTo>
                  <a:pt x="-1" y="9602"/>
                  <a:pt x="2" y="9801"/>
                  <a:pt x="0" y="10000"/>
                </a:cubicBezTo>
                <a:lnTo>
                  <a:pt x="9996" y="9989"/>
                </a:lnTo>
                <a:close/>
              </a:path>
            </a:pathLst>
          </a:custGeom>
          <a:solidFill>
            <a:schemeClr val="accent6"/>
          </a:solidFill>
          <a:ln>
            <a:noFill/>
          </a:ln>
        </p:spPr>
        <p:txBody>
          <a:bodyPr vert="horz" wrap="square" lIns="133428" tIns="66715" rIns="133428" bIns="66715" numCol="1" anchor="t" anchorCtr="0" compatLnSpc="1">
            <a:prstTxWarp prst="textNoShape">
              <a:avLst/>
            </a:prstTxWarp>
          </a:bodyPr>
          <a:lstStyle/>
          <a:p>
            <a:endParaRPr lang="ja-JP" altLang="en-US" sz="2533"/>
          </a:p>
        </p:txBody>
      </p:sp>
      <p:sp>
        <p:nvSpPr>
          <p:cNvPr id="2" name="タイトル 1"/>
          <p:cNvSpPr>
            <a:spLocks noGrp="1"/>
          </p:cNvSpPr>
          <p:nvPr>
            <p:ph type="title"/>
          </p:nvPr>
        </p:nvSpPr>
        <p:spPr>
          <a:xfrm>
            <a:off x="368550" y="1959102"/>
            <a:ext cx="11451591" cy="540000"/>
          </a:xfrm>
          <a:prstGeom prst="rect">
            <a:avLst/>
          </a:prstGeom>
        </p:spPr>
        <p:txBody>
          <a:bodyPr lIns="95767" tIns="47884" rIns="95767" bIns="47884"/>
          <a:lstStyle>
            <a:lvl1pPr>
              <a:defRPr>
                <a:latin typeface="Meiryo UI" panose="020B0604030504040204" pitchFamily="50" charset="-128"/>
                <a:ea typeface="Meiryo UI" panose="020B0604030504040204" pitchFamily="50" charset="-128"/>
              </a:defRPr>
            </a:lvl1pPr>
          </a:lstStyle>
          <a:p>
            <a:r>
              <a:rPr kumimoji="1" lang="ja-JP" altLang="en-US"/>
              <a:t>マスター タイトルの書式設定</a:t>
            </a:r>
          </a:p>
        </p:txBody>
      </p:sp>
      <p:sp>
        <p:nvSpPr>
          <p:cNvPr id="6" name="スライド番号プレースホルダー 5"/>
          <p:cNvSpPr>
            <a:spLocks noGrp="1"/>
          </p:cNvSpPr>
          <p:nvPr>
            <p:ph type="sldNum" sz="quarter" idx="12"/>
          </p:nvPr>
        </p:nvSpPr>
        <p:spPr>
          <a:xfrm>
            <a:off x="11524630" y="6468878"/>
            <a:ext cx="555811" cy="289299"/>
          </a:xfrm>
          <a:prstGeom prst="rect">
            <a:avLst/>
          </a:prstGeom>
        </p:spPr>
        <p:txBody>
          <a:bodyPr lIns="95767" tIns="47884" rIns="95767" bIns="47884"/>
          <a:lstStyle>
            <a:lvl1pPr>
              <a:defRPr sz="1333"/>
            </a:lvl1pPr>
          </a:lstStyle>
          <a:p>
            <a:fld id="{2FF5E1DE-7B95-8A44-8552-65323269AE41}" type="slidenum">
              <a:rPr lang="ja-JP" altLang="en-US" smtClean="0"/>
              <a:pPr/>
              <a:t>‹#›</a:t>
            </a:fld>
            <a:endParaRPr lang="ja-JP" altLang="en-US"/>
          </a:p>
        </p:txBody>
      </p:sp>
      <p:pic>
        <p:nvPicPr>
          <p:cNvPr id="7" name="Picture 2" descr="C:\Users\00057835\AppData\Local\Temp\notesEA5B2A\グループ併記ロゴ（縦・英文）.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0756324" y="26652"/>
            <a:ext cx="1434080" cy="85801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81059973"/>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obj" preserve="1">
  <p:cSld name="6_タイトルとコンテンツ">
    <p:spTree>
      <p:nvGrpSpPr>
        <p:cNvPr id="1" name=""/>
        <p:cNvGrpSpPr/>
        <p:nvPr/>
      </p:nvGrpSpPr>
      <p:grpSpPr>
        <a:xfrm>
          <a:off x="0" y="0"/>
          <a:ext cx="0" cy="0"/>
          <a:chOff x="0" y="0"/>
          <a:chExt cx="0" cy="0"/>
        </a:xfrm>
      </p:grpSpPr>
      <p:sp>
        <p:nvSpPr>
          <p:cNvPr id="10" name="Freeform 8"/>
          <p:cNvSpPr>
            <a:spLocks/>
          </p:cNvSpPr>
          <p:nvPr userDrawn="1"/>
        </p:nvSpPr>
        <p:spPr bwMode="auto">
          <a:xfrm>
            <a:off x="-2100" y="5505984"/>
            <a:ext cx="12192504" cy="1353504"/>
          </a:xfrm>
          <a:custGeom>
            <a:avLst/>
            <a:gdLst>
              <a:gd name="T0" fmla="*/ 3622 w 3622"/>
              <a:gd name="T1" fmla="*/ 608 h 608"/>
              <a:gd name="T2" fmla="*/ 3622 w 3622"/>
              <a:gd name="T3" fmla="*/ 0 h 608"/>
              <a:gd name="T4" fmla="*/ 3622 w 3622"/>
              <a:gd name="T5" fmla="*/ 0 h 608"/>
              <a:gd name="T6" fmla="*/ 3622 w 3622"/>
              <a:gd name="T7" fmla="*/ 14 h 608"/>
              <a:gd name="T8" fmla="*/ 3616 w 3622"/>
              <a:gd name="T9" fmla="*/ 46 h 608"/>
              <a:gd name="T10" fmla="*/ 3612 w 3622"/>
              <a:gd name="T11" fmla="*/ 68 h 608"/>
              <a:gd name="T12" fmla="*/ 3604 w 3622"/>
              <a:gd name="T13" fmla="*/ 94 h 608"/>
              <a:gd name="T14" fmla="*/ 3596 w 3622"/>
              <a:gd name="T15" fmla="*/ 122 h 608"/>
              <a:gd name="T16" fmla="*/ 3584 w 3622"/>
              <a:gd name="T17" fmla="*/ 150 h 608"/>
              <a:gd name="T18" fmla="*/ 3568 w 3622"/>
              <a:gd name="T19" fmla="*/ 178 h 608"/>
              <a:gd name="T20" fmla="*/ 3550 w 3622"/>
              <a:gd name="T21" fmla="*/ 206 h 608"/>
              <a:gd name="T22" fmla="*/ 3526 w 3622"/>
              <a:gd name="T23" fmla="*/ 232 h 608"/>
              <a:gd name="T24" fmla="*/ 3514 w 3622"/>
              <a:gd name="T25" fmla="*/ 246 h 608"/>
              <a:gd name="T26" fmla="*/ 3498 w 3622"/>
              <a:gd name="T27" fmla="*/ 258 h 608"/>
              <a:gd name="T28" fmla="*/ 3484 w 3622"/>
              <a:gd name="T29" fmla="*/ 268 h 608"/>
              <a:gd name="T30" fmla="*/ 3466 w 3622"/>
              <a:gd name="T31" fmla="*/ 280 h 608"/>
              <a:gd name="T32" fmla="*/ 3448 w 3622"/>
              <a:gd name="T33" fmla="*/ 288 h 608"/>
              <a:gd name="T34" fmla="*/ 3430 w 3622"/>
              <a:gd name="T35" fmla="*/ 298 h 608"/>
              <a:gd name="T36" fmla="*/ 3410 w 3622"/>
              <a:gd name="T37" fmla="*/ 304 h 608"/>
              <a:gd name="T38" fmla="*/ 3386 w 3622"/>
              <a:gd name="T39" fmla="*/ 310 h 608"/>
              <a:gd name="T40" fmla="*/ 3364 w 3622"/>
              <a:gd name="T41" fmla="*/ 316 h 608"/>
              <a:gd name="T42" fmla="*/ 3338 w 3622"/>
              <a:gd name="T43" fmla="*/ 318 h 608"/>
              <a:gd name="T44" fmla="*/ 3338 w 3622"/>
              <a:gd name="T45" fmla="*/ 318 h 608"/>
              <a:gd name="T46" fmla="*/ 0 w 3622"/>
              <a:gd name="T47" fmla="*/ 608 h 608"/>
              <a:gd name="T48" fmla="*/ 3622 w 3622"/>
              <a:gd name="T49" fmla="*/ 608 h 608"/>
              <a:gd name="connsiteX0" fmla="*/ 10000 w 10000"/>
              <a:gd name="connsiteY0" fmla="*/ 10000 h 10000"/>
              <a:gd name="connsiteX1" fmla="*/ 10000 w 10000"/>
              <a:gd name="connsiteY1" fmla="*/ 0 h 10000"/>
              <a:gd name="connsiteX2" fmla="*/ 10000 w 10000"/>
              <a:gd name="connsiteY2" fmla="*/ 0 h 10000"/>
              <a:gd name="connsiteX3" fmla="*/ 10000 w 10000"/>
              <a:gd name="connsiteY3" fmla="*/ 230 h 10000"/>
              <a:gd name="connsiteX4" fmla="*/ 9983 w 10000"/>
              <a:gd name="connsiteY4" fmla="*/ 757 h 10000"/>
              <a:gd name="connsiteX5" fmla="*/ 9972 w 10000"/>
              <a:gd name="connsiteY5" fmla="*/ 1118 h 10000"/>
              <a:gd name="connsiteX6" fmla="*/ 9950 w 10000"/>
              <a:gd name="connsiteY6" fmla="*/ 1546 h 10000"/>
              <a:gd name="connsiteX7" fmla="*/ 9928 w 10000"/>
              <a:gd name="connsiteY7" fmla="*/ 2007 h 10000"/>
              <a:gd name="connsiteX8" fmla="*/ 9895 w 10000"/>
              <a:gd name="connsiteY8" fmla="*/ 2467 h 10000"/>
              <a:gd name="connsiteX9" fmla="*/ 9851 w 10000"/>
              <a:gd name="connsiteY9" fmla="*/ 2928 h 10000"/>
              <a:gd name="connsiteX10" fmla="*/ 9801 w 10000"/>
              <a:gd name="connsiteY10" fmla="*/ 3388 h 10000"/>
              <a:gd name="connsiteX11" fmla="*/ 9735 w 10000"/>
              <a:gd name="connsiteY11" fmla="*/ 3816 h 10000"/>
              <a:gd name="connsiteX12" fmla="*/ 9702 w 10000"/>
              <a:gd name="connsiteY12" fmla="*/ 4046 h 10000"/>
              <a:gd name="connsiteX13" fmla="*/ 9658 w 10000"/>
              <a:gd name="connsiteY13" fmla="*/ 4243 h 10000"/>
              <a:gd name="connsiteX14" fmla="*/ 9619 w 10000"/>
              <a:gd name="connsiteY14" fmla="*/ 4408 h 10000"/>
              <a:gd name="connsiteX15" fmla="*/ 9569 w 10000"/>
              <a:gd name="connsiteY15" fmla="*/ 4605 h 10000"/>
              <a:gd name="connsiteX16" fmla="*/ 9520 w 10000"/>
              <a:gd name="connsiteY16" fmla="*/ 4737 h 10000"/>
              <a:gd name="connsiteX17" fmla="*/ 9470 w 10000"/>
              <a:gd name="connsiteY17" fmla="*/ 4901 h 10000"/>
              <a:gd name="connsiteX18" fmla="*/ 9415 w 10000"/>
              <a:gd name="connsiteY18" fmla="*/ 5000 h 10000"/>
              <a:gd name="connsiteX19" fmla="*/ 9348 w 10000"/>
              <a:gd name="connsiteY19" fmla="*/ 5099 h 10000"/>
              <a:gd name="connsiteX20" fmla="*/ 9288 w 10000"/>
              <a:gd name="connsiteY20" fmla="*/ 5197 h 10000"/>
              <a:gd name="connsiteX21" fmla="*/ 9216 w 10000"/>
              <a:gd name="connsiteY21" fmla="*/ 5230 h 10000"/>
              <a:gd name="connsiteX22" fmla="*/ 9216 w 10000"/>
              <a:gd name="connsiteY22" fmla="*/ 5230 h 10000"/>
              <a:gd name="connsiteX23" fmla="*/ 1190 w 10000"/>
              <a:gd name="connsiteY23" fmla="*/ 9414 h 10000"/>
              <a:gd name="connsiteX24" fmla="*/ 0 w 10000"/>
              <a:gd name="connsiteY24" fmla="*/ 10000 h 10000"/>
              <a:gd name="connsiteX25" fmla="*/ 10000 w 10000"/>
              <a:gd name="connsiteY25" fmla="*/ 10000 h 10000"/>
              <a:gd name="connsiteX0" fmla="*/ 10000 w 10000"/>
              <a:gd name="connsiteY0" fmla="*/ 10000 h 10011"/>
              <a:gd name="connsiteX1" fmla="*/ 10000 w 10000"/>
              <a:gd name="connsiteY1" fmla="*/ 0 h 10011"/>
              <a:gd name="connsiteX2" fmla="*/ 10000 w 10000"/>
              <a:gd name="connsiteY2" fmla="*/ 0 h 10011"/>
              <a:gd name="connsiteX3" fmla="*/ 10000 w 10000"/>
              <a:gd name="connsiteY3" fmla="*/ 230 h 10011"/>
              <a:gd name="connsiteX4" fmla="*/ 9983 w 10000"/>
              <a:gd name="connsiteY4" fmla="*/ 757 h 10011"/>
              <a:gd name="connsiteX5" fmla="*/ 9972 w 10000"/>
              <a:gd name="connsiteY5" fmla="*/ 1118 h 10011"/>
              <a:gd name="connsiteX6" fmla="*/ 9950 w 10000"/>
              <a:gd name="connsiteY6" fmla="*/ 1546 h 10011"/>
              <a:gd name="connsiteX7" fmla="*/ 9928 w 10000"/>
              <a:gd name="connsiteY7" fmla="*/ 2007 h 10011"/>
              <a:gd name="connsiteX8" fmla="*/ 9895 w 10000"/>
              <a:gd name="connsiteY8" fmla="*/ 2467 h 10011"/>
              <a:gd name="connsiteX9" fmla="*/ 9851 w 10000"/>
              <a:gd name="connsiteY9" fmla="*/ 2928 h 10011"/>
              <a:gd name="connsiteX10" fmla="*/ 9801 w 10000"/>
              <a:gd name="connsiteY10" fmla="*/ 3388 h 10011"/>
              <a:gd name="connsiteX11" fmla="*/ 9735 w 10000"/>
              <a:gd name="connsiteY11" fmla="*/ 3816 h 10011"/>
              <a:gd name="connsiteX12" fmla="*/ 9702 w 10000"/>
              <a:gd name="connsiteY12" fmla="*/ 4046 h 10011"/>
              <a:gd name="connsiteX13" fmla="*/ 9658 w 10000"/>
              <a:gd name="connsiteY13" fmla="*/ 4243 h 10011"/>
              <a:gd name="connsiteX14" fmla="*/ 9619 w 10000"/>
              <a:gd name="connsiteY14" fmla="*/ 4408 h 10011"/>
              <a:gd name="connsiteX15" fmla="*/ 9569 w 10000"/>
              <a:gd name="connsiteY15" fmla="*/ 4605 h 10011"/>
              <a:gd name="connsiteX16" fmla="*/ 9520 w 10000"/>
              <a:gd name="connsiteY16" fmla="*/ 4737 h 10011"/>
              <a:gd name="connsiteX17" fmla="*/ 9470 w 10000"/>
              <a:gd name="connsiteY17" fmla="*/ 4901 h 10011"/>
              <a:gd name="connsiteX18" fmla="*/ 9415 w 10000"/>
              <a:gd name="connsiteY18" fmla="*/ 5000 h 10011"/>
              <a:gd name="connsiteX19" fmla="*/ 9348 w 10000"/>
              <a:gd name="connsiteY19" fmla="*/ 5099 h 10011"/>
              <a:gd name="connsiteX20" fmla="*/ 9288 w 10000"/>
              <a:gd name="connsiteY20" fmla="*/ 5197 h 10011"/>
              <a:gd name="connsiteX21" fmla="*/ 9216 w 10000"/>
              <a:gd name="connsiteY21" fmla="*/ 5230 h 10011"/>
              <a:gd name="connsiteX22" fmla="*/ 9216 w 10000"/>
              <a:gd name="connsiteY22" fmla="*/ 5230 h 10011"/>
              <a:gd name="connsiteX23" fmla="*/ 1190 w 10000"/>
              <a:gd name="connsiteY23" fmla="*/ 9414 h 10011"/>
              <a:gd name="connsiteX24" fmla="*/ 0 w 10000"/>
              <a:gd name="connsiteY24" fmla="*/ 10000 h 10011"/>
              <a:gd name="connsiteX25" fmla="*/ 1185 w 10000"/>
              <a:gd name="connsiteY25" fmla="*/ 10011 h 10011"/>
              <a:gd name="connsiteX26" fmla="*/ 10000 w 10000"/>
              <a:gd name="connsiteY26" fmla="*/ 10000 h 10011"/>
              <a:gd name="connsiteX0" fmla="*/ 8815 w 8815"/>
              <a:gd name="connsiteY0" fmla="*/ 10000 h 10011"/>
              <a:gd name="connsiteX1" fmla="*/ 8815 w 8815"/>
              <a:gd name="connsiteY1" fmla="*/ 0 h 10011"/>
              <a:gd name="connsiteX2" fmla="*/ 8815 w 8815"/>
              <a:gd name="connsiteY2" fmla="*/ 0 h 10011"/>
              <a:gd name="connsiteX3" fmla="*/ 8815 w 8815"/>
              <a:gd name="connsiteY3" fmla="*/ 230 h 10011"/>
              <a:gd name="connsiteX4" fmla="*/ 8798 w 8815"/>
              <a:gd name="connsiteY4" fmla="*/ 757 h 10011"/>
              <a:gd name="connsiteX5" fmla="*/ 8787 w 8815"/>
              <a:gd name="connsiteY5" fmla="*/ 1118 h 10011"/>
              <a:gd name="connsiteX6" fmla="*/ 8765 w 8815"/>
              <a:gd name="connsiteY6" fmla="*/ 1546 h 10011"/>
              <a:gd name="connsiteX7" fmla="*/ 8743 w 8815"/>
              <a:gd name="connsiteY7" fmla="*/ 2007 h 10011"/>
              <a:gd name="connsiteX8" fmla="*/ 8710 w 8815"/>
              <a:gd name="connsiteY8" fmla="*/ 2467 h 10011"/>
              <a:gd name="connsiteX9" fmla="*/ 8666 w 8815"/>
              <a:gd name="connsiteY9" fmla="*/ 2928 h 10011"/>
              <a:gd name="connsiteX10" fmla="*/ 8616 w 8815"/>
              <a:gd name="connsiteY10" fmla="*/ 3388 h 10011"/>
              <a:gd name="connsiteX11" fmla="*/ 8550 w 8815"/>
              <a:gd name="connsiteY11" fmla="*/ 3816 h 10011"/>
              <a:gd name="connsiteX12" fmla="*/ 8517 w 8815"/>
              <a:gd name="connsiteY12" fmla="*/ 4046 h 10011"/>
              <a:gd name="connsiteX13" fmla="*/ 8473 w 8815"/>
              <a:gd name="connsiteY13" fmla="*/ 4243 h 10011"/>
              <a:gd name="connsiteX14" fmla="*/ 8434 w 8815"/>
              <a:gd name="connsiteY14" fmla="*/ 4408 h 10011"/>
              <a:gd name="connsiteX15" fmla="*/ 8384 w 8815"/>
              <a:gd name="connsiteY15" fmla="*/ 4605 h 10011"/>
              <a:gd name="connsiteX16" fmla="*/ 8335 w 8815"/>
              <a:gd name="connsiteY16" fmla="*/ 4737 h 10011"/>
              <a:gd name="connsiteX17" fmla="*/ 8285 w 8815"/>
              <a:gd name="connsiteY17" fmla="*/ 4901 h 10011"/>
              <a:gd name="connsiteX18" fmla="*/ 8230 w 8815"/>
              <a:gd name="connsiteY18" fmla="*/ 5000 h 10011"/>
              <a:gd name="connsiteX19" fmla="*/ 8163 w 8815"/>
              <a:gd name="connsiteY19" fmla="*/ 5099 h 10011"/>
              <a:gd name="connsiteX20" fmla="*/ 8103 w 8815"/>
              <a:gd name="connsiteY20" fmla="*/ 5197 h 10011"/>
              <a:gd name="connsiteX21" fmla="*/ 8031 w 8815"/>
              <a:gd name="connsiteY21" fmla="*/ 5230 h 10011"/>
              <a:gd name="connsiteX22" fmla="*/ 8031 w 8815"/>
              <a:gd name="connsiteY22" fmla="*/ 5230 h 10011"/>
              <a:gd name="connsiteX23" fmla="*/ 5 w 8815"/>
              <a:gd name="connsiteY23" fmla="*/ 9414 h 10011"/>
              <a:gd name="connsiteX24" fmla="*/ 0 w 8815"/>
              <a:gd name="connsiteY24" fmla="*/ 10011 h 10011"/>
              <a:gd name="connsiteX25" fmla="*/ 8815 w 8815"/>
              <a:gd name="connsiteY25" fmla="*/ 10000 h 10011"/>
              <a:gd name="connsiteX0" fmla="*/ 9996 w 9996"/>
              <a:gd name="connsiteY0" fmla="*/ 9989 h 10000"/>
              <a:gd name="connsiteX1" fmla="*/ 9996 w 9996"/>
              <a:gd name="connsiteY1" fmla="*/ 0 h 10000"/>
              <a:gd name="connsiteX2" fmla="*/ 9996 w 9996"/>
              <a:gd name="connsiteY2" fmla="*/ 0 h 10000"/>
              <a:gd name="connsiteX3" fmla="*/ 9996 w 9996"/>
              <a:gd name="connsiteY3" fmla="*/ 230 h 10000"/>
              <a:gd name="connsiteX4" fmla="*/ 9977 w 9996"/>
              <a:gd name="connsiteY4" fmla="*/ 756 h 10000"/>
              <a:gd name="connsiteX5" fmla="*/ 9964 w 9996"/>
              <a:gd name="connsiteY5" fmla="*/ 1117 h 10000"/>
              <a:gd name="connsiteX6" fmla="*/ 9939 w 9996"/>
              <a:gd name="connsiteY6" fmla="*/ 1544 h 10000"/>
              <a:gd name="connsiteX7" fmla="*/ 9914 w 9996"/>
              <a:gd name="connsiteY7" fmla="*/ 2005 h 10000"/>
              <a:gd name="connsiteX8" fmla="*/ 9877 w 9996"/>
              <a:gd name="connsiteY8" fmla="*/ 2464 h 10000"/>
              <a:gd name="connsiteX9" fmla="*/ 9827 w 9996"/>
              <a:gd name="connsiteY9" fmla="*/ 2925 h 10000"/>
              <a:gd name="connsiteX10" fmla="*/ 9770 w 9996"/>
              <a:gd name="connsiteY10" fmla="*/ 3384 h 10000"/>
              <a:gd name="connsiteX11" fmla="*/ 9695 w 9996"/>
              <a:gd name="connsiteY11" fmla="*/ 3812 h 10000"/>
              <a:gd name="connsiteX12" fmla="*/ 9658 w 9996"/>
              <a:gd name="connsiteY12" fmla="*/ 4042 h 10000"/>
              <a:gd name="connsiteX13" fmla="*/ 9608 w 9996"/>
              <a:gd name="connsiteY13" fmla="*/ 4238 h 10000"/>
              <a:gd name="connsiteX14" fmla="*/ 9564 w 9996"/>
              <a:gd name="connsiteY14" fmla="*/ 4403 h 10000"/>
              <a:gd name="connsiteX15" fmla="*/ 9507 w 9996"/>
              <a:gd name="connsiteY15" fmla="*/ 4600 h 10000"/>
              <a:gd name="connsiteX16" fmla="*/ 9451 w 9996"/>
              <a:gd name="connsiteY16" fmla="*/ 4732 h 10000"/>
              <a:gd name="connsiteX17" fmla="*/ 9395 w 9996"/>
              <a:gd name="connsiteY17" fmla="*/ 4896 h 10000"/>
              <a:gd name="connsiteX18" fmla="*/ 9332 w 9996"/>
              <a:gd name="connsiteY18" fmla="*/ 4995 h 10000"/>
              <a:gd name="connsiteX19" fmla="*/ 9256 w 9996"/>
              <a:gd name="connsiteY19" fmla="*/ 5093 h 10000"/>
              <a:gd name="connsiteX20" fmla="*/ 9188 w 9996"/>
              <a:gd name="connsiteY20" fmla="*/ 5191 h 10000"/>
              <a:gd name="connsiteX21" fmla="*/ 9107 w 9996"/>
              <a:gd name="connsiteY21" fmla="*/ 5224 h 10000"/>
              <a:gd name="connsiteX22" fmla="*/ 9107 w 9996"/>
              <a:gd name="connsiteY22" fmla="*/ 5224 h 10000"/>
              <a:gd name="connsiteX23" fmla="*/ 2 w 9996"/>
              <a:gd name="connsiteY23" fmla="*/ 9404 h 10000"/>
              <a:gd name="connsiteX24" fmla="*/ 0 w 9996"/>
              <a:gd name="connsiteY24" fmla="*/ 10000 h 10000"/>
              <a:gd name="connsiteX25" fmla="*/ 9996 w 9996"/>
              <a:gd name="connsiteY25" fmla="*/ 9989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9996" h="10000">
                <a:moveTo>
                  <a:pt x="9996" y="9989"/>
                </a:moveTo>
                <a:lnTo>
                  <a:pt x="9996" y="0"/>
                </a:lnTo>
                <a:lnTo>
                  <a:pt x="9996" y="0"/>
                </a:lnTo>
                <a:lnTo>
                  <a:pt x="9996" y="230"/>
                </a:lnTo>
                <a:cubicBezTo>
                  <a:pt x="9989" y="406"/>
                  <a:pt x="9984" y="580"/>
                  <a:pt x="9977" y="756"/>
                </a:cubicBezTo>
                <a:cubicBezTo>
                  <a:pt x="9972" y="876"/>
                  <a:pt x="9969" y="997"/>
                  <a:pt x="9964" y="1117"/>
                </a:cubicBezTo>
                <a:cubicBezTo>
                  <a:pt x="9956" y="1260"/>
                  <a:pt x="9947" y="1401"/>
                  <a:pt x="9939" y="1544"/>
                </a:cubicBezTo>
                <a:cubicBezTo>
                  <a:pt x="9931" y="1698"/>
                  <a:pt x="9922" y="1851"/>
                  <a:pt x="9914" y="2005"/>
                </a:cubicBezTo>
                <a:cubicBezTo>
                  <a:pt x="9902" y="2158"/>
                  <a:pt x="9889" y="2311"/>
                  <a:pt x="9877" y="2464"/>
                </a:cubicBezTo>
                <a:cubicBezTo>
                  <a:pt x="9860" y="2618"/>
                  <a:pt x="9844" y="2771"/>
                  <a:pt x="9827" y="2925"/>
                </a:cubicBezTo>
                <a:cubicBezTo>
                  <a:pt x="9808" y="3078"/>
                  <a:pt x="9790" y="3231"/>
                  <a:pt x="9770" y="3384"/>
                </a:cubicBezTo>
                <a:cubicBezTo>
                  <a:pt x="9745" y="3527"/>
                  <a:pt x="9720" y="3669"/>
                  <a:pt x="9695" y="3812"/>
                </a:cubicBezTo>
                <a:cubicBezTo>
                  <a:pt x="9683" y="3889"/>
                  <a:pt x="9670" y="3965"/>
                  <a:pt x="9658" y="4042"/>
                </a:cubicBezTo>
                <a:cubicBezTo>
                  <a:pt x="9641" y="4107"/>
                  <a:pt x="9625" y="4172"/>
                  <a:pt x="9608" y="4238"/>
                </a:cubicBezTo>
                <a:cubicBezTo>
                  <a:pt x="9593" y="4293"/>
                  <a:pt x="9579" y="4348"/>
                  <a:pt x="9564" y="4403"/>
                </a:cubicBezTo>
                <a:cubicBezTo>
                  <a:pt x="9544" y="4469"/>
                  <a:pt x="9526" y="4534"/>
                  <a:pt x="9507" y="4600"/>
                </a:cubicBezTo>
                <a:cubicBezTo>
                  <a:pt x="9489" y="4644"/>
                  <a:pt x="9470" y="4688"/>
                  <a:pt x="9451" y="4732"/>
                </a:cubicBezTo>
                <a:cubicBezTo>
                  <a:pt x="9432" y="4787"/>
                  <a:pt x="9414" y="4841"/>
                  <a:pt x="9395" y="4896"/>
                </a:cubicBezTo>
                <a:lnTo>
                  <a:pt x="9332" y="4995"/>
                </a:lnTo>
                <a:cubicBezTo>
                  <a:pt x="9307" y="5027"/>
                  <a:pt x="9281" y="5060"/>
                  <a:pt x="9256" y="5093"/>
                </a:cubicBezTo>
                <a:cubicBezTo>
                  <a:pt x="9234" y="5126"/>
                  <a:pt x="9211" y="5158"/>
                  <a:pt x="9188" y="5191"/>
                </a:cubicBezTo>
                <a:lnTo>
                  <a:pt x="9107" y="5224"/>
                </a:lnTo>
                <a:lnTo>
                  <a:pt x="9107" y="5224"/>
                </a:lnTo>
                <a:lnTo>
                  <a:pt x="2" y="9404"/>
                </a:lnTo>
                <a:cubicBezTo>
                  <a:pt x="-1" y="9602"/>
                  <a:pt x="2" y="9801"/>
                  <a:pt x="0" y="10000"/>
                </a:cubicBezTo>
                <a:lnTo>
                  <a:pt x="9996" y="9989"/>
                </a:lnTo>
                <a:close/>
              </a:path>
            </a:pathLst>
          </a:custGeom>
          <a:solidFill>
            <a:schemeClr val="accent6"/>
          </a:solidFill>
          <a:ln>
            <a:noFill/>
          </a:ln>
        </p:spPr>
        <p:txBody>
          <a:bodyPr vert="horz" wrap="square" lIns="133428" tIns="66715" rIns="133428" bIns="66715" numCol="1" anchor="t" anchorCtr="0" compatLnSpc="1">
            <a:prstTxWarp prst="textNoShape">
              <a:avLst/>
            </a:prstTxWarp>
          </a:bodyPr>
          <a:lstStyle/>
          <a:p>
            <a:endParaRPr lang="ja-JP" altLang="en-US" sz="2533"/>
          </a:p>
        </p:txBody>
      </p:sp>
      <p:sp>
        <p:nvSpPr>
          <p:cNvPr id="2" name="タイトル 1"/>
          <p:cNvSpPr>
            <a:spLocks noGrp="1"/>
          </p:cNvSpPr>
          <p:nvPr>
            <p:ph type="title"/>
          </p:nvPr>
        </p:nvSpPr>
        <p:spPr>
          <a:xfrm>
            <a:off x="368549" y="194236"/>
            <a:ext cx="9791452" cy="540000"/>
          </a:xfrm>
          <a:prstGeom prst="rect">
            <a:avLst/>
          </a:prstGeom>
        </p:spPr>
        <p:txBody>
          <a:bodyPr lIns="95767" tIns="47884" rIns="95767" bIns="47884"/>
          <a:lstStyle>
            <a:lvl1pPr>
              <a:defRPr>
                <a:latin typeface="Meiryo UI" panose="020B0604030504040204" pitchFamily="50" charset="-128"/>
                <a:ea typeface="Meiryo UI" panose="020B0604030504040204" pitchFamily="50" charset="-128"/>
              </a:defRPr>
            </a:lvl1pPr>
          </a:lstStyle>
          <a:p>
            <a:r>
              <a:rPr kumimoji="1" lang="ja-JP" altLang="en-US"/>
              <a:t>マスター タイトルの書式設定</a:t>
            </a:r>
          </a:p>
        </p:txBody>
      </p:sp>
      <p:sp>
        <p:nvSpPr>
          <p:cNvPr id="3" name="コンテンツ プレースホルダー 2"/>
          <p:cNvSpPr>
            <a:spLocks noGrp="1"/>
          </p:cNvSpPr>
          <p:nvPr>
            <p:ph idx="1"/>
          </p:nvPr>
        </p:nvSpPr>
        <p:spPr>
          <a:xfrm>
            <a:off x="368551" y="903600"/>
            <a:ext cx="11583452" cy="5540400"/>
          </a:xfrm>
          <a:prstGeom prst="rect">
            <a:avLst/>
          </a:prstGeom>
        </p:spPr>
        <p:txBody>
          <a:bodyPr lIns="95767" tIns="47884" rIns="95767" bIns="47884"/>
          <a:lstStyle>
            <a:lvl1pPr>
              <a:defRPr>
                <a:latin typeface="Meiryo UI" panose="020B0604030504040204" pitchFamily="50" charset="-128"/>
                <a:ea typeface="Meiryo UI" panose="020B0604030504040204" pitchFamily="50" charset="-128"/>
              </a:defRPr>
            </a:lvl1pPr>
            <a:lvl2pPr indent="-236233">
              <a:defRPr>
                <a:latin typeface="Meiryo UI" panose="020B0604030504040204" pitchFamily="50" charset="-128"/>
                <a:ea typeface="Meiryo UI" panose="020B0604030504040204" pitchFamily="50" charset="-128"/>
              </a:defRPr>
            </a:lvl2pPr>
            <a:lvl3pPr indent="-236233">
              <a:defRPr>
                <a:latin typeface="Meiryo UI" panose="020B0604030504040204" pitchFamily="50" charset="-128"/>
                <a:ea typeface="Meiryo UI" panose="020B0604030504040204" pitchFamily="50" charset="-128"/>
              </a:defRPr>
            </a:lvl3pPr>
            <a:lvl4pPr indent="-236233">
              <a:defRPr>
                <a:latin typeface="Meiryo UI" panose="020B0604030504040204" pitchFamily="50" charset="-128"/>
                <a:ea typeface="Meiryo UI" panose="020B0604030504040204" pitchFamily="50" charset="-128"/>
              </a:defRPr>
            </a:lvl4pPr>
            <a:lvl5pPr indent="-236233">
              <a:defRPr>
                <a:latin typeface="Meiryo UI" panose="020B0604030504040204" pitchFamily="50" charset="-128"/>
                <a:ea typeface="Meiryo UI" panose="020B0604030504040204" pitchFamily="50" charset="-128"/>
              </a:defRPr>
            </a:lvl5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6" name="スライド番号プレースホルダー 5"/>
          <p:cNvSpPr>
            <a:spLocks noGrp="1"/>
          </p:cNvSpPr>
          <p:nvPr>
            <p:ph type="sldNum" sz="quarter" idx="12"/>
          </p:nvPr>
        </p:nvSpPr>
        <p:spPr>
          <a:xfrm>
            <a:off x="11524630" y="6468878"/>
            <a:ext cx="555811" cy="289299"/>
          </a:xfrm>
          <a:prstGeom prst="rect">
            <a:avLst/>
          </a:prstGeom>
        </p:spPr>
        <p:txBody>
          <a:bodyPr lIns="95767" tIns="47884" rIns="95767" bIns="47884"/>
          <a:lstStyle>
            <a:lvl1pPr>
              <a:defRPr sz="1333"/>
            </a:lvl1pPr>
          </a:lstStyle>
          <a:p>
            <a:fld id="{2FF5E1DE-7B95-8A44-8552-65323269AE41}" type="slidenum">
              <a:rPr lang="ja-JP" altLang="en-US" smtClean="0"/>
              <a:pPr/>
              <a:t>‹#›</a:t>
            </a:fld>
            <a:endParaRPr lang="ja-JP" altLang="en-US"/>
          </a:p>
        </p:txBody>
      </p:sp>
      <p:cxnSp>
        <p:nvCxnSpPr>
          <p:cNvPr id="8" name="直線コネクタ 7"/>
          <p:cNvCxnSpPr/>
          <p:nvPr userDrawn="1"/>
        </p:nvCxnSpPr>
        <p:spPr>
          <a:xfrm>
            <a:off x="239959" y="817200"/>
            <a:ext cx="11709966" cy="0"/>
          </a:xfrm>
          <a:prstGeom prst="line">
            <a:avLst/>
          </a:prstGeom>
          <a:ln>
            <a:solidFill>
              <a:srgbClr val="C7000D"/>
            </a:solidFill>
          </a:ln>
          <a:effectLst/>
        </p:spPr>
        <p:style>
          <a:lnRef idx="2">
            <a:schemeClr val="accent1"/>
          </a:lnRef>
          <a:fillRef idx="0">
            <a:schemeClr val="accent1"/>
          </a:fillRef>
          <a:effectRef idx="1">
            <a:schemeClr val="accent1"/>
          </a:effectRef>
          <a:fontRef idx="minor">
            <a:schemeClr val="tx1"/>
          </a:fontRef>
        </p:style>
      </p:cxnSp>
      <p:pic>
        <p:nvPicPr>
          <p:cNvPr id="11" name="Picture 2" descr="C:\Users\00057835\AppData\Local\Temp\notesEA5B2A\グループ併記ロゴ（縦・英文）.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0756324" y="26652"/>
            <a:ext cx="1434080" cy="85801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70257853"/>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type="title" preserve="1">
  <p:cSld name="2_タイトル スライド">
    <p:spTree>
      <p:nvGrpSpPr>
        <p:cNvPr id="1" name=""/>
        <p:cNvGrpSpPr/>
        <p:nvPr/>
      </p:nvGrpSpPr>
      <p:grpSpPr>
        <a:xfrm>
          <a:off x="0" y="0"/>
          <a:ext cx="0" cy="0"/>
          <a:chOff x="0" y="0"/>
          <a:chExt cx="0" cy="0"/>
        </a:xfrm>
      </p:grpSpPr>
      <p:sp>
        <p:nvSpPr>
          <p:cNvPr id="10" name="Freeform 5"/>
          <p:cNvSpPr>
            <a:spLocks/>
          </p:cNvSpPr>
          <p:nvPr userDrawn="1"/>
        </p:nvSpPr>
        <p:spPr bwMode="auto">
          <a:xfrm>
            <a:off x="233538" y="169337"/>
            <a:ext cx="11730712" cy="5207000"/>
          </a:xfrm>
          <a:custGeom>
            <a:avLst/>
            <a:gdLst>
              <a:gd name="T0" fmla="*/ 0 w 1618"/>
              <a:gd name="T1" fmla="*/ 0 h 957"/>
              <a:gd name="T2" fmla="*/ 0 w 1618"/>
              <a:gd name="T3" fmla="*/ 957 h 957"/>
              <a:gd name="T4" fmla="*/ 1279 w 1618"/>
              <a:gd name="T5" fmla="*/ 842 h 957"/>
              <a:gd name="T6" fmla="*/ 1618 w 1618"/>
              <a:gd name="T7" fmla="*/ 472 h 957"/>
              <a:gd name="T8" fmla="*/ 1618 w 1618"/>
              <a:gd name="T9" fmla="*/ 0 h 957"/>
              <a:gd name="T10" fmla="*/ 0 w 1618"/>
              <a:gd name="T11" fmla="*/ 0 h 957"/>
            </a:gdLst>
            <a:ahLst/>
            <a:cxnLst>
              <a:cxn ang="0">
                <a:pos x="T0" y="T1"/>
              </a:cxn>
              <a:cxn ang="0">
                <a:pos x="T2" y="T3"/>
              </a:cxn>
              <a:cxn ang="0">
                <a:pos x="T4" y="T5"/>
              </a:cxn>
              <a:cxn ang="0">
                <a:pos x="T6" y="T7"/>
              </a:cxn>
              <a:cxn ang="0">
                <a:pos x="T8" y="T9"/>
              </a:cxn>
              <a:cxn ang="0">
                <a:pos x="T10" y="T11"/>
              </a:cxn>
            </a:cxnLst>
            <a:rect l="0" t="0" r="r" b="b"/>
            <a:pathLst>
              <a:path w="1618" h="957">
                <a:moveTo>
                  <a:pt x="0" y="0"/>
                </a:moveTo>
                <a:cubicBezTo>
                  <a:pt x="0" y="957"/>
                  <a:pt x="0" y="957"/>
                  <a:pt x="0" y="957"/>
                </a:cubicBezTo>
                <a:cubicBezTo>
                  <a:pt x="1279" y="842"/>
                  <a:pt x="1279" y="842"/>
                  <a:pt x="1279" y="842"/>
                </a:cubicBezTo>
                <a:cubicBezTo>
                  <a:pt x="1465" y="825"/>
                  <a:pt x="1618" y="659"/>
                  <a:pt x="1618" y="472"/>
                </a:cubicBezTo>
                <a:cubicBezTo>
                  <a:pt x="1618" y="0"/>
                  <a:pt x="1618" y="0"/>
                  <a:pt x="1618" y="0"/>
                </a:cubicBezTo>
                <a:lnTo>
                  <a:pt x="0" y="0"/>
                </a:lnTo>
                <a:close/>
              </a:path>
            </a:pathLst>
          </a:custGeom>
          <a:solidFill>
            <a:schemeClr val="accent3"/>
          </a:solidFill>
          <a:ln>
            <a:noFill/>
          </a:ln>
        </p:spPr>
        <p:txBody>
          <a:bodyPr lIns="127667" tIns="63834" rIns="127667" bIns="63834"/>
          <a:lstStyle/>
          <a:p>
            <a:endParaRPr lang="ja-JP" altLang="en-US" sz="2533"/>
          </a:p>
        </p:txBody>
      </p:sp>
      <p:sp>
        <p:nvSpPr>
          <p:cNvPr id="2" name="タイトル 1"/>
          <p:cNvSpPr>
            <a:spLocks noGrp="1"/>
          </p:cNvSpPr>
          <p:nvPr>
            <p:ph type="ctrTitle"/>
          </p:nvPr>
        </p:nvSpPr>
        <p:spPr>
          <a:xfrm>
            <a:off x="914400" y="1416804"/>
            <a:ext cx="10363200" cy="1470025"/>
          </a:xfrm>
          <a:prstGeom prst="rect">
            <a:avLst/>
          </a:prstGeom>
        </p:spPr>
        <p:txBody>
          <a:bodyPr lIns="95767" tIns="47884" rIns="95767" bIns="47884" anchor="b">
            <a:normAutofit/>
          </a:bodyPr>
          <a:lstStyle>
            <a:lvl1pPr algn="l">
              <a:defRPr sz="5199" kern="1200">
                <a:solidFill>
                  <a:schemeClr val="tx1"/>
                </a:solidFill>
                <a:latin typeface="Meiryo UI" panose="020B0604030504040204" pitchFamily="50" charset="-128"/>
                <a:ea typeface="Meiryo UI" panose="020B0604030504040204" pitchFamily="50" charset="-128"/>
              </a:defRPr>
            </a:lvl1pPr>
          </a:lstStyle>
          <a:p>
            <a:r>
              <a:rPr kumimoji="1" lang="ja-JP" altLang="en-US"/>
              <a:t>マスター タイトルの書式設定</a:t>
            </a:r>
          </a:p>
        </p:txBody>
      </p:sp>
      <p:sp>
        <p:nvSpPr>
          <p:cNvPr id="3" name="サブタイトル 2"/>
          <p:cNvSpPr>
            <a:spLocks noGrp="1"/>
          </p:cNvSpPr>
          <p:nvPr>
            <p:ph type="subTitle" idx="1"/>
          </p:nvPr>
        </p:nvSpPr>
        <p:spPr>
          <a:xfrm>
            <a:off x="916801" y="3420000"/>
            <a:ext cx="9691436" cy="977153"/>
          </a:xfrm>
          <a:prstGeom prst="rect">
            <a:avLst/>
          </a:prstGeom>
        </p:spPr>
        <p:txBody>
          <a:bodyPr lIns="95767" tIns="47884" rIns="95767" bIns="47884">
            <a:normAutofit/>
          </a:bodyPr>
          <a:lstStyle>
            <a:lvl1pPr marL="0" indent="0" algn="l">
              <a:buNone/>
              <a:defRPr sz="3333">
                <a:solidFill>
                  <a:schemeClr val="tx1"/>
                </a:solidFill>
                <a:latin typeface="Meiryo UI" panose="020B0604030504040204" pitchFamily="50" charset="-128"/>
                <a:ea typeface="Meiryo UI" panose="020B0604030504040204" pitchFamily="50" charset="-128"/>
              </a:defRPr>
            </a:lvl1pPr>
            <a:lvl2pPr marL="638335" indent="0" algn="ctr">
              <a:buNone/>
              <a:defRPr>
                <a:solidFill>
                  <a:schemeClr val="tx1">
                    <a:tint val="75000"/>
                  </a:schemeClr>
                </a:solidFill>
              </a:defRPr>
            </a:lvl2pPr>
            <a:lvl3pPr marL="1276669" indent="0" algn="ctr">
              <a:buNone/>
              <a:defRPr>
                <a:solidFill>
                  <a:schemeClr val="tx1">
                    <a:tint val="75000"/>
                  </a:schemeClr>
                </a:solidFill>
              </a:defRPr>
            </a:lvl3pPr>
            <a:lvl4pPr marL="1915003" indent="0" algn="ctr">
              <a:buNone/>
              <a:defRPr>
                <a:solidFill>
                  <a:schemeClr val="tx1">
                    <a:tint val="75000"/>
                  </a:schemeClr>
                </a:solidFill>
              </a:defRPr>
            </a:lvl4pPr>
            <a:lvl5pPr marL="2553338" indent="0" algn="ctr">
              <a:buNone/>
              <a:defRPr>
                <a:solidFill>
                  <a:schemeClr val="tx1">
                    <a:tint val="75000"/>
                  </a:schemeClr>
                </a:solidFill>
              </a:defRPr>
            </a:lvl5pPr>
            <a:lvl6pPr marL="3191671" indent="0" algn="ctr">
              <a:buNone/>
              <a:defRPr>
                <a:solidFill>
                  <a:schemeClr val="tx1">
                    <a:tint val="75000"/>
                  </a:schemeClr>
                </a:solidFill>
              </a:defRPr>
            </a:lvl6pPr>
            <a:lvl7pPr marL="3830007" indent="0" algn="ctr">
              <a:buNone/>
              <a:defRPr>
                <a:solidFill>
                  <a:schemeClr val="tx1">
                    <a:tint val="75000"/>
                  </a:schemeClr>
                </a:solidFill>
              </a:defRPr>
            </a:lvl7pPr>
            <a:lvl8pPr marL="4468342" indent="0" algn="ctr">
              <a:buNone/>
              <a:defRPr>
                <a:solidFill>
                  <a:schemeClr val="tx1">
                    <a:tint val="75000"/>
                  </a:schemeClr>
                </a:solidFill>
              </a:defRPr>
            </a:lvl8pPr>
            <a:lvl9pPr marL="5106676" indent="0" algn="ctr">
              <a:buNone/>
              <a:defRPr>
                <a:solidFill>
                  <a:schemeClr val="tx1">
                    <a:tint val="75000"/>
                  </a:schemeClr>
                </a:solidFill>
              </a:defRPr>
            </a:lvl9pPr>
          </a:lstStyle>
          <a:p>
            <a:r>
              <a:rPr kumimoji="1" lang="ja-JP" altLang="en-US"/>
              <a:t>マスター サブタイトルの書式設定</a:t>
            </a:r>
          </a:p>
        </p:txBody>
      </p:sp>
      <p:sp>
        <p:nvSpPr>
          <p:cNvPr id="9" name="フッター プレースホルダー 12"/>
          <p:cNvSpPr>
            <a:spLocks noGrp="1"/>
          </p:cNvSpPr>
          <p:nvPr>
            <p:ph type="ftr" sz="quarter" idx="11"/>
          </p:nvPr>
        </p:nvSpPr>
        <p:spPr>
          <a:xfrm>
            <a:off x="609600" y="6099529"/>
            <a:ext cx="3860800" cy="365125"/>
          </a:xfrm>
          <a:prstGeom prst="rect">
            <a:avLst/>
          </a:prstGeom>
        </p:spPr>
        <p:txBody>
          <a:bodyPr lIns="95767" tIns="47884" rIns="95767" bIns="47884"/>
          <a:lstStyle>
            <a:lvl1pPr algn="l">
              <a:defRPr sz="2266">
                <a:latin typeface="Meiryo UI" panose="020B0604030504040204" pitchFamily="50" charset="-128"/>
                <a:ea typeface="Meiryo UI" panose="020B0604030504040204" pitchFamily="50" charset="-128"/>
              </a:defRPr>
            </a:lvl1pPr>
          </a:lstStyle>
          <a:p>
            <a:endParaRPr lang="ja-JP" altLang="en-US"/>
          </a:p>
        </p:txBody>
      </p:sp>
      <p:sp>
        <p:nvSpPr>
          <p:cNvPr id="12" name="日付プレースホルダー 11"/>
          <p:cNvSpPr>
            <a:spLocks noGrp="1"/>
          </p:cNvSpPr>
          <p:nvPr>
            <p:ph type="dt" sz="half" idx="10"/>
          </p:nvPr>
        </p:nvSpPr>
        <p:spPr>
          <a:xfrm>
            <a:off x="609600" y="5691768"/>
            <a:ext cx="3860800" cy="365125"/>
          </a:xfrm>
          <a:prstGeom prst="rect">
            <a:avLst/>
          </a:prstGeom>
        </p:spPr>
        <p:txBody>
          <a:bodyPr lIns="95767" tIns="47884" rIns="95767" bIns="47884"/>
          <a:lstStyle>
            <a:lvl1pPr algn="l">
              <a:defRPr sz="2266">
                <a:solidFill>
                  <a:srgbClr val="000000"/>
                </a:solidFill>
                <a:latin typeface="Meiryo UI" panose="020B0604030504040204" pitchFamily="50" charset="-128"/>
                <a:ea typeface="Meiryo UI" panose="020B0604030504040204" pitchFamily="50" charset="-128"/>
              </a:defRPr>
            </a:lvl1pPr>
          </a:lstStyle>
          <a:p>
            <a:endParaRPr lang="ja-JP" altLang="en-US"/>
          </a:p>
        </p:txBody>
      </p:sp>
      <p:pic>
        <p:nvPicPr>
          <p:cNvPr id="8" name="Picture 2" descr="C:\Users\00057835\AppData\Local\Temp\notesEA5B2A\グループ併記ロゴ（縦・英文）.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9672823" y="5316525"/>
            <a:ext cx="2519177" cy="1507239"/>
          </a:xfrm>
          <a:prstGeom prst="rect">
            <a:avLst/>
          </a:prstGeom>
          <a:noFill/>
          <a:extLst>
            <a:ext uri="{909E8E84-426E-40DD-AFC4-6F175D3DCCD1}">
              <a14:hiddenFill xmlns:a14="http://schemas.microsoft.com/office/drawing/2010/main">
                <a:solidFill>
                  <a:srgbClr val="FFFFFF"/>
                </a:solidFill>
              </a14:hiddenFill>
            </a:ext>
          </a:extLst>
        </p:spPr>
      </p:pic>
      <p:pic>
        <p:nvPicPr>
          <p:cNvPr id="11" name="図 10" descr="テキスト&#10;&#10;自動的に生成された説明">
            <a:extLst>
              <a:ext uri="{FF2B5EF4-FFF2-40B4-BE49-F238E27FC236}">
                <a16:creationId xmlns:a16="http://schemas.microsoft.com/office/drawing/2014/main" id="{8110F724-5D80-4831-924C-C0166E671DD6}"/>
              </a:ext>
            </a:extLst>
          </p:cNvPr>
          <p:cNvPicPr>
            <a:picLocks noChangeAspect="1"/>
          </p:cNvPicPr>
          <p:nvPr userDrawn="1"/>
        </p:nvPicPr>
        <p:blipFill>
          <a:blip r:embed="rId3"/>
          <a:stretch>
            <a:fillRect/>
          </a:stretch>
        </p:blipFill>
        <p:spPr>
          <a:xfrm>
            <a:off x="7614083" y="5874330"/>
            <a:ext cx="2138567" cy="637168"/>
          </a:xfrm>
          <a:prstGeom prst="rect">
            <a:avLst/>
          </a:prstGeom>
        </p:spPr>
      </p:pic>
    </p:spTree>
    <p:extLst>
      <p:ext uri="{BB962C8B-B14F-4D97-AF65-F5344CB8AC3E}">
        <p14:creationId xmlns:p14="http://schemas.microsoft.com/office/powerpoint/2010/main" val="265601954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14_タイトルとコンテンツ">
    <p:spTree>
      <p:nvGrpSpPr>
        <p:cNvPr id="1" name=""/>
        <p:cNvGrpSpPr/>
        <p:nvPr/>
      </p:nvGrpSpPr>
      <p:grpSpPr>
        <a:xfrm>
          <a:off x="0" y="0"/>
          <a:ext cx="0" cy="0"/>
          <a:chOff x="0" y="0"/>
          <a:chExt cx="0" cy="0"/>
        </a:xfrm>
      </p:grpSpPr>
      <p:sp>
        <p:nvSpPr>
          <p:cNvPr id="9" name="Freeform 8"/>
          <p:cNvSpPr>
            <a:spLocks/>
          </p:cNvSpPr>
          <p:nvPr userDrawn="1"/>
        </p:nvSpPr>
        <p:spPr bwMode="auto">
          <a:xfrm>
            <a:off x="-2100" y="5505984"/>
            <a:ext cx="12192504" cy="1353504"/>
          </a:xfrm>
          <a:custGeom>
            <a:avLst/>
            <a:gdLst>
              <a:gd name="T0" fmla="*/ 3622 w 3622"/>
              <a:gd name="T1" fmla="*/ 608 h 608"/>
              <a:gd name="T2" fmla="*/ 3622 w 3622"/>
              <a:gd name="T3" fmla="*/ 0 h 608"/>
              <a:gd name="T4" fmla="*/ 3622 w 3622"/>
              <a:gd name="T5" fmla="*/ 0 h 608"/>
              <a:gd name="T6" fmla="*/ 3622 w 3622"/>
              <a:gd name="T7" fmla="*/ 14 h 608"/>
              <a:gd name="T8" fmla="*/ 3616 w 3622"/>
              <a:gd name="T9" fmla="*/ 46 h 608"/>
              <a:gd name="T10" fmla="*/ 3612 w 3622"/>
              <a:gd name="T11" fmla="*/ 68 h 608"/>
              <a:gd name="T12" fmla="*/ 3604 w 3622"/>
              <a:gd name="T13" fmla="*/ 94 h 608"/>
              <a:gd name="T14" fmla="*/ 3596 w 3622"/>
              <a:gd name="T15" fmla="*/ 122 h 608"/>
              <a:gd name="T16" fmla="*/ 3584 w 3622"/>
              <a:gd name="T17" fmla="*/ 150 h 608"/>
              <a:gd name="T18" fmla="*/ 3568 w 3622"/>
              <a:gd name="T19" fmla="*/ 178 h 608"/>
              <a:gd name="T20" fmla="*/ 3550 w 3622"/>
              <a:gd name="T21" fmla="*/ 206 h 608"/>
              <a:gd name="T22" fmla="*/ 3526 w 3622"/>
              <a:gd name="T23" fmla="*/ 232 h 608"/>
              <a:gd name="T24" fmla="*/ 3514 w 3622"/>
              <a:gd name="T25" fmla="*/ 246 h 608"/>
              <a:gd name="T26" fmla="*/ 3498 w 3622"/>
              <a:gd name="T27" fmla="*/ 258 h 608"/>
              <a:gd name="T28" fmla="*/ 3484 w 3622"/>
              <a:gd name="T29" fmla="*/ 268 h 608"/>
              <a:gd name="T30" fmla="*/ 3466 w 3622"/>
              <a:gd name="T31" fmla="*/ 280 h 608"/>
              <a:gd name="T32" fmla="*/ 3448 w 3622"/>
              <a:gd name="T33" fmla="*/ 288 h 608"/>
              <a:gd name="T34" fmla="*/ 3430 w 3622"/>
              <a:gd name="T35" fmla="*/ 298 h 608"/>
              <a:gd name="T36" fmla="*/ 3410 w 3622"/>
              <a:gd name="T37" fmla="*/ 304 h 608"/>
              <a:gd name="T38" fmla="*/ 3386 w 3622"/>
              <a:gd name="T39" fmla="*/ 310 h 608"/>
              <a:gd name="T40" fmla="*/ 3364 w 3622"/>
              <a:gd name="T41" fmla="*/ 316 h 608"/>
              <a:gd name="T42" fmla="*/ 3338 w 3622"/>
              <a:gd name="T43" fmla="*/ 318 h 608"/>
              <a:gd name="T44" fmla="*/ 3338 w 3622"/>
              <a:gd name="T45" fmla="*/ 318 h 608"/>
              <a:gd name="T46" fmla="*/ 0 w 3622"/>
              <a:gd name="T47" fmla="*/ 608 h 608"/>
              <a:gd name="T48" fmla="*/ 3622 w 3622"/>
              <a:gd name="T49" fmla="*/ 608 h 608"/>
              <a:gd name="connsiteX0" fmla="*/ 10000 w 10000"/>
              <a:gd name="connsiteY0" fmla="*/ 10000 h 10000"/>
              <a:gd name="connsiteX1" fmla="*/ 10000 w 10000"/>
              <a:gd name="connsiteY1" fmla="*/ 0 h 10000"/>
              <a:gd name="connsiteX2" fmla="*/ 10000 w 10000"/>
              <a:gd name="connsiteY2" fmla="*/ 0 h 10000"/>
              <a:gd name="connsiteX3" fmla="*/ 10000 w 10000"/>
              <a:gd name="connsiteY3" fmla="*/ 230 h 10000"/>
              <a:gd name="connsiteX4" fmla="*/ 9983 w 10000"/>
              <a:gd name="connsiteY4" fmla="*/ 757 h 10000"/>
              <a:gd name="connsiteX5" fmla="*/ 9972 w 10000"/>
              <a:gd name="connsiteY5" fmla="*/ 1118 h 10000"/>
              <a:gd name="connsiteX6" fmla="*/ 9950 w 10000"/>
              <a:gd name="connsiteY6" fmla="*/ 1546 h 10000"/>
              <a:gd name="connsiteX7" fmla="*/ 9928 w 10000"/>
              <a:gd name="connsiteY7" fmla="*/ 2007 h 10000"/>
              <a:gd name="connsiteX8" fmla="*/ 9895 w 10000"/>
              <a:gd name="connsiteY8" fmla="*/ 2467 h 10000"/>
              <a:gd name="connsiteX9" fmla="*/ 9851 w 10000"/>
              <a:gd name="connsiteY9" fmla="*/ 2928 h 10000"/>
              <a:gd name="connsiteX10" fmla="*/ 9801 w 10000"/>
              <a:gd name="connsiteY10" fmla="*/ 3388 h 10000"/>
              <a:gd name="connsiteX11" fmla="*/ 9735 w 10000"/>
              <a:gd name="connsiteY11" fmla="*/ 3816 h 10000"/>
              <a:gd name="connsiteX12" fmla="*/ 9702 w 10000"/>
              <a:gd name="connsiteY12" fmla="*/ 4046 h 10000"/>
              <a:gd name="connsiteX13" fmla="*/ 9658 w 10000"/>
              <a:gd name="connsiteY13" fmla="*/ 4243 h 10000"/>
              <a:gd name="connsiteX14" fmla="*/ 9619 w 10000"/>
              <a:gd name="connsiteY14" fmla="*/ 4408 h 10000"/>
              <a:gd name="connsiteX15" fmla="*/ 9569 w 10000"/>
              <a:gd name="connsiteY15" fmla="*/ 4605 h 10000"/>
              <a:gd name="connsiteX16" fmla="*/ 9520 w 10000"/>
              <a:gd name="connsiteY16" fmla="*/ 4737 h 10000"/>
              <a:gd name="connsiteX17" fmla="*/ 9470 w 10000"/>
              <a:gd name="connsiteY17" fmla="*/ 4901 h 10000"/>
              <a:gd name="connsiteX18" fmla="*/ 9415 w 10000"/>
              <a:gd name="connsiteY18" fmla="*/ 5000 h 10000"/>
              <a:gd name="connsiteX19" fmla="*/ 9348 w 10000"/>
              <a:gd name="connsiteY19" fmla="*/ 5099 h 10000"/>
              <a:gd name="connsiteX20" fmla="*/ 9288 w 10000"/>
              <a:gd name="connsiteY20" fmla="*/ 5197 h 10000"/>
              <a:gd name="connsiteX21" fmla="*/ 9216 w 10000"/>
              <a:gd name="connsiteY21" fmla="*/ 5230 h 10000"/>
              <a:gd name="connsiteX22" fmla="*/ 9216 w 10000"/>
              <a:gd name="connsiteY22" fmla="*/ 5230 h 10000"/>
              <a:gd name="connsiteX23" fmla="*/ 1190 w 10000"/>
              <a:gd name="connsiteY23" fmla="*/ 9414 h 10000"/>
              <a:gd name="connsiteX24" fmla="*/ 0 w 10000"/>
              <a:gd name="connsiteY24" fmla="*/ 10000 h 10000"/>
              <a:gd name="connsiteX25" fmla="*/ 10000 w 10000"/>
              <a:gd name="connsiteY25" fmla="*/ 10000 h 10000"/>
              <a:gd name="connsiteX0" fmla="*/ 10000 w 10000"/>
              <a:gd name="connsiteY0" fmla="*/ 10000 h 10011"/>
              <a:gd name="connsiteX1" fmla="*/ 10000 w 10000"/>
              <a:gd name="connsiteY1" fmla="*/ 0 h 10011"/>
              <a:gd name="connsiteX2" fmla="*/ 10000 w 10000"/>
              <a:gd name="connsiteY2" fmla="*/ 0 h 10011"/>
              <a:gd name="connsiteX3" fmla="*/ 10000 w 10000"/>
              <a:gd name="connsiteY3" fmla="*/ 230 h 10011"/>
              <a:gd name="connsiteX4" fmla="*/ 9983 w 10000"/>
              <a:gd name="connsiteY4" fmla="*/ 757 h 10011"/>
              <a:gd name="connsiteX5" fmla="*/ 9972 w 10000"/>
              <a:gd name="connsiteY5" fmla="*/ 1118 h 10011"/>
              <a:gd name="connsiteX6" fmla="*/ 9950 w 10000"/>
              <a:gd name="connsiteY6" fmla="*/ 1546 h 10011"/>
              <a:gd name="connsiteX7" fmla="*/ 9928 w 10000"/>
              <a:gd name="connsiteY7" fmla="*/ 2007 h 10011"/>
              <a:gd name="connsiteX8" fmla="*/ 9895 w 10000"/>
              <a:gd name="connsiteY8" fmla="*/ 2467 h 10011"/>
              <a:gd name="connsiteX9" fmla="*/ 9851 w 10000"/>
              <a:gd name="connsiteY9" fmla="*/ 2928 h 10011"/>
              <a:gd name="connsiteX10" fmla="*/ 9801 w 10000"/>
              <a:gd name="connsiteY10" fmla="*/ 3388 h 10011"/>
              <a:gd name="connsiteX11" fmla="*/ 9735 w 10000"/>
              <a:gd name="connsiteY11" fmla="*/ 3816 h 10011"/>
              <a:gd name="connsiteX12" fmla="*/ 9702 w 10000"/>
              <a:gd name="connsiteY12" fmla="*/ 4046 h 10011"/>
              <a:gd name="connsiteX13" fmla="*/ 9658 w 10000"/>
              <a:gd name="connsiteY13" fmla="*/ 4243 h 10011"/>
              <a:gd name="connsiteX14" fmla="*/ 9619 w 10000"/>
              <a:gd name="connsiteY14" fmla="*/ 4408 h 10011"/>
              <a:gd name="connsiteX15" fmla="*/ 9569 w 10000"/>
              <a:gd name="connsiteY15" fmla="*/ 4605 h 10011"/>
              <a:gd name="connsiteX16" fmla="*/ 9520 w 10000"/>
              <a:gd name="connsiteY16" fmla="*/ 4737 h 10011"/>
              <a:gd name="connsiteX17" fmla="*/ 9470 w 10000"/>
              <a:gd name="connsiteY17" fmla="*/ 4901 h 10011"/>
              <a:gd name="connsiteX18" fmla="*/ 9415 w 10000"/>
              <a:gd name="connsiteY18" fmla="*/ 5000 h 10011"/>
              <a:gd name="connsiteX19" fmla="*/ 9348 w 10000"/>
              <a:gd name="connsiteY19" fmla="*/ 5099 h 10011"/>
              <a:gd name="connsiteX20" fmla="*/ 9288 w 10000"/>
              <a:gd name="connsiteY20" fmla="*/ 5197 h 10011"/>
              <a:gd name="connsiteX21" fmla="*/ 9216 w 10000"/>
              <a:gd name="connsiteY21" fmla="*/ 5230 h 10011"/>
              <a:gd name="connsiteX22" fmla="*/ 9216 w 10000"/>
              <a:gd name="connsiteY22" fmla="*/ 5230 h 10011"/>
              <a:gd name="connsiteX23" fmla="*/ 1190 w 10000"/>
              <a:gd name="connsiteY23" fmla="*/ 9414 h 10011"/>
              <a:gd name="connsiteX24" fmla="*/ 0 w 10000"/>
              <a:gd name="connsiteY24" fmla="*/ 10000 h 10011"/>
              <a:gd name="connsiteX25" fmla="*/ 1185 w 10000"/>
              <a:gd name="connsiteY25" fmla="*/ 10011 h 10011"/>
              <a:gd name="connsiteX26" fmla="*/ 10000 w 10000"/>
              <a:gd name="connsiteY26" fmla="*/ 10000 h 10011"/>
              <a:gd name="connsiteX0" fmla="*/ 8815 w 8815"/>
              <a:gd name="connsiteY0" fmla="*/ 10000 h 10011"/>
              <a:gd name="connsiteX1" fmla="*/ 8815 w 8815"/>
              <a:gd name="connsiteY1" fmla="*/ 0 h 10011"/>
              <a:gd name="connsiteX2" fmla="*/ 8815 w 8815"/>
              <a:gd name="connsiteY2" fmla="*/ 0 h 10011"/>
              <a:gd name="connsiteX3" fmla="*/ 8815 w 8815"/>
              <a:gd name="connsiteY3" fmla="*/ 230 h 10011"/>
              <a:gd name="connsiteX4" fmla="*/ 8798 w 8815"/>
              <a:gd name="connsiteY4" fmla="*/ 757 h 10011"/>
              <a:gd name="connsiteX5" fmla="*/ 8787 w 8815"/>
              <a:gd name="connsiteY5" fmla="*/ 1118 h 10011"/>
              <a:gd name="connsiteX6" fmla="*/ 8765 w 8815"/>
              <a:gd name="connsiteY6" fmla="*/ 1546 h 10011"/>
              <a:gd name="connsiteX7" fmla="*/ 8743 w 8815"/>
              <a:gd name="connsiteY7" fmla="*/ 2007 h 10011"/>
              <a:gd name="connsiteX8" fmla="*/ 8710 w 8815"/>
              <a:gd name="connsiteY8" fmla="*/ 2467 h 10011"/>
              <a:gd name="connsiteX9" fmla="*/ 8666 w 8815"/>
              <a:gd name="connsiteY9" fmla="*/ 2928 h 10011"/>
              <a:gd name="connsiteX10" fmla="*/ 8616 w 8815"/>
              <a:gd name="connsiteY10" fmla="*/ 3388 h 10011"/>
              <a:gd name="connsiteX11" fmla="*/ 8550 w 8815"/>
              <a:gd name="connsiteY11" fmla="*/ 3816 h 10011"/>
              <a:gd name="connsiteX12" fmla="*/ 8517 w 8815"/>
              <a:gd name="connsiteY12" fmla="*/ 4046 h 10011"/>
              <a:gd name="connsiteX13" fmla="*/ 8473 w 8815"/>
              <a:gd name="connsiteY13" fmla="*/ 4243 h 10011"/>
              <a:gd name="connsiteX14" fmla="*/ 8434 w 8815"/>
              <a:gd name="connsiteY14" fmla="*/ 4408 h 10011"/>
              <a:gd name="connsiteX15" fmla="*/ 8384 w 8815"/>
              <a:gd name="connsiteY15" fmla="*/ 4605 h 10011"/>
              <a:gd name="connsiteX16" fmla="*/ 8335 w 8815"/>
              <a:gd name="connsiteY16" fmla="*/ 4737 h 10011"/>
              <a:gd name="connsiteX17" fmla="*/ 8285 w 8815"/>
              <a:gd name="connsiteY17" fmla="*/ 4901 h 10011"/>
              <a:gd name="connsiteX18" fmla="*/ 8230 w 8815"/>
              <a:gd name="connsiteY18" fmla="*/ 5000 h 10011"/>
              <a:gd name="connsiteX19" fmla="*/ 8163 w 8815"/>
              <a:gd name="connsiteY19" fmla="*/ 5099 h 10011"/>
              <a:gd name="connsiteX20" fmla="*/ 8103 w 8815"/>
              <a:gd name="connsiteY20" fmla="*/ 5197 h 10011"/>
              <a:gd name="connsiteX21" fmla="*/ 8031 w 8815"/>
              <a:gd name="connsiteY21" fmla="*/ 5230 h 10011"/>
              <a:gd name="connsiteX22" fmla="*/ 8031 w 8815"/>
              <a:gd name="connsiteY22" fmla="*/ 5230 h 10011"/>
              <a:gd name="connsiteX23" fmla="*/ 5 w 8815"/>
              <a:gd name="connsiteY23" fmla="*/ 9414 h 10011"/>
              <a:gd name="connsiteX24" fmla="*/ 0 w 8815"/>
              <a:gd name="connsiteY24" fmla="*/ 10011 h 10011"/>
              <a:gd name="connsiteX25" fmla="*/ 8815 w 8815"/>
              <a:gd name="connsiteY25" fmla="*/ 10000 h 10011"/>
              <a:gd name="connsiteX0" fmla="*/ 9996 w 9996"/>
              <a:gd name="connsiteY0" fmla="*/ 9989 h 10000"/>
              <a:gd name="connsiteX1" fmla="*/ 9996 w 9996"/>
              <a:gd name="connsiteY1" fmla="*/ 0 h 10000"/>
              <a:gd name="connsiteX2" fmla="*/ 9996 w 9996"/>
              <a:gd name="connsiteY2" fmla="*/ 0 h 10000"/>
              <a:gd name="connsiteX3" fmla="*/ 9996 w 9996"/>
              <a:gd name="connsiteY3" fmla="*/ 230 h 10000"/>
              <a:gd name="connsiteX4" fmla="*/ 9977 w 9996"/>
              <a:gd name="connsiteY4" fmla="*/ 756 h 10000"/>
              <a:gd name="connsiteX5" fmla="*/ 9964 w 9996"/>
              <a:gd name="connsiteY5" fmla="*/ 1117 h 10000"/>
              <a:gd name="connsiteX6" fmla="*/ 9939 w 9996"/>
              <a:gd name="connsiteY6" fmla="*/ 1544 h 10000"/>
              <a:gd name="connsiteX7" fmla="*/ 9914 w 9996"/>
              <a:gd name="connsiteY7" fmla="*/ 2005 h 10000"/>
              <a:gd name="connsiteX8" fmla="*/ 9877 w 9996"/>
              <a:gd name="connsiteY8" fmla="*/ 2464 h 10000"/>
              <a:gd name="connsiteX9" fmla="*/ 9827 w 9996"/>
              <a:gd name="connsiteY9" fmla="*/ 2925 h 10000"/>
              <a:gd name="connsiteX10" fmla="*/ 9770 w 9996"/>
              <a:gd name="connsiteY10" fmla="*/ 3384 h 10000"/>
              <a:gd name="connsiteX11" fmla="*/ 9695 w 9996"/>
              <a:gd name="connsiteY11" fmla="*/ 3812 h 10000"/>
              <a:gd name="connsiteX12" fmla="*/ 9658 w 9996"/>
              <a:gd name="connsiteY12" fmla="*/ 4042 h 10000"/>
              <a:gd name="connsiteX13" fmla="*/ 9608 w 9996"/>
              <a:gd name="connsiteY13" fmla="*/ 4238 h 10000"/>
              <a:gd name="connsiteX14" fmla="*/ 9564 w 9996"/>
              <a:gd name="connsiteY14" fmla="*/ 4403 h 10000"/>
              <a:gd name="connsiteX15" fmla="*/ 9507 w 9996"/>
              <a:gd name="connsiteY15" fmla="*/ 4600 h 10000"/>
              <a:gd name="connsiteX16" fmla="*/ 9451 w 9996"/>
              <a:gd name="connsiteY16" fmla="*/ 4732 h 10000"/>
              <a:gd name="connsiteX17" fmla="*/ 9395 w 9996"/>
              <a:gd name="connsiteY17" fmla="*/ 4896 h 10000"/>
              <a:gd name="connsiteX18" fmla="*/ 9332 w 9996"/>
              <a:gd name="connsiteY18" fmla="*/ 4995 h 10000"/>
              <a:gd name="connsiteX19" fmla="*/ 9256 w 9996"/>
              <a:gd name="connsiteY19" fmla="*/ 5093 h 10000"/>
              <a:gd name="connsiteX20" fmla="*/ 9188 w 9996"/>
              <a:gd name="connsiteY20" fmla="*/ 5191 h 10000"/>
              <a:gd name="connsiteX21" fmla="*/ 9107 w 9996"/>
              <a:gd name="connsiteY21" fmla="*/ 5224 h 10000"/>
              <a:gd name="connsiteX22" fmla="*/ 9107 w 9996"/>
              <a:gd name="connsiteY22" fmla="*/ 5224 h 10000"/>
              <a:gd name="connsiteX23" fmla="*/ 2 w 9996"/>
              <a:gd name="connsiteY23" fmla="*/ 9404 h 10000"/>
              <a:gd name="connsiteX24" fmla="*/ 0 w 9996"/>
              <a:gd name="connsiteY24" fmla="*/ 10000 h 10000"/>
              <a:gd name="connsiteX25" fmla="*/ 9996 w 9996"/>
              <a:gd name="connsiteY25" fmla="*/ 9989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9996" h="10000">
                <a:moveTo>
                  <a:pt x="9996" y="9989"/>
                </a:moveTo>
                <a:lnTo>
                  <a:pt x="9996" y="0"/>
                </a:lnTo>
                <a:lnTo>
                  <a:pt x="9996" y="0"/>
                </a:lnTo>
                <a:lnTo>
                  <a:pt x="9996" y="230"/>
                </a:lnTo>
                <a:cubicBezTo>
                  <a:pt x="9989" y="406"/>
                  <a:pt x="9984" y="580"/>
                  <a:pt x="9977" y="756"/>
                </a:cubicBezTo>
                <a:cubicBezTo>
                  <a:pt x="9972" y="876"/>
                  <a:pt x="9969" y="997"/>
                  <a:pt x="9964" y="1117"/>
                </a:cubicBezTo>
                <a:cubicBezTo>
                  <a:pt x="9956" y="1260"/>
                  <a:pt x="9947" y="1401"/>
                  <a:pt x="9939" y="1544"/>
                </a:cubicBezTo>
                <a:cubicBezTo>
                  <a:pt x="9931" y="1698"/>
                  <a:pt x="9922" y="1851"/>
                  <a:pt x="9914" y="2005"/>
                </a:cubicBezTo>
                <a:cubicBezTo>
                  <a:pt x="9902" y="2158"/>
                  <a:pt x="9889" y="2311"/>
                  <a:pt x="9877" y="2464"/>
                </a:cubicBezTo>
                <a:cubicBezTo>
                  <a:pt x="9860" y="2618"/>
                  <a:pt x="9844" y="2771"/>
                  <a:pt x="9827" y="2925"/>
                </a:cubicBezTo>
                <a:cubicBezTo>
                  <a:pt x="9808" y="3078"/>
                  <a:pt x="9790" y="3231"/>
                  <a:pt x="9770" y="3384"/>
                </a:cubicBezTo>
                <a:cubicBezTo>
                  <a:pt x="9745" y="3527"/>
                  <a:pt x="9720" y="3669"/>
                  <a:pt x="9695" y="3812"/>
                </a:cubicBezTo>
                <a:cubicBezTo>
                  <a:pt x="9683" y="3889"/>
                  <a:pt x="9670" y="3965"/>
                  <a:pt x="9658" y="4042"/>
                </a:cubicBezTo>
                <a:cubicBezTo>
                  <a:pt x="9641" y="4107"/>
                  <a:pt x="9625" y="4172"/>
                  <a:pt x="9608" y="4238"/>
                </a:cubicBezTo>
                <a:cubicBezTo>
                  <a:pt x="9593" y="4293"/>
                  <a:pt x="9579" y="4348"/>
                  <a:pt x="9564" y="4403"/>
                </a:cubicBezTo>
                <a:cubicBezTo>
                  <a:pt x="9544" y="4469"/>
                  <a:pt x="9526" y="4534"/>
                  <a:pt x="9507" y="4600"/>
                </a:cubicBezTo>
                <a:cubicBezTo>
                  <a:pt x="9489" y="4644"/>
                  <a:pt x="9470" y="4688"/>
                  <a:pt x="9451" y="4732"/>
                </a:cubicBezTo>
                <a:cubicBezTo>
                  <a:pt x="9432" y="4787"/>
                  <a:pt x="9414" y="4841"/>
                  <a:pt x="9395" y="4896"/>
                </a:cubicBezTo>
                <a:lnTo>
                  <a:pt x="9332" y="4995"/>
                </a:lnTo>
                <a:cubicBezTo>
                  <a:pt x="9307" y="5027"/>
                  <a:pt x="9281" y="5060"/>
                  <a:pt x="9256" y="5093"/>
                </a:cubicBezTo>
                <a:cubicBezTo>
                  <a:pt x="9234" y="5126"/>
                  <a:pt x="9211" y="5158"/>
                  <a:pt x="9188" y="5191"/>
                </a:cubicBezTo>
                <a:lnTo>
                  <a:pt x="9107" y="5224"/>
                </a:lnTo>
                <a:lnTo>
                  <a:pt x="9107" y="5224"/>
                </a:lnTo>
                <a:lnTo>
                  <a:pt x="2" y="9404"/>
                </a:lnTo>
                <a:cubicBezTo>
                  <a:pt x="-1" y="9602"/>
                  <a:pt x="2" y="9801"/>
                  <a:pt x="0" y="10000"/>
                </a:cubicBezTo>
                <a:lnTo>
                  <a:pt x="9996" y="9989"/>
                </a:lnTo>
                <a:close/>
              </a:path>
            </a:pathLst>
          </a:custGeom>
          <a:solidFill>
            <a:schemeClr val="accent6"/>
          </a:solidFill>
          <a:ln>
            <a:noFill/>
          </a:ln>
        </p:spPr>
        <p:txBody>
          <a:bodyPr vert="horz" wrap="square" lIns="133428" tIns="66715" rIns="133428" bIns="66715" numCol="1" anchor="t" anchorCtr="0" compatLnSpc="1">
            <a:prstTxWarp prst="textNoShape">
              <a:avLst/>
            </a:prstTxWarp>
          </a:bodyPr>
          <a:lstStyle/>
          <a:p>
            <a:endParaRPr lang="ja-JP" altLang="en-US" sz="2533"/>
          </a:p>
        </p:txBody>
      </p:sp>
      <p:sp>
        <p:nvSpPr>
          <p:cNvPr id="2" name="タイトル 1"/>
          <p:cNvSpPr>
            <a:spLocks noGrp="1"/>
          </p:cNvSpPr>
          <p:nvPr>
            <p:ph type="title"/>
          </p:nvPr>
        </p:nvSpPr>
        <p:spPr>
          <a:xfrm>
            <a:off x="368549" y="194236"/>
            <a:ext cx="9791452" cy="540000"/>
          </a:xfrm>
          <a:prstGeom prst="rect">
            <a:avLst/>
          </a:prstGeom>
        </p:spPr>
        <p:txBody>
          <a:bodyPr lIns="95767" tIns="47884" rIns="95767" bIns="47884"/>
          <a:lstStyle/>
          <a:p>
            <a:r>
              <a:rPr kumimoji="1" lang="ja-JP" altLang="en-US"/>
              <a:t>マスター タイトルの書式設定</a:t>
            </a:r>
          </a:p>
        </p:txBody>
      </p:sp>
      <p:sp>
        <p:nvSpPr>
          <p:cNvPr id="3" name="コンテンツ プレースホルダー 2"/>
          <p:cNvSpPr>
            <a:spLocks noGrp="1"/>
          </p:cNvSpPr>
          <p:nvPr>
            <p:ph idx="1"/>
          </p:nvPr>
        </p:nvSpPr>
        <p:spPr>
          <a:xfrm>
            <a:off x="368551" y="903600"/>
            <a:ext cx="11583452" cy="5540400"/>
          </a:xfrm>
          <a:prstGeom prst="rect">
            <a:avLst/>
          </a:prstGeom>
        </p:spPr>
        <p:txBody>
          <a:bodyPr lIns="95767" tIns="47884" rIns="95767" bIns="47884"/>
          <a:lstStyle>
            <a:lvl2pPr indent="-236233">
              <a:defRPr/>
            </a:lvl2pPr>
            <a:lvl3pPr indent="-236233">
              <a:defRPr/>
            </a:lvl3pPr>
            <a:lvl4pPr indent="-236233">
              <a:defRPr/>
            </a:lvl4pPr>
            <a:lvl5pPr indent="-236233">
              <a:defRPr/>
            </a:lvl5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6" name="スライド番号プレースホルダー 5"/>
          <p:cNvSpPr>
            <a:spLocks noGrp="1"/>
          </p:cNvSpPr>
          <p:nvPr>
            <p:ph type="sldNum" sz="quarter" idx="12"/>
          </p:nvPr>
        </p:nvSpPr>
        <p:spPr>
          <a:xfrm>
            <a:off x="11524630" y="6468878"/>
            <a:ext cx="555811" cy="289299"/>
          </a:xfrm>
          <a:prstGeom prst="rect">
            <a:avLst/>
          </a:prstGeom>
        </p:spPr>
        <p:txBody>
          <a:bodyPr lIns="95767" tIns="47884" rIns="95767" bIns="47884"/>
          <a:lstStyle>
            <a:lvl1pPr>
              <a:defRPr sz="1333"/>
            </a:lvl1pPr>
          </a:lstStyle>
          <a:p>
            <a:fld id="{2FF5E1DE-7B95-8A44-8552-65323269AE41}" type="slidenum">
              <a:rPr lang="ja-JP" altLang="en-US" smtClean="0"/>
              <a:pPr/>
              <a:t>‹#›</a:t>
            </a:fld>
            <a:endParaRPr lang="ja-JP" altLang="en-US"/>
          </a:p>
        </p:txBody>
      </p:sp>
      <p:cxnSp>
        <p:nvCxnSpPr>
          <p:cNvPr id="8" name="直線コネクタ 7"/>
          <p:cNvCxnSpPr/>
          <p:nvPr userDrawn="1"/>
        </p:nvCxnSpPr>
        <p:spPr>
          <a:xfrm>
            <a:off x="239959" y="817200"/>
            <a:ext cx="11709966" cy="0"/>
          </a:xfrm>
          <a:prstGeom prst="line">
            <a:avLst/>
          </a:prstGeom>
          <a:ln>
            <a:solidFill>
              <a:srgbClr val="92846E"/>
            </a:solidFill>
          </a:ln>
          <a:effectLst/>
        </p:spPr>
        <p:style>
          <a:lnRef idx="2">
            <a:schemeClr val="accent1"/>
          </a:lnRef>
          <a:fillRef idx="0">
            <a:schemeClr val="accent1"/>
          </a:fillRef>
          <a:effectRef idx="1">
            <a:schemeClr val="accent1"/>
          </a:effectRef>
          <a:fontRef idx="minor">
            <a:schemeClr val="tx1"/>
          </a:fontRef>
        </p:style>
      </p:cxnSp>
      <p:pic>
        <p:nvPicPr>
          <p:cNvPr id="10" name="Picture 2" descr="K:\新ロゴ（データ一式）\DLH_3_EN.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1038066" y="-34312"/>
            <a:ext cx="973128" cy="90043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54792660"/>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9_タイトルとコンテンツ">
    <p:spTree>
      <p:nvGrpSpPr>
        <p:cNvPr id="1" name=""/>
        <p:cNvGrpSpPr/>
        <p:nvPr/>
      </p:nvGrpSpPr>
      <p:grpSpPr>
        <a:xfrm>
          <a:off x="0" y="0"/>
          <a:ext cx="0" cy="0"/>
          <a:chOff x="0" y="0"/>
          <a:chExt cx="0" cy="0"/>
        </a:xfrm>
      </p:grpSpPr>
      <p:sp>
        <p:nvSpPr>
          <p:cNvPr id="9" name="Freeform 8"/>
          <p:cNvSpPr>
            <a:spLocks/>
          </p:cNvSpPr>
          <p:nvPr userDrawn="1"/>
        </p:nvSpPr>
        <p:spPr bwMode="auto">
          <a:xfrm>
            <a:off x="-2100" y="5505984"/>
            <a:ext cx="12192504" cy="1353504"/>
          </a:xfrm>
          <a:custGeom>
            <a:avLst/>
            <a:gdLst>
              <a:gd name="T0" fmla="*/ 3622 w 3622"/>
              <a:gd name="T1" fmla="*/ 608 h 608"/>
              <a:gd name="T2" fmla="*/ 3622 w 3622"/>
              <a:gd name="T3" fmla="*/ 0 h 608"/>
              <a:gd name="T4" fmla="*/ 3622 w 3622"/>
              <a:gd name="T5" fmla="*/ 0 h 608"/>
              <a:gd name="T6" fmla="*/ 3622 w 3622"/>
              <a:gd name="T7" fmla="*/ 14 h 608"/>
              <a:gd name="T8" fmla="*/ 3616 w 3622"/>
              <a:gd name="T9" fmla="*/ 46 h 608"/>
              <a:gd name="T10" fmla="*/ 3612 w 3622"/>
              <a:gd name="T11" fmla="*/ 68 h 608"/>
              <a:gd name="T12" fmla="*/ 3604 w 3622"/>
              <a:gd name="T13" fmla="*/ 94 h 608"/>
              <a:gd name="T14" fmla="*/ 3596 w 3622"/>
              <a:gd name="T15" fmla="*/ 122 h 608"/>
              <a:gd name="T16" fmla="*/ 3584 w 3622"/>
              <a:gd name="T17" fmla="*/ 150 h 608"/>
              <a:gd name="T18" fmla="*/ 3568 w 3622"/>
              <a:gd name="T19" fmla="*/ 178 h 608"/>
              <a:gd name="T20" fmla="*/ 3550 w 3622"/>
              <a:gd name="T21" fmla="*/ 206 h 608"/>
              <a:gd name="T22" fmla="*/ 3526 w 3622"/>
              <a:gd name="T23" fmla="*/ 232 h 608"/>
              <a:gd name="T24" fmla="*/ 3514 w 3622"/>
              <a:gd name="T25" fmla="*/ 246 h 608"/>
              <a:gd name="T26" fmla="*/ 3498 w 3622"/>
              <a:gd name="T27" fmla="*/ 258 h 608"/>
              <a:gd name="T28" fmla="*/ 3484 w 3622"/>
              <a:gd name="T29" fmla="*/ 268 h 608"/>
              <a:gd name="T30" fmla="*/ 3466 w 3622"/>
              <a:gd name="T31" fmla="*/ 280 h 608"/>
              <a:gd name="T32" fmla="*/ 3448 w 3622"/>
              <a:gd name="T33" fmla="*/ 288 h 608"/>
              <a:gd name="T34" fmla="*/ 3430 w 3622"/>
              <a:gd name="T35" fmla="*/ 298 h 608"/>
              <a:gd name="T36" fmla="*/ 3410 w 3622"/>
              <a:gd name="T37" fmla="*/ 304 h 608"/>
              <a:gd name="T38" fmla="*/ 3386 w 3622"/>
              <a:gd name="T39" fmla="*/ 310 h 608"/>
              <a:gd name="T40" fmla="*/ 3364 w 3622"/>
              <a:gd name="T41" fmla="*/ 316 h 608"/>
              <a:gd name="T42" fmla="*/ 3338 w 3622"/>
              <a:gd name="T43" fmla="*/ 318 h 608"/>
              <a:gd name="T44" fmla="*/ 3338 w 3622"/>
              <a:gd name="T45" fmla="*/ 318 h 608"/>
              <a:gd name="T46" fmla="*/ 0 w 3622"/>
              <a:gd name="T47" fmla="*/ 608 h 608"/>
              <a:gd name="T48" fmla="*/ 3622 w 3622"/>
              <a:gd name="T49" fmla="*/ 608 h 608"/>
              <a:gd name="connsiteX0" fmla="*/ 10000 w 10000"/>
              <a:gd name="connsiteY0" fmla="*/ 10000 h 10000"/>
              <a:gd name="connsiteX1" fmla="*/ 10000 w 10000"/>
              <a:gd name="connsiteY1" fmla="*/ 0 h 10000"/>
              <a:gd name="connsiteX2" fmla="*/ 10000 w 10000"/>
              <a:gd name="connsiteY2" fmla="*/ 0 h 10000"/>
              <a:gd name="connsiteX3" fmla="*/ 10000 w 10000"/>
              <a:gd name="connsiteY3" fmla="*/ 230 h 10000"/>
              <a:gd name="connsiteX4" fmla="*/ 9983 w 10000"/>
              <a:gd name="connsiteY4" fmla="*/ 757 h 10000"/>
              <a:gd name="connsiteX5" fmla="*/ 9972 w 10000"/>
              <a:gd name="connsiteY5" fmla="*/ 1118 h 10000"/>
              <a:gd name="connsiteX6" fmla="*/ 9950 w 10000"/>
              <a:gd name="connsiteY6" fmla="*/ 1546 h 10000"/>
              <a:gd name="connsiteX7" fmla="*/ 9928 w 10000"/>
              <a:gd name="connsiteY7" fmla="*/ 2007 h 10000"/>
              <a:gd name="connsiteX8" fmla="*/ 9895 w 10000"/>
              <a:gd name="connsiteY8" fmla="*/ 2467 h 10000"/>
              <a:gd name="connsiteX9" fmla="*/ 9851 w 10000"/>
              <a:gd name="connsiteY9" fmla="*/ 2928 h 10000"/>
              <a:gd name="connsiteX10" fmla="*/ 9801 w 10000"/>
              <a:gd name="connsiteY10" fmla="*/ 3388 h 10000"/>
              <a:gd name="connsiteX11" fmla="*/ 9735 w 10000"/>
              <a:gd name="connsiteY11" fmla="*/ 3816 h 10000"/>
              <a:gd name="connsiteX12" fmla="*/ 9702 w 10000"/>
              <a:gd name="connsiteY12" fmla="*/ 4046 h 10000"/>
              <a:gd name="connsiteX13" fmla="*/ 9658 w 10000"/>
              <a:gd name="connsiteY13" fmla="*/ 4243 h 10000"/>
              <a:gd name="connsiteX14" fmla="*/ 9619 w 10000"/>
              <a:gd name="connsiteY14" fmla="*/ 4408 h 10000"/>
              <a:gd name="connsiteX15" fmla="*/ 9569 w 10000"/>
              <a:gd name="connsiteY15" fmla="*/ 4605 h 10000"/>
              <a:gd name="connsiteX16" fmla="*/ 9520 w 10000"/>
              <a:gd name="connsiteY16" fmla="*/ 4737 h 10000"/>
              <a:gd name="connsiteX17" fmla="*/ 9470 w 10000"/>
              <a:gd name="connsiteY17" fmla="*/ 4901 h 10000"/>
              <a:gd name="connsiteX18" fmla="*/ 9415 w 10000"/>
              <a:gd name="connsiteY18" fmla="*/ 5000 h 10000"/>
              <a:gd name="connsiteX19" fmla="*/ 9348 w 10000"/>
              <a:gd name="connsiteY19" fmla="*/ 5099 h 10000"/>
              <a:gd name="connsiteX20" fmla="*/ 9288 w 10000"/>
              <a:gd name="connsiteY20" fmla="*/ 5197 h 10000"/>
              <a:gd name="connsiteX21" fmla="*/ 9216 w 10000"/>
              <a:gd name="connsiteY21" fmla="*/ 5230 h 10000"/>
              <a:gd name="connsiteX22" fmla="*/ 9216 w 10000"/>
              <a:gd name="connsiteY22" fmla="*/ 5230 h 10000"/>
              <a:gd name="connsiteX23" fmla="*/ 1190 w 10000"/>
              <a:gd name="connsiteY23" fmla="*/ 9414 h 10000"/>
              <a:gd name="connsiteX24" fmla="*/ 0 w 10000"/>
              <a:gd name="connsiteY24" fmla="*/ 10000 h 10000"/>
              <a:gd name="connsiteX25" fmla="*/ 10000 w 10000"/>
              <a:gd name="connsiteY25" fmla="*/ 10000 h 10000"/>
              <a:gd name="connsiteX0" fmla="*/ 10000 w 10000"/>
              <a:gd name="connsiteY0" fmla="*/ 10000 h 10011"/>
              <a:gd name="connsiteX1" fmla="*/ 10000 w 10000"/>
              <a:gd name="connsiteY1" fmla="*/ 0 h 10011"/>
              <a:gd name="connsiteX2" fmla="*/ 10000 w 10000"/>
              <a:gd name="connsiteY2" fmla="*/ 0 h 10011"/>
              <a:gd name="connsiteX3" fmla="*/ 10000 w 10000"/>
              <a:gd name="connsiteY3" fmla="*/ 230 h 10011"/>
              <a:gd name="connsiteX4" fmla="*/ 9983 w 10000"/>
              <a:gd name="connsiteY4" fmla="*/ 757 h 10011"/>
              <a:gd name="connsiteX5" fmla="*/ 9972 w 10000"/>
              <a:gd name="connsiteY5" fmla="*/ 1118 h 10011"/>
              <a:gd name="connsiteX6" fmla="*/ 9950 w 10000"/>
              <a:gd name="connsiteY6" fmla="*/ 1546 h 10011"/>
              <a:gd name="connsiteX7" fmla="*/ 9928 w 10000"/>
              <a:gd name="connsiteY7" fmla="*/ 2007 h 10011"/>
              <a:gd name="connsiteX8" fmla="*/ 9895 w 10000"/>
              <a:gd name="connsiteY8" fmla="*/ 2467 h 10011"/>
              <a:gd name="connsiteX9" fmla="*/ 9851 w 10000"/>
              <a:gd name="connsiteY9" fmla="*/ 2928 h 10011"/>
              <a:gd name="connsiteX10" fmla="*/ 9801 w 10000"/>
              <a:gd name="connsiteY10" fmla="*/ 3388 h 10011"/>
              <a:gd name="connsiteX11" fmla="*/ 9735 w 10000"/>
              <a:gd name="connsiteY11" fmla="*/ 3816 h 10011"/>
              <a:gd name="connsiteX12" fmla="*/ 9702 w 10000"/>
              <a:gd name="connsiteY12" fmla="*/ 4046 h 10011"/>
              <a:gd name="connsiteX13" fmla="*/ 9658 w 10000"/>
              <a:gd name="connsiteY13" fmla="*/ 4243 h 10011"/>
              <a:gd name="connsiteX14" fmla="*/ 9619 w 10000"/>
              <a:gd name="connsiteY14" fmla="*/ 4408 h 10011"/>
              <a:gd name="connsiteX15" fmla="*/ 9569 w 10000"/>
              <a:gd name="connsiteY15" fmla="*/ 4605 h 10011"/>
              <a:gd name="connsiteX16" fmla="*/ 9520 w 10000"/>
              <a:gd name="connsiteY16" fmla="*/ 4737 h 10011"/>
              <a:gd name="connsiteX17" fmla="*/ 9470 w 10000"/>
              <a:gd name="connsiteY17" fmla="*/ 4901 h 10011"/>
              <a:gd name="connsiteX18" fmla="*/ 9415 w 10000"/>
              <a:gd name="connsiteY18" fmla="*/ 5000 h 10011"/>
              <a:gd name="connsiteX19" fmla="*/ 9348 w 10000"/>
              <a:gd name="connsiteY19" fmla="*/ 5099 h 10011"/>
              <a:gd name="connsiteX20" fmla="*/ 9288 w 10000"/>
              <a:gd name="connsiteY20" fmla="*/ 5197 h 10011"/>
              <a:gd name="connsiteX21" fmla="*/ 9216 w 10000"/>
              <a:gd name="connsiteY21" fmla="*/ 5230 h 10011"/>
              <a:gd name="connsiteX22" fmla="*/ 9216 w 10000"/>
              <a:gd name="connsiteY22" fmla="*/ 5230 h 10011"/>
              <a:gd name="connsiteX23" fmla="*/ 1190 w 10000"/>
              <a:gd name="connsiteY23" fmla="*/ 9414 h 10011"/>
              <a:gd name="connsiteX24" fmla="*/ 0 w 10000"/>
              <a:gd name="connsiteY24" fmla="*/ 10000 h 10011"/>
              <a:gd name="connsiteX25" fmla="*/ 1185 w 10000"/>
              <a:gd name="connsiteY25" fmla="*/ 10011 h 10011"/>
              <a:gd name="connsiteX26" fmla="*/ 10000 w 10000"/>
              <a:gd name="connsiteY26" fmla="*/ 10000 h 10011"/>
              <a:gd name="connsiteX0" fmla="*/ 8815 w 8815"/>
              <a:gd name="connsiteY0" fmla="*/ 10000 h 10011"/>
              <a:gd name="connsiteX1" fmla="*/ 8815 w 8815"/>
              <a:gd name="connsiteY1" fmla="*/ 0 h 10011"/>
              <a:gd name="connsiteX2" fmla="*/ 8815 w 8815"/>
              <a:gd name="connsiteY2" fmla="*/ 0 h 10011"/>
              <a:gd name="connsiteX3" fmla="*/ 8815 w 8815"/>
              <a:gd name="connsiteY3" fmla="*/ 230 h 10011"/>
              <a:gd name="connsiteX4" fmla="*/ 8798 w 8815"/>
              <a:gd name="connsiteY4" fmla="*/ 757 h 10011"/>
              <a:gd name="connsiteX5" fmla="*/ 8787 w 8815"/>
              <a:gd name="connsiteY5" fmla="*/ 1118 h 10011"/>
              <a:gd name="connsiteX6" fmla="*/ 8765 w 8815"/>
              <a:gd name="connsiteY6" fmla="*/ 1546 h 10011"/>
              <a:gd name="connsiteX7" fmla="*/ 8743 w 8815"/>
              <a:gd name="connsiteY7" fmla="*/ 2007 h 10011"/>
              <a:gd name="connsiteX8" fmla="*/ 8710 w 8815"/>
              <a:gd name="connsiteY8" fmla="*/ 2467 h 10011"/>
              <a:gd name="connsiteX9" fmla="*/ 8666 w 8815"/>
              <a:gd name="connsiteY9" fmla="*/ 2928 h 10011"/>
              <a:gd name="connsiteX10" fmla="*/ 8616 w 8815"/>
              <a:gd name="connsiteY10" fmla="*/ 3388 h 10011"/>
              <a:gd name="connsiteX11" fmla="*/ 8550 w 8815"/>
              <a:gd name="connsiteY11" fmla="*/ 3816 h 10011"/>
              <a:gd name="connsiteX12" fmla="*/ 8517 w 8815"/>
              <a:gd name="connsiteY12" fmla="*/ 4046 h 10011"/>
              <a:gd name="connsiteX13" fmla="*/ 8473 w 8815"/>
              <a:gd name="connsiteY13" fmla="*/ 4243 h 10011"/>
              <a:gd name="connsiteX14" fmla="*/ 8434 w 8815"/>
              <a:gd name="connsiteY14" fmla="*/ 4408 h 10011"/>
              <a:gd name="connsiteX15" fmla="*/ 8384 w 8815"/>
              <a:gd name="connsiteY15" fmla="*/ 4605 h 10011"/>
              <a:gd name="connsiteX16" fmla="*/ 8335 w 8815"/>
              <a:gd name="connsiteY16" fmla="*/ 4737 h 10011"/>
              <a:gd name="connsiteX17" fmla="*/ 8285 w 8815"/>
              <a:gd name="connsiteY17" fmla="*/ 4901 h 10011"/>
              <a:gd name="connsiteX18" fmla="*/ 8230 w 8815"/>
              <a:gd name="connsiteY18" fmla="*/ 5000 h 10011"/>
              <a:gd name="connsiteX19" fmla="*/ 8163 w 8815"/>
              <a:gd name="connsiteY19" fmla="*/ 5099 h 10011"/>
              <a:gd name="connsiteX20" fmla="*/ 8103 w 8815"/>
              <a:gd name="connsiteY20" fmla="*/ 5197 h 10011"/>
              <a:gd name="connsiteX21" fmla="*/ 8031 w 8815"/>
              <a:gd name="connsiteY21" fmla="*/ 5230 h 10011"/>
              <a:gd name="connsiteX22" fmla="*/ 8031 w 8815"/>
              <a:gd name="connsiteY22" fmla="*/ 5230 h 10011"/>
              <a:gd name="connsiteX23" fmla="*/ 5 w 8815"/>
              <a:gd name="connsiteY23" fmla="*/ 9414 h 10011"/>
              <a:gd name="connsiteX24" fmla="*/ 0 w 8815"/>
              <a:gd name="connsiteY24" fmla="*/ 10011 h 10011"/>
              <a:gd name="connsiteX25" fmla="*/ 8815 w 8815"/>
              <a:gd name="connsiteY25" fmla="*/ 10000 h 10011"/>
              <a:gd name="connsiteX0" fmla="*/ 9996 w 9996"/>
              <a:gd name="connsiteY0" fmla="*/ 9989 h 10000"/>
              <a:gd name="connsiteX1" fmla="*/ 9996 w 9996"/>
              <a:gd name="connsiteY1" fmla="*/ 0 h 10000"/>
              <a:gd name="connsiteX2" fmla="*/ 9996 w 9996"/>
              <a:gd name="connsiteY2" fmla="*/ 0 h 10000"/>
              <a:gd name="connsiteX3" fmla="*/ 9996 w 9996"/>
              <a:gd name="connsiteY3" fmla="*/ 230 h 10000"/>
              <a:gd name="connsiteX4" fmla="*/ 9977 w 9996"/>
              <a:gd name="connsiteY4" fmla="*/ 756 h 10000"/>
              <a:gd name="connsiteX5" fmla="*/ 9964 w 9996"/>
              <a:gd name="connsiteY5" fmla="*/ 1117 h 10000"/>
              <a:gd name="connsiteX6" fmla="*/ 9939 w 9996"/>
              <a:gd name="connsiteY6" fmla="*/ 1544 h 10000"/>
              <a:gd name="connsiteX7" fmla="*/ 9914 w 9996"/>
              <a:gd name="connsiteY7" fmla="*/ 2005 h 10000"/>
              <a:gd name="connsiteX8" fmla="*/ 9877 w 9996"/>
              <a:gd name="connsiteY8" fmla="*/ 2464 h 10000"/>
              <a:gd name="connsiteX9" fmla="*/ 9827 w 9996"/>
              <a:gd name="connsiteY9" fmla="*/ 2925 h 10000"/>
              <a:gd name="connsiteX10" fmla="*/ 9770 w 9996"/>
              <a:gd name="connsiteY10" fmla="*/ 3384 h 10000"/>
              <a:gd name="connsiteX11" fmla="*/ 9695 w 9996"/>
              <a:gd name="connsiteY11" fmla="*/ 3812 h 10000"/>
              <a:gd name="connsiteX12" fmla="*/ 9658 w 9996"/>
              <a:gd name="connsiteY12" fmla="*/ 4042 h 10000"/>
              <a:gd name="connsiteX13" fmla="*/ 9608 w 9996"/>
              <a:gd name="connsiteY13" fmla="*/ 4238 h 10000"/>
              <a:gd name="connsiteX14" fmla="*/ 9564 w 9996"/>
              <a:gd name="connsiteY14" fmla="*/ 4403 h 10000"/>
              <a:gd name="connsiteX15" fmla="*/ 9507 w 9996"/>
              <a:gd name="connsiteY15" fmla="*/ 4600 h 10000"/>
              <a:gd name="connsiteX16" fmla="*/ 9451 w 9996"/>
              <a:gd name="connsiteY16" fmla="*/ 4732 h 10000"/>
              <a:gd name="connsiteX17" fmla="*/ 9395 w 9996"/>
              <a:gd name="connsiteY17" fmla="*/ 4896 h 10000"/>
              <a:gd name="connsiteX18" fmla="*/ 9332 w 9996"/>
              <a:gd name="connsiteY18" fmla="*/ 4995 h 10000"/>
              <a:gd name="connsiteX19" fmla="*/ 9256 w 9996"/>
              <a:gd name="connsiteY19" fmla="*/ 5093 h 10000"/>
              <a:gd name="connsiteX20" fmla="*/ 9188 w 9996"/>
              <a:gd name="connsiteY20" fmla="*/ 5191 h 10000"/>
              <a:gd name="connsiteX21" fmla="*/ 9107 w 9996"/>
              <a:gd name="connsiteY21" fmla="*/ 5224 h 10000"/>
              <a:gd name="connsiteX22" fmla="*/ 9107 w 9996"/>
              <a:gd name="connsiteY22" fmla="*/ 5224 h 10000"/>
              <a:gd name="connsiteX23" fmla="*/ 2 w 9996"/>
              <a:gd name="connsiteY23" fmla="*/ 9404 h 10000"/>
              <a:gd name="connsiteX24" fmla="*/ 0 w 9996"/>
              <a:gd name="connsiteY24" fmla="*/ 10000 h 10000"/>
              <a:gd name="connsiteX25" fmla="*/ 9996 w 9996"/>
              <a:gd name="connsiteY25" fmla="*/ 9989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9996" h="10000">
                <a:moveTo>
                  <a:pt x="9996" y="9989"/>
                </a:moveTo>
                <a:lnTo>
                  <a:pt x="9996" y="0"/>
                </a:lnTo>
                <a:lnTo>
                  <a:pt x="9996" y="0"/>
                </a:lnTo>
                <a:lnTo>
                  <a:pt x="9996" y="230"/>
                </a:lnTo>
                <a:cubicBezTo>
                  <a:pt x="9989" y="406"/>
                  <a:pt x="9984" y="580"/>
                  <a:pt x="9977" y="756"/>
                </a:cubicBezTo>
                <a:cubicBezTo>
                  <a:pt x="9972" y="876"/>
                  <a:pt x="9969" y="997"/>
                  <a:pt x="9964" y="1117"/>
                </a:cubicBezTo>
                <a:cubicBezTo>
                  <a:pt x="9956" y="1260"/>
                  <a:pt x="9947" y="1401"/>
                  <a:pt x="9939" y="1544"/>
                </a:cubicBezTo>
                <a:cubicBezTo>
                  <a:pt x="9931" y="1698"/>
                  <a:pt x="9922" y="1851"/>
                  <a:pt x="9914" y="2005"/>
                </a:cubicBezTo>
                <a:cubicBezTo>
                  <a:pt x="9902" y="2158"/>
                  <a:pt x="9889" y="2311"/>
                  <a:pt x="9877" y="2464"/>
                </a:cubicBezTo>
                <a:cubicBezTo>
                  <a:pt x="9860" y="2618"/>
                  <a:pt x="9844" y="2771"/>
                  <a:pt x="9827" y="2925"/>
                </a:cubicBezTo>
                <a:cubicBezTo>
                  <a:pt x="9808" y="3078"/>
                  <a:pt x="9790" y="3231"/>
                  <a:pt x="9770" y="3384"/>
                </a:cubicBezTo>
                <a:cubicBezTo>
                  <a:pt x="9745" y="3527"/>
                  <a:pt x="9720" y="3669"/>
                  <a:pt x="9695" y="3812"/>
                </a:cubicBezTo>
                <a:cubicBezTo>
                  <a:pt x="9683" y="3889"/>
                  <a:pt x="9670" y="3965"/>
                  <a:pt x="9658" y="4042"/>
                </a:cubicBezTo>
                <a:cubicBezTo>
                  <a:pt x="9641" y="4107"/>
                  <a:pt x="9625" y="4172"/>
                  <a:pt x="9608" y="4238"/>
                </a:cubicBezTo>
                <a:cubicBezTo>
                  <a:pt x="9593" y="4293"/>
                  <a:pt x="9579" y="4348"/>
                  <a:pt x="9564" y="4403"/>
                </a:cubicBezTo>
                <a:cubicBezTo>
                  <a:pt x="9544" y="4469"/>
                  <a:pt x="9526" y="4534"/>
                  <a:pt x="9507" y="4600"/>
                </a:cubicBezTo>
                <a:cubicBezTo>
                  <a:pt x="9489" y="4644"/>
                  <a:pt x="9470" y="4688"/>
                  <a:pt x="9451" y="4732"/>
                </a:cubicBezTo>
                <a:cubicBezTo>
                  <a:pt x="9432" y="4787"/>
                  <a:pt x="9414" y="4841"/>
                  <a:pt x="9395" y="4896"/>
                </a:cubicBezTo>
                <a:lnTo>
                  <a:pt x="9332" y="4995"/>
                </a:lnTo>
                <a:cubicBezTo>
                  <a:pt x="9307" y="5027"/>
                  <a:pt x="9281" y="5060"/>
                  <a:pt x="9256" y="5093"/>
                </a:cubicBezTo>
                <a:cubicBezTo>
                  <a:pt x="9234" y="5126"/>
                  <a:pt x="9211" y="5158"/>
                  <a:pt x="9188" y="5191"/>
                </a:cubicBezTo>
                <a:lnTo>
                  <a:pt x="9107" y="5224"/>
                </a:lnTo>
                <a:lnTo>
                  <a:pt x="9107" y="5224"/>
                </a:lnTo>
                <a:lnTo>
                  <a:pt x="2" y="9404"/>
                </a:lnTo>
                <a:cubicBezTo>
                  <a:pt x="-1" y="9602"/>
                  <a:pt x="2" y="9801"/>
                  <a:pt x="0" y="10000"/>
                </a:cubicBezTo>
                <a:lnTo>
                  <a:pt x="9996" y="9989"/>
                </a:lnTo>
                <a:close/>
              </a:path>
            </a:pathLst>
          </a:custGeom>
          <a:solidFill>
            <a:schemeClr val="accent6"/>
          </a:solidFill>
          <a:ln>
            <a:noFill/>
          </a:ln>
        </p:spPr>
        <p:txBody>
          <a:bodyPr vert="horz" wrap="square" lIns="133428" tIns="66715" rIns="133428" bIns="66715" numCol="1" anchor="t" anchorCtr="0" compatLnSpc="1">
            <a:prstTxWarp prst="textNoShape">
              <a:avLst/>
            </a:prstTxWarp>
          </a:bodyPr>
          <a:lstStyle/>
          <a:p>
            <a:endParaRPr lang="ja-JP" altLang="en-US" sz="2533"/>
          </a:p>
        </p:txBody>
      </p:sp>
      <p:sp>
        <p:nvSpPr>
          <p:cNvPr id="2" name="タイトル 1"/>
          <p:cNvSpPr>
            <a:spLocks noGrp="1"/>
          </p:cNvSpPr>
          <p:nvPr>
            <p:ph type="title"/>
          </p:nvPr>
        </p:nvSpPr>
        <p:spPr>
          <a:xfrm>
            <a:off x="368550" y="1959102"/>
            <a:ext cx="11451591" cy="540000"/>
          </a:xfrm>
          <a:prstGeom prst="rect">
            <a:avLst/>
          </a:prstGeom>
        </p:spPr>
        <p:txBody>
          <a:bodyPr lIns="95767" tIns="47884" rIns="95767" bIns="47884"/>
          <a:lstStyle>
            <a:lvl1pPr>
              <a:defRPr>
                <a:latin typeface="Meiryo UI" panose="020B0604030504040204" pitchFamily="50" charset="-128"/>
                <a:ea typeface="Meiryo UI" panose="020B0604030504040204" pitchFamily="50" charset="-128"/>
              </a:defRPr>
            </a:lvl1pPr>
          </a:lstStyle>
          <a:p>
            <a:r>
              <a:rPr kumimoji="1" lang="ja-JP" altLang="en-US"/>
              <a:t>マスター タイトルの書式設定</a:t>
            </a:r>
          </a:p>
        </p:txBody>
      </p:sp>
      <p:sp>
        <p:nvSpPr>
          <p:cNvPr id="6" name="スライド番号プレースホルダー 5"/>
          <p:cNvSpPr>
            <a:spLocks noGrp="1"/>
          </p:cNvSpPr>
          <p:nvPr>
            <p:ph type="sldNum" sz="quarter" idx="12"/>
          </p:nvPr>
        </p:nvSpPr>
        <p:spPr>
          <a:xfrm>
            <a:off x="11524630" y="6468878"/>
            <a:ext cx="555811" cy="289299"/>
          </a:xfrm>
          <a:prstGeom prst="rect">
            <a:avLst/>
          </a:prstGeom>
        </p:spPr>
        <p:txBody>
          <a:bodyPr lIns="95767" tIns="47884" rIns="95767" bIns="47884"/>
          <a:lstStyle>
            <a:lvl1pPr>
              <a:defRPr sz="1333"/>
            </a:lvl1pPr>
          </a:lstStyle>
          <a:p>
            <a:fld id="{2FF5E1DE-7B95-8A44-8552-65323269AE41}" type="slidenum">
              <a:rPr lang="ja-JP" altLang="en-US" smtClean="0"/>
              <a:pPr/>
              <a:t>‹#›</a:t>
            </a:fld>
            <a:endParaRPr lang="ja-JP" altLang="en-US"/>
          </a:p>
        </p:txBody>
      </p:sp>
      <p:pic>
        <p:nvPicPr>
          <p:cNvPr id="7" name="Picture 2" descr="C:\Users\00057835\AppData\Local\Temp\notesEA5B2A\グループ併記ロゴ（縦・英文）.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0756324" y="26652"/>
            <a:ext cx="1434080" cy="85801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73770175"/>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obj" preserve="1">
  <p:cSld name="10_タイトルとコンテンツ">
    <p:spTree>
      <p:nvGrpSpPr>
        <p:cNvPr id="1" name=""/>
        <p:cNvGrpSpPr/>
        <p:nvPr/>
      </p:nvGrpSpPr>
      <p:grpSpPr>
        <a:xfrm>
          <a:off x="0" y="0"/>
          <a:ext cx="0" cy="0"/>
          <a:chOff x="0" y="0"/>
          <a:chExt cx="0" cy="0"/>
        </a:xfrm>
      </p:grpSpPr>
      <p:sp>
        <p:nvSpPr>
          <p:cNvPr id="10" name="Freeform 8"/>
          <p:cNvSpPr>
            <a:spLocks/>
          </p:cNvSpPr>
          <p:nvPr userDrawn="1"/>
        </p:nvSpPr>
        <p:spPr bwMode="auto">
          <a:xfrm>
            <a:off x="-2100" y="5505984"/>
            <a:ext cx="12192504" cy="1353504"/>
          </a:xfrm>
          <a:custGeom>
            <a:avLst/>
            <a:gdLst>
              <a:gd name="T0" fmla="*/ 3622 w 3622"/>
              <a:gd name="T1" fmla="*/ 608 h 608"/>
              <a:gd name="T2" fmla="*/ 3622 w 3622"/>
              <a:gd name="T3" fmla="*/ 0 h 608"/>
              <a:gd name="T4" fmla="*/ 3622 w 3622"/>
              <a:gd name="T5" fmla="*/ 0 h 608"/>
              <a:gd name="T6" fmla="*/ 3622 w 3622"/>
              <a:gd name="T7" fmla="*/ 14 h 608"/>
              <a:gd name="T8" fmla="*/ 3616 w 3622"/>
              <a:gd name="T9" fmla="*/ 46 h 608"/>
              <a:gd name="T10" fmla="*/ 3612 w 3622"/>
              <a:gd name="T11" fmla="*/ 68 h 608"/>
              <a:gd name="T12" fmla="*/ 3604 w 3622"/>
              <a:gd name="T13" fmla="*/ 94 h 608"/>
              <a:gd name="T14" fmla="*/ 3596 w 3622"/>
              <a:gd name="T15" fmla="*/ 122 h 608"/>
              <a:gd name="T16" fmla="*/ 3584 w 3622"/>
              <a:gd name="T17" fmla="*/ 150 h 608"/>
              <a:gd name="T18" fmla="*/ 3568 w 3622"/>
              <a:gd name="T19" fmla="*/ 178 h 608"/>
              <a:gd name="T20" fmla="*/ 3550 w 3622"/>
              <a:gd name="T21" fmla="*/ 206 h 608"/>
              <a:gd name="T22" fmla="*/ 3526 w 3622"/>
              <a:gd name="T23" fmla="*/ 232 h 608"/>
              <a:gd name="T24" fmla="*/ 3514 w 3622"/>
              <a:gd name="T25" fmla="*/ 246 h 608"/>
              <a:gd name="T26" fmla="*/ 3498 w 3622"/>
              <a:gd name="T27" fmla="*/ 258 h 608"/>
              <a:gd name="T28" fmla="*/ 3484 w 3622"/>
              <a:gd name="T29" fmla="*/ 268 h 608"/>
              <a:gd name="T30" fmla="*/ 3466 w 3622"/>
              <a:gd name="T31" fmla="*/ 280 h 608"/>
              <a:gd name="T32" fmla="*/ 3448 w 3622"/>
              <a:gd name="T33" fmla="*/ 288 h 608"/>
              <a:gd name="T34" fmla="*/ 3430 w 3622"/>
              <a:gd name="T35" fmla="*/ 298 h 608"/>
              <a:gd name="T36" fmla="*/ 3410 w 3622"/>
              <a:gd name="T37" fmla="*/ 304 h 608"/>
              <a:gd name="T38" fmla="*/ 3386 w 3622"/>
              <a:gd name="T39" fmla="*/ 310 h 608"/>
              <a:gd name="T40" fmla="*/ 3364 w 3622"/>
              <a:gd name="T41" fmla="*/ 316 h 608"/>
              <a:gd name="T42" fmla="*/ 3338 w 3622"/>
              <a:gd name="T43" fmla="*/ 318 h 608"/>
              <a:gd name="T44" fmla="*/ 3338 w 3622"/>
              <a:gd name="T45" fmla="*/ 318 h 608"/>
              <a:gd name="T46" fmla="*/ 0 w 3622"/>
              <a:gd name="T47" fmla="*/ 608 h 608"/>
              <a:gd name="T48" fmla="*/ 3622 w 3622"/>
              <a:gd name="T49" fmla="*/ 608 h 608"/>
              <a:gd name="connsiteX0" fmla="*/ 10000 w 10000"/>
              <a:gd name="connsiteY0" fmla="*/ 10000 h 10000"/>
              <a:gd name="connsiteX1" fmla="*/ 10000 w 10000"/>
              <a:gd name="connsiteY1" fmla="*/ 0 h 10000"/>
              <a:gd name="connsiteX2" fmla="*/ 10000 w 10000"/>
              <a:gd name="connsiteY2" fmla="*/ 0 h 10000"/>
              <a:gd name="connsiteX3" fmla="*/ 10000 w 10000"/>
              <a:gd name="connsiteY3" fmla="*/ 230 h 10000"/>
              <a:gd name="connsiteX4" fmla="*/ 9983 w 10000"/>
              <a:gd name="connsiteY4" fmla="*/ 757 h 10000"/>
              <a:gd name="connsiteX5" fmla="*/ 9972 w 10000"/>
              <a:gd name="connsiteY5" fmla="*/ 1118 h 10000"/>
              <a:gd name="connsiteX6" fmla="*/ 9950 w 10000"/>
              <a:gd name="connsiteY6" fmla="*/ 1546 h 10000"/>
              <a:gd name="connsiteX7" fmla="*/ 9928 w 10000"/>
              <a:gd name="connsiteY7" fmla="*/ 2007 h 10000"/>
              <a:gd name="connsiteX8" fmla="*/ 9895 w 10000"/>
              <a:gd name="connsiteY8" fmla="*/ 2467 h 10000"/>
              <a:gd name="connsiteX9" fmla="*/ 9851 w 10000"/>
              <a:gd name="connsiteY9" fmla="*/ 2928 h 10000"/>
              <a:gd name="connsiteX10" fmla="*/ 9801 w 10000"/>
              <a:gd name="connsiteY10" fmla="*/ 3388 h 10000"/>
              <a:gd name="connsiteX11" fmla="*/ 9735 w 10000"/>
              <a:gd name="connsiteY11" fmla="*/ 3816 h 10000"/>
              <a:gd name="connsiteX12" fmla="*/ 9702 w 10000"/>
              <a:gd name="connsiteY12" fmla="*/ 4046 h 10000"/>
              <a:gd name="connsiteX13" fmla="*/ 9658 w 10000"/>
              <a:gd name="connsiteY13" fmla="*/ 4243 h 10000"/>
              <a:gd name="connsiteX14" fmla="*/ 9619 w 10000"/>
              <a:gd name="connsiteY14" fmla="*/ 4408 h 10000"/>
              <a:gd name="connsiteX15" fmla="*/ 9569 w 10000"/>
              <a:gd name="connsiteY15" fmla="*/ 4605 h 10000"/>
              <a:gd name="connsiteX16" fmla="*/ 9520 w 10000"/>
              <a:gd name="connsiteY16" fmla="*/ 4737 h 10000"/>
              <a:gd name="connsiteX17" fmla="*/ 9470 w 10000"/>
              <a:gd name="connsiteY17" fmla="*/ 4901 h 10000"/>
              <a:gd name="connsiteX18" fmla="*/ 9415 w 10000"/>
              <a:gd name="connsiteY18" fmla="*/ 5000 h 10000"/>
              <a:gd name="connsiteX19" fmla="*/ 9348 w 10000"/>
              <a:gd name="connsiteY19" fmla="*/ 5099 h 10000"/>
              <a:gd name="connsiteX20" fmla="*/ 9288 w 10000"/>
              <a:gd name="connsiteY20" fmla="*/ 5197 h 10000"/>
              <a:gd name="connsiteX21" fmla="*/ 9216 w 10000"/>
              <a:gd name="connsiteY21" fmla="*/ 5230 h 10000"/>
              <a:gd name="connsiteX22" fmla="*/ 9216 w 10000"/>
              <a:gd name="connsiteY22" fmla="*/ 5230 h 10000"/>
              <a:gd name="connsiteX23" fmla="*/ 1190 w 10000"/>
              <a:gd name="connsiteY23" fmla="*/ 9414 h 10000"/>
              <a:gd name="connsiteX24" fmla="*/ 0 w 10000"/>
              <a:gd name="connsiteY24" fmla="*/ 10000 h 10000"/>
              <a:gd name="connsiteX25" fmla="*/ 10000 w 10000"/>
              <a:gd name="connsiteY25" fmla="*/ 10000 h 10000"/>
              <a:gd name="connsiteX0" fmla="*/ 10000 w 10000"/>
              <a:gd name="connsiteY0" fmla="*/ 10000 h 10011"/>
              <a:gd name="connsiteX1" fmla="*/ 10000 w 10000"/>
              <a:gd name="connsiteY1" fmla="*/ 0 h 10011"/>
              <a:gd name="connsiteX2" fmla="*/ 10000 w 10000"/>
              <a:gd name="connsiteY2" fmla="*/ 0 h 10011"/>
              <a:gd name="connsiteX3" fmla="*/ 10000 w 10000"/>
              <a:gd name="connsiteY3" fmla="*/ 230 h 10011"/>
              <a:gd name="connsiteX4" fmla="*/ 9983 w 10000"/>
              <a:gd name="connsiteY4" fmla="*/ 757 h 10011"/>
              <a:gd name="connsiteX5" fmla="*/ 9972 w 10000"/>
              <a:gd name="connsiteY5" fmla="*/ 1118 h 10011"/>
              <a:gd name="connsiteX6" fmla="*/ 9950 w 10000"/>
              <a:gd name="connsiteY6" fmla="*/ 1546 h 10011"/>
              <a:gd name="connsiteX7" fmla="*/ 9928 w 10000"/>
              <a:gd name="connsiteY7" fmla="*/ 2007 h 10011"/>
              <a:gd name="connsiteX8" fmla="*/ 9895 w 10000"/>
              <a:gd name="connsiteY8" fmla="*/ 2467 h 10011"/>
              <a:gd name="connsiteX9" fmla="*/ 9851 w 10000"/>
              <a:gd name="connsiteY9" fmla="*/ 2928 h 10011"/>
              <a:gd name="connsiteX10" fmla="*/ 9801 w 10000"/>
              <a:gd name="connsiteY10" fmla="*/ 3388 h 10011"/>
              <a:gd name="connsiteX11" fmla="*/ 9735 w 10000"/>
              <a:gd name="connsiteY11" fmla="*/ 3816 h 10011"/>
              <a:gd name="connsiteX12" fmla="*/ 9702 w 10000"/>
              <a:gd name="connsiteY12" fmla="*/ 4046 h 10011"/>
              <a:gd name="connsiteX13" fmla="*/ 9658 w 10000"/>
              <a:gd name="connsiteY13" fmla="*/ 4243 h 10011"/>
              <a:gd name="connsiteX14" fmla="*/ 9619 w 10000"/>
              <a:gd name="connsiteY14" fmla="*/ 4408 h 10011"/>
              <a:gd name="connsiteX15" fmla="*/ 9569 w 10000"/>
              <a:gd name="connsiteY15" fmla="*/ 4605 h 10011"/>
              <a:gd name="connsiteX16" fmla="*/ 9520 w 10000"/>
              <a:gd name="connsiteY16" fmla="*/ 4737 h 10011"/>
              <a:gd name="connsiteX17" fmla="*/ 9470 w 10000"/>
              <a:gd name="connsiteY17" fmla="*/ 4901 h 10011"/>
              <a:gd name="connsiteX18" fmla="*/ 9415 w 10000"/>
              <a:gd name="connsiteY18" fmla="*/ 5000 h 10011"/>
              <a:gd name="connsiteX19" fmla="*/ 9348 w 10000"/>
              <a:gd name="connsiteY19" fmla="*/ 5099 h 10011"/>
              <a:gd name="connsiteX20" fmla="*/ 9288 w 10000"/>
              <a:gd name="connsiteY20" fmla="*/ 5197 h 10011"/>
              <a:gd name="connsiteX21" fmla="*/ 9216 w 10000"/>
              <a:gd name="connsiteY21" fmla="*/ 5230 h 10011"/>
              <a:gd name="connsiteX22" fmla="*/ 9216 w 10000"/>
              <a:gd name="connsiteY22" fmla="*/ 5230 h 10011"/>
              <a:gd name="connsiteX23" fmla="*/ 1190 w 10000"/>
              <a:gd name="connsiteY23" fmla="*/ 9414 h 10011"/>
              <a:gd name="connsiteX24" fmla="*/ 0 w 10000"/>
              <a:gd name="connsiteY24" fmla="*/ 10000 h 10011"/>
              <a:gd name="connsiteX25" fmla="*/ 1185 w 10000"/>
              <a:gd name="connsiteY25" fmla="*/ 10011 h 10011"/>
              <a:gd name="connsiteX26" fmla="*/ 10000 w 10000"/>
              <a:gd name="connsiteY26" fmla="*/ 10000 h 10011"/>
              <a:gd name="connsiteX0" fmla="*/ 8815 w 8815"/>
              <a:gd name="connsiteY0" fmla="*/ 10000 h 10011"/>
              <a:gd name="connsiteX1" fmla="*/ 8815 w 8815"/>
              <a:gd name="connsiteY1" fmla="*/ 0 h 10011"/>
              <a:gd name="connsiteX2" fmla="*/ 8815 w 8815"/>
              <a:gd name="connsiteY2" fmla="*/ 0 h 10011"/>
              <a:gd name="connsiteX3" fmla="*/ 8815 w 8815"/>
              <a:gd name="connsiteY3" fmla="*/ 230 h 10011"/>
              <a:gd name="connsiteX4" fmla="*/ 8798 w 8815"/>
              <a:gd name="connsiteY4" fmla="*/ 757 h 10011"/>
              <a:gd name="connsiteX5" fmla="*/ 8787 w 8815"/>
              <a:gd name="connsiteY5" fmla="*/ 1118 h 10011"/>
              <a:gd name="connsiteX6" fmla="*/ 8765 w 8815"/>
              <a:gd name="connsiteY6" fmla="*/ 1546 h 10011"/>
              <a:gd name="connsiteX7" fmla="*/ 8743 w 8815"/>
              <a:gd name="connsiteY7" fmla="*/ 2007 h 10011"/>
              <a:gd name="connsiteX8" fmla="*/ 8710 w 8815"/>
              <a:gd name="connsiteY8" fmla="*/ 2467 h 10011"/>
              <a:gd name="connsiteX9" fmla="*/ 8666 w 8815"/>
              <a:gd name="connsiteY9" fmla="*/ 2928 h 10011"/>
              <a:gd name="connsiteX10" fmla="*/ 8616 w 8815"/>
              <a:gd name="connsiteY10" fmla="*/ 3388 h 10011"/>
              <a:gd name="connsiteX11" fmla="*/ 8550 w 8815"/>
              <a:gd name="connsiteY11" fmla="*/ 3816 h 10011"/>
              <a:gd name="connsiteX12" fmla="*/ 8517 w 8815"/>
              <a:gd name="connsiteY12" fmla="*/ 4046 h 10011"/>
              <a:gd name="connsiteX13" fmla="*/ 8473 w 8815"/>
              <a:gd name="connsiteY13" fmla="*/ 4243 h 10011"/>
              <a:gd name="connsiteX14" fmla="*/ 8434 w 8815"/>
              <a:gd name="connsiteY14" fmla="*/ 4408 h 10011"/>
              <a:gd name="connsiteX15" fmla="*/ 8384 w 8815"/>
              <a:gd name="connsiteY15" fmla="*/ 4605 h 10011"/>
              <a:gd name="connsiteX16" fmla="*/ 8335 w 8815"/>
              <a:gd name="connsiteY16" fmla="*/ 4737 h 10011"/>
              <a:gd name="connsiteX17" fmla="*/ 8285 w 8815"/>
              <a:gd name="connsiteY17" fmla="*/ 4901 h 10011"/>
              <a:gd name="connsiteX18" fmla="*/ 8230 w 8815"/>
              <a:gd name="connsiteY18" fmla="*/ 5000 h 10011"/>
              <a:gd name="connsiteX19" fmla="*/ 8163 w 8815"/>
              <a:gd name="connsiteY19" fmla="*/ 5099 h 10011"/>
              <a:gd name="connsiteX20" fmla="*/ 8103 w 8815"/>
              <a:gd name="connsiteY20" fmla="*/ 5197 h 10011"/>
              <a:gd name="connsiteX21" fmla="*/ 8031 w 8815"/>
              <a:gd name="connsiteY21" fmla="*/ 5230 h 10011"/>
              <a:gd name="connsiteX22" fmla="*/ 8031 w 8815"/>
              <a:gd name="connsiteY22" fmla="*/ 5230 h 10011"/>
              <a:gd name="connsiteX23" fmla="*/ 5 w 8815"/>
              <a:gd name="connsiteY23" fmla="*/ 9414 h 10011"/>
              <a:gd name="connsiteX24" fmla="*/ 0 w 8815"/>
              <a:gd name="connsiteY24" fmla="*/ 10011 h 10011"/>
              <a:gd name="connsiteX25" fmla="*/ 8815 w 8815"/>
              <a:gd name="connsiteY25" fmla="*/ 10000 h 10011"/>
              <a:gd name="connsiteX0" fmla="*/ 9996 w 9996"/>
              <a:gd name="connsiteY0" fmla="*/ 9989 h 10000"/>
              <a:gd name="connsiteX1" fmla="*/ 9996 w 9996"/>
              <a:gd name="connsiteY1" fmla="*/ 0 h 10000"/>
              <a:gd name="connsiteX2" fmla="*/ 9996 w 9996"/>
              <a:gd name="connsiteY2" fmla="*/ 0 h 10000"/>
              <a:gd name="connsiteX3" fmla="*/ 9996 w 9996"/>
              <a:gd name="connsiteY3" fmla="*/ 230 h 10000"/>
              <a:gd name="connsiteX4" fmla="*/ 9977 w 9996"/>
              <a:gd name="connsiteY4" fmla="*/ 756 h 10000"/>
              <a:gd name="connsiteX5" fmla="*/ 9964 w 9996"/>
              <a:gd name="connsiteY5" fmla="*/ 1117 h 10000"/>
              <a:gd name="connsiteX6" fmla="*/ 9939 w 9996"/>
              <a:gd name="connsiteY6" fmla="*/ 1544 h 10000"/>
              <a:gd name="connsiteX7" fmla="*/ 9914 w 9996"/>
              <a:gd name="connsiteY7" fmla="*/ 2005 h 10000"/>
              <a:gd name="connsiteX8" fmla="*/ 9877 w 9996"/>
              <a:gd name="connsiteY8" fmla="*/ 2464 h 10000"/>
              <a:gd name="connsiteX9" fmla="*/ 9827 w 9996"/>
              <a:gd name="connsiteY9" fmla="*/ 2925 h 10000"/>
              <a:gd name="connsiteX10" fmla="*/ 9770 w 9996"/>
              <a:gd name="connsiteY10" fmla="*/ 3384 h 10000"/>
              <a:gd name="connsiteX11" fmla="*/ 9695 w 9996"/>
              <a:gd name="connsiteY11" fmla="*/ 3812 h 10000"/>
              <a:gd name="connsiteX12" fmla="*/ 9658 w 9996"/>
              <a:gd name="connsiteY12" fmla="*/ 4042 h 10000"/>
              <a:gd name="connsiteX13" fmla="*/ 9608 w 9996"/>
              <a:gd name="connsiteY13" fmla="*/ 4238 h 10000"/>
              <a:gd name="connsiteX14" fmla="*/ 9564 w 9996"/>
              <a:gd name="connsiteY14" fmla="*/ 4403 h 10000"/>
              <a:gd name="connsiteX15" fmla="*/ 9507 w 9996"/>
              <a:gd name="connsiteY15" fmla="*/ 4600 h 10000"/>
              <a:gd name="connsiteX16" fmla="*/ 9451 w 9996"/>
              <a:gd name="connsiteY16" fmla="*/ 4732 h 10000"/>
              <a:gd name="connsiteX17" fmla="*/ 9395 w 9996"/>
              <a:gd name="connsiteY17" fmla="*/ 4896 h 10000"/>
              <a:gd name="connsiteX18" fmla="*/ 9332 w 9996"/>
              <a:gd name="connsiteY18" fmla="*/ 4995 h 10000"/>
              <a:gd name="connsiteX19" fmla="*/ 9256 w 9996"/>
              <a:gd name="connsiteY19" fmla="*/ 5093 h 10000"/>
              <a:gd name="connsiteX20" fmla="*/ 9188 w 9996"/>
              <a:gd name="connsiteY20" fmla="*/ 5191 h 10000"/>
              <a:gd name="connsiteX21" fmla="*/ 9107 w 9996"/>
              <a:gd name="connsiteY21" fmla="*/ 5224 h 10000"/>
              <a:gd name="connsiteX22" fmla="*/ 9107 w 9996"/>
              <a:gd name="connsiteY22" fmla="*/ 5224 h 10000"/>
              <a:gd name="connsiteX23" fmla="*/ 2 w 9996"/>
              <a:gd name="connsiteY23" fmla="*/ 9404 h 10000"/>
              <a:gd name="connsiteX24" fmla="*/ 0 w 9996"/>
              <a:gd name="connsiteY24" fmla="*/ 10000 h 10000"/>
              <a:gd name="connsiteX25" fmla="*/ 9996 w 9996"/>
              <a:gd name="connsiteY25" fmla="*/ 9989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9996" h="10000">
                <a:moveTo>
                  <a:pt x="9996" y="9989"/>
                </a:moveTo>
                <a:lnTo>
                  <a:pt x="9996" y="0"/>
                </a:lnTo>
                <a:lnTo>
                  <a:pt x="9996" y="0"/>
                </a:lnTo>
                <a:lnTo>
                  <a:pt x="9996" y="230"/>
                </a:lnTo>
                <a:cubicBezTo>
                  <a:pt x="9989" y="406"/>
                  <a:pt x="9984" y="580"/>
                  <a:pt x="9977" y="756"/>
                </a:cubicBezTo>
                <a:cubicBezTo>
                  <a:pt x="9972" y="876"/>
                  <a:pt x="9969" y="997"/>
                  <a:pt x="9964" y="1117"/>
                </a:cubicBezTo>
                <a:cubicBezTo>
                  <a:pt x="9956" y="1260"/>
                  <a:pt x="9947" y="1401"/>
                  <a:pt x="9939" y="1544"/>
                </a:cubicBezTo>
                <a:cubicBezTo>
                  <a:pt x="9931" y="1698"/>
                  <a:pt x="9922" y="1851"/>
                  <a:pt x="9914" y="2005"/>
                </a:cubicBezTo>
                <a:cubicBezTo>
                  <a:pt x="9902" y="2158"/>
                  <a:pt x="9889" y="2311"/>
                  <a:pt x="9877" y="2464"/>
                </a:cubicBezTo>
                <a:cubicBezTo>
                  <a:pt x="9860" y="2618"/>
                  <a:pt x="9844" y="2771"/>
                  <a:pt x="9827" y="2925"/>
                </a:cubicBezTo>
                <a:cubicBezTo>
                  <a:pt x="9808" y="3078"/>
                  <a:pt x="9790" y="3231"/>
                  <a:pt x="9770" y="3384"/>
                </a:cubicBezTo>
                <a:cubicBezTo>
                  <a:pt x="9745" y="3527"/>
                  <a:pt x="9720" y="3669"/>
                  <a:pt x="9695" y="3812"/>
                </a:cubicBezTo>
                <a:cubicBezTo>
                  <a:pt x="9683" y="3889"/>
                  <a:pt x="9670" y="3965"/>
                  <a:pt x="9658" y="4042"/>
                </a:cubicBezTo>
                <a:cubicBezTo>
                  <a:pt x="9641" y="4107"/>
                  <a:pt x="9625" y="4172"/>
                  <a:pt x="9608" y="4238"/>
                </a:cubicBezTo>
                <a:cubicBezTo>
                  <a:pt x="9593" y="4293"/>
                  <a:pt x="9579" y="4348"/>
                  <a:pt x="9564" y="4403"/>
                </a:cubicBezTo>
                <a:cubicBezTo>
                  <a:pt x="9544" y="4469"/>
                  <a:pt x="9526" y="4534"/>
                  <a:pt x="9507" y="4600"/>
                </a:cubicBezTo>
                <a:cubicBezTo>
                  <a:pt x="9489" y="4644"/>
                  <a:pt x="9470" y="4688"/>
                  <a:pt x="9451" y="4732"/>
                </a:cubicBezTo>
                <a:cubicBezTo>
                  <a:pt x="9432" y="4787"/>
                  <a:pt x="9414" y="4841"/>
                  <a:pt x="9395" y="4896"/>
                </a:cubicBezTo>
                <a:lnTo>
                  <a:pt x="9332" y="4995"/>
                </a:lnTo>
                <a:cubicBezTo>
                  <a:pt x="9307" y="5027"/>
                  <a:pt x="9281" y="5060"/>
                  <a:pt x="9256" y="5093"/>
                </a:cubicBezTo>
                <a:cubicBezTo>
                  <a:pt x="9234" y="5126"/>
                  <a:pt x="9211" y="5158"/>
                  <a:pt x="9188" y="5191"/>
                </a:cubicBezTo>
                <a:lnTo>
                  <a:pt x="9107" y="5224"/>
                </a:lnTo>
                <a:lnTo>
                  <a:pt x="9107" y="5224"/>
                </a:lnTo>
                <a:lnTo>
                  <a:pt x="2" y="9404"/>
                </a:lnTo>
                <a:cubicBezTo>
                  <a:pt x="-1" y="9602"/>
                  <a:pt x="2" y="9801"/>
                  <a:pt x="0" y="10000"/>
                </a:cubicBezTo>
                <a:lnTo>
                  <a:pt x="9996" y="9989"/>
                </a:lnTo>
                <a:close/>
              </a:path>
            </a:pathLst>
          </a:custGeom>
          <a:solidFill>
            <a:schemeClr val="accent6"/>
          </a:solidFill>
          <a:ln>
            <a:noFill/>
          </a:ln>
        </p:spPr>
        <p:txBody>
          <a:bodyPr vert="horz" wrap="square" lIns="133428" tIns="66715" rIns="133428" bIns="66715" numCol="1" anchor="t" anchorCtr="0" compatLnSpc="1">
            <a:prstTxWarp prst="textNoShape">
              <a:avLst/>
            </a:prstTxWarp>
          </a:bodyPr>
          <a:lstStyle/>
          <a:p>
            <a:endParaRPr lang="ja-JP" altLang="en-US" sz="2533"/>
          </a:p>
        </p:txBody>
      </p:sp>
      <p:sp>
        <p:nvSpPr>
          <p:cNvPr id="2" name="タイトル 1"/>
          <p:cNvSpPr>
            <a:spLocks noGrp="1"/>
          </p:cNvSpPr>
          <p:nvPr>
            <p:ph type="title"/>
          </p:nvPr>
        </p:nvSpPr>
        <p:spPr>
          <a:xfrm>
            <a:off x="368549" y="194236"/>
            <a:ext cx="9791452" cy="540000"/>
          </a:xfrm>
          <a:prstGeom prst="rect">
            <a:avLst/>
          </a:prstGeom>
        </p:spPr>
        <p:txBody>
          <a:bodyPr lIns="95767" tIns="47884" rIns="95767" bIns="47884"/>
          <a:lstStyle>
            <a:lvl1pPr>
              <a:defRPr>
                <a:latin typeface="Meiryo UI" panose="020B0604030504040204" pitchFamily="50" charset="-128"/>
                <a:ea typeface="Meiryo UI" panose="020B0604030504040204" pitchFamily="50" charset="-128"/>
              </a:defRPr>
            </a:lvl1pPr>
          </a:lstStyle>
          <a:p>
            <a:r>
              <a:rPr kumimoji="1" lang="ja-JP" altLang="en-US"/>
              <a:t>マスター タイトルの書式設定</a:t>
            </a:r>
          </a:p>
        </p:txBody>
      </p:sp>
      <p:sp>
        <p:nvSpPr>
          <p:cNvPr id="3" name="コンテンツ プレースホルダー 2"/>
          <p:cNvSpPr>
            <a:spLocks noGrp="1"/>
          </p:cNvSpPr>
          <p:nvPr>
            <p:ph idx="1"/>
          </p:nvPr>
        </p:nvSpPr>
        <p:spPr>
          <a:xfrm>
            <a:off x="368551" y="903600"/>
            <a:ext cx="11583452" cy="5540400"/>
          </a:xfrm>
          <a:prstGeom prst="rect">
            <a:avLst/>
          </a:prstGeom>
        </p:spPr>
        <p:txBody>
          <a:bodyPr lIns="95767" tIns="47884" rIns="95767" bIns="47884"/>
          <a:lstStyle>
            <a:lvl1pPr>
              <a:defRPr>
                <a:latin typeface="Meiryo UI" panose="020B0604030504040204" pitchFamily="50" charset="-128"/>
                <a:ea typeface="Meiryo UI" panose="020B0604030504040204" pitchFamily="50" charset="-128"/>
              </a:defRPr>
            </a:lvl1pPr>
            <a:lvl2pPr indent="-236233">
              <a:defRPr>
                <a:latin typeface="Meiryo UI" panose="020B0604030504040204" pitchFamily="50" charset="-128"/>
                <a:ea typeface="Meiryo UI" panose="020B0604030504040204" pitchFamily="50" charset="-128"/>
              </a:defRPr>
            </a:lvl2pPr>
            <a:lvl3pPr indent="-236233">
              <a:defRPr>
                <a:latin typeface="Meiryo UI" panose="020B0604030504040204" pitchFamily="50" charset="-128"/>
                <a:ea typeface="Meiryo UI" panose="020B0604030504040204" pitchFamily="50" charset="-128"/>
              </a:defRPr>
            </a:lvl3pPr>
            <a:lvl4pPr indent="-236233">
              <a:defRPr>
                <a:latin typeface="Meiryo UI" panose="020B0604030504040204" pitchFamily="50" charset="-128"/>
                <a:ea typeface="Meiryo UI" panose="020B0604030504040204" pitchFamily="50" charset="-128"/>
              </a:defRPr>
            </a:lvl4pPr>
            <a:lvl5pPr indent="-236233">
              <a:defRPr>
                <a:latin typeface="Meiryo UI" panose="020B0604030504040204" pitchFamily="50" charset="-128"/>
                <a:ea typeface="Meiryo UI" panose="020B0604030504040204" pitchFamily="50" charset="-128"/>
              </a:defRPr>
            </a:lvl5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6" name="スライド番号プレースホルダー 5"/>
          <p:cNvSpPr>
            <a:spLocks noGrp="1"/>
          </p:cNvSpPr>
          <p:nvPr>
            <p:ph type="sldNum" sz="quarter" idx="12"/>
          </p:nvPr>
        </p:nvSpPr>
        <p:spPr>
          <a:xfrm>
            <a:off x="11524630" y="6468878"/>
            <a:ext cx="555811" cy="289299"/>
          </a:xfrm>
          <a:prstGeom prst="rect">
            <a:avLst/>
          </a:prstGeom>
        </p:spPr>
        <p:txBody>
          <a:bodyPr lIns="95767" tIns="47884" rIns="95767" bIns="47884"/>
          <a:lstStyle>
            <a:lvl1pPr>
              <a:defRPr sz="1333"/>
            </a:lvl1pPr>
          </a:lstStyle>
          <a:p>
            <a:fld id="{2FF5E1DE-7B95-8A44-8552-65323269AE41}" type="slidenum">
              <a:rPr lang="ja-JP" altLang="en-US" smtClean="0"/>
              <a:pPr/>
              <a:t>‹#›</a:t>
            </a:fld>
            <a:endParaRPr lang="ja-JP" altLang="en-US"/>
          </a:p>
        </p:txBody>
      </p:sp>
      <p:cxnSp>
        <p:nvCxnSpPr>
          <p:cNvPr id="8" name="直線コネクタ 7"/>
          <p:cNvCxnSpPr/>
          <p:nvPr userDrawn="1"/>
        </p:nvCxnSpPr>
        <p:spPr>
          <a:xfrm>
            <a:off x="239959" y="817200"/>
            <a:ext cx="11709966" cy="0"/>
          </a:xfrm>
          <a:prstGeom prst="line">
            <a:avLst/>
          </a:prstGeom>
          <a:ln>
            <a:solidFill>
              <a:srgbClr val="C7000D"/>
            </a:solidFill>
          </a:ln>
          <a:effectLst/>
        </p:spPr>
        <p:style>
          <a:lnRef idx="2">
            <a:schemeClr val="accent1"/>
          </a:lnRef>
          <a:fillRef idx="0">
            <a:schemeClr val="accent1"/>
          </a:fillRef>
          <a:effectRef idx="1">
            <a:schemeClr val="accent1"/>
          </a:effectRef>
          <a:fontRef idx="minor">
            <a:schemeClr val="tx1"/>
          </a:fontRef>
        </p:style>
      </p:cxnSp>
      <p:pic>
        <p:nvPicPr>
          <p:cNvPr id="9" name="Picture 2" descr="C:\Users\00057835\AppData\Local\Temp\notesEA5B2A\グループ併記ロゴ（縦・英文）.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0756324" y="26652"/>
            <a:ext cx="1434080" cy="85801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91999652"/>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type="title" preserve="1">
  <p:cSld name="3_タイトル スライド">
    <p:spTree>
      <p:nvGrpSpPr>
        <p:cNvPr id="1" name=""/>
        <p:cNvGrpSpPr/>
        <p:nvPr/>
      </p:nvGrpSpPr>
      <p:grpSpPr>
        <a:xfrm>
          <a:off x="0" y="0"/>
          <a:ext cx="0" cy="0"/>
          <a:chOff x="0" y="0"/>
          <a:chExt cx="0" cy="0"/>
        </a:xfrm>
      </p:grpSpPr>
      <p:sp>
        <p:nvSpPr>
          <p:cNvPr id="10" name="Freeform 5"/>
          <p:cNvSpPr>
            <a:spLocks/>
          </p:cNvSpPr>
          <p:nvPr userDrawn="1"/>
        </p:nvSpPr>
        <p:spPr bwMode="auto">
          <a:xfrm>
            <a:off x="233538" y="169337"/>
            <a:ext cx="11730712" cy="5207000"/>
          </a:xfrm>
          <a:custGeom>
            <a:avLst/>
            <a:gdLst>
              <a:gd name="T0" fmla="*/ 0 w 1618"/>
              <a:gd name="T1" fmla="*/ 0 h 957"/>
              <a:gd name="T2" fmla="*/ 0 w 1618"/>
              <a:gd name="T3" fmla="*/ 957 h 957"/>
              <a:gd name="T4" fmla="*/ 1279 w 1618"/>
              <a:gd name="T5" fmla="*/ 842 h 957"/>
              <a:gd name="T6" fmla="*/ 1618 w 1618"/>
              <a:gd name="T7" fmla="*/ 472 h 957"/>
              <a:gd name="T8" fmla="*/ 1618 w 1618"/>
              <a:gd name="T9" fmla="*/ 0 h 957"/>
              <a:gd name="T10" fmla="*/ 0 w 1618"/>
              <a:gd name="T11" fmla="*/ 0 h 957"/>
            </a:gdLst>
            <a:ahLst/>
            <a:cxnLst>
              <a:cxn ang="0">
                <a:pos x="T0" y="T1"/>
              </a:cxn>
              <a:cxn ang="0">
                <a:pos x="T2" y="T3"/>
              </a:cxn>
              <a:cxn ang="0">
                <a:pos x="T4" y="T5"/>
              </a:cxn>
              <a:cxn ang="0">
                <a:pos x="T6" y="T7"/>
              </a:cxn>
              <a:cxn ang="0">
                <a:pos x="T8" y="T9"/>
              </a:cxn>
              <a:cxn ang="0">
                <a:pos x="T10" y="T11"/>
              </a:cxn>
            </a:cxnLst>
            <a:rect l="0" t="0" r="r" b="b"/>
            <a:pathLst>
              <a:path w="1618" h="957">
                <a:moveTo>
                  <a:pt x="0" y="0"/>
                </a:moveTo>
                <a:cubicBezTo>
                  <a:pt x="0" y="957"/>
                  <a:pt x="0" y="957"/>
                  <a:pt x="0" y="957"/>
                </a:cubicBezTo>
                <a:cubicBezTo>
                  <a:pt x="1279" y="842"/>
                  <a:pt x="1279" y="842"/>
                  <a:pt x="1279" y="842"/>
                </a:cubicBezTo>
                <a:cubicBezTo>
                  <a:pt x="1465" y="825"/>
                  <a:pt x="1618" y="659"/>
                  <a:pt x="1618" y="472"/>
                </a:cubicBezTo>
                <a:cubicBezTo>
                  <a:pt x="1618" y="0"/>
                  <a:pt x="1618" y="0"/>
                  <a:pt x="1618" y="0"/>
                </a:cubicBezTo>
                <a:lnTo>
                  <a:pt x="0" y="0"/>
                </a:lnTo>
                <a:close/>
              </a:path>
            </a:pathLst>
          </a:custGeom>
          <a:solidFill>
            <a:schemeClr val="accent4"/>
          </a:solidFill>
          <a:ln>
            <a:noFill/>
          </a:ln>
        </p:spPr>
        <p:txBody>
          <a:bodyPr lIns="127667" tIns="63834" rIns="127667" bIns="63834"/>
          <a:lstStyle/>
          <a:p>
            <a:endParaRPr lang="ja-JP" altLang="en-US" sz="2533">
              <a:latin typeface="Meiryo UI" panose="020B0604030504040204" pitchFamily="50" charset="-128"/>
              <a:ea typeface="Meiryo UI" panose="020B0604030504040204" pitchFamily="50" charset="-128"/>
            </a:endParaRPr>
          </a:p>
        </p:txBody>
      </p:sp>
      <p:sp>
        <p:nvSpPr>
          <p:cNvPr id="2" name="タイトル 1"/>
          <p:cNvSpPr>
            <a:spLocks noGrp="1"/>
          </p:cNvSpPr>
          <p:nvPr>
            <p:ph type="ctrTitle"/>
          </p:nvPr>
        </p:nvSpPr>
        <p:spPr>
          <a:xfrm>
            <a:off x="914400" y="1416804"/>
            <a:ext cx="10363200" cy="1470025"/>
          </a:xfrm>
          <a:prstGeom prst="rect">
            <a:avLst/>
          </a:prstGeom>
        </p:spPr>
        <p:txBody>
          <a:bodyPr lIns="95767" tIns="47884" rIns="95767" bIns="47884" anchor="b">
            <a:normAutofit/>
          </a:bodyPr>
          <a:lstStyle>
            <a:lvl1pPr algn="l">
              <a:defRPr sz="5199" kern="1200">
                <a:solidFill>
                  <a:schemeClr val="bg1"/>
                </a:solidFill>
                <a:latin typeface="Meiryo UI" panose="020B0604030504040204" pitchFamily="50" charset="-128"/>
                <a:ea typeface="Meiryo UI" panose="020B0604030504040204" pitchFamily="50" charset="-128"/>
              </a:defRPr>
            </a:lvl1pPr>
          </a:lstStyle>
          <a:p>
            <a:r>
              <a:rPr kumimoji="1" lang="ja-JP" altLang="en-US"/>
              <a:t>マスター タイトルの書式設定</a:t>
            </a:r>
          </a:p>
        </p:txBody>
      </p:sp>
      <p:sp>
        <p:nvSpPr>
          <p:cNvPr id="3" name="サブタイトル 2"/>
          <p:cNvSpPr>
            <a:spLocks noGrp="1"/>
          </p:cNvSpPr>
          <p:nvPr>
            <p:ph type="subTitle" idx="1"/>
          </p:nvPr>
        </p:nvSpPr>
        <p:spPr>
          <a:xfrm>
            <a:off x="916801" y="3420000"/>
            <a:ext cx="9691436" cy="977153"/>
          </a:xfrm>
          <a:prstGeom prst="rect">
            <a:avLst/>
          </a:prstGeom>
        </p:spPr>
        <p:txBody>
          <a:bodyPr lIns="95767" tIns="47884" rIns="95767" bIns="47884">
            <a:normAutofit/>
          </a:bodyPr>
          <a:lstStyle>
            <a:lvl1pPr marL="0" indent="0" algn="l">
              <a:buNone/>
              <a:defRPr sz="3333">
                <a:solidFill>
                  <a:schemeClr val="bg1"/>
                </a:solidFill>
                <a:latin typeface="Meiryo UI" panose="020B0604030504040204" pitchFamily="50" charset="-128"/>
                <a:ea typeface="Meiryo UI" panose="020B0604030504040204" pitchFamily="50" charset="-128"/>
              </a:defRPr>
            </a:lvl1pPr>
            <a:lvl2pPr marL="638335" indent="0" algn="ctr">
              <a:buNone/>
              <a:defRPr>
                <a:solidFill>
                  <a:schemeClr val="tx1">
                    <a:tint val="75000"/>
                  </a:schemeClr>
                </a:solidFill>
              </a:defRPr>
            </a:lvl2pPr>
            <a:lvl3pPr marL="1276669" indent="0" algn="ctr">
              <a:buNone/>
              <a:defRPr>
                <a:solidFill>
                  <a:schemeClr val="tx1">
                    <a:tint val="75000"/>
                  </a:schemeClr>
                </a:solidFill>
              </a:defRPr>
            </a:lvl3pPr>
            <a:lvl4pPr marL="1915003" indent="0" algn="ctr">
              <a:buNone/>
              <a:defRPr>
                <a:solidFill>
                  <a:schemeClr val="tx1">
                    <a:tint val="75000"/>
                  </a:schemeClr>
                </a:solidFill>
              </a:defRPr>
            </a:lvl4pPr>
            <a:lvl5pPr marL="2553338" indent="0" algn="ctr">
              <a:buNone/>
              <a:defRPr>
                <a:solidFill>
                  <a:schemeClr val="tx1">
                    <a:tint val="75000"/>
                  </a:schemeClr>
                </a:solidFill>
              </a:defRPr>
            </a:lvl5pPr>
            <a:lvl6pPr marL="3191671" indent="0" algn="ctr">
              <a:buNone/>
              <a:defRPr>
                <a:solidFill>
                  <a:schemeClr val="tx1">
                    <a:tint val="75000"/>
                  </a:schemeClr>
                </a:solidFill>
              </a:defRPr>
            </a:lvl6pPr>
            <a:lvl7pPr marL="3830007" indent="0" algn="ctr">
              <a:buNone/>
              <a:defRPr>
                <a:solidFill>
                  <a:schemeClr val="tx1">
                    <a:tint val="75000"/>
                  </a:schemeClr>
                </a:solidFill>
              </a:defRPr>
            </a:lvl7pPr>
            <a:lvl8pPr marL="4468342" indent="0" algn="ctr">
              <a:buNone/>
              <a:defRPr>
                <a:solidFill>
                  <a:schemeClr val="tx1">
                    <a:tint val="75000"/>
                  </a:schemeClr>
                </a:solidFill>
              </a:defRPr>
            </a:lvl8pPr>
            <a:lvl9pPr marL="5106676" indent="0" algn="ctr">
              <a:buNone/>
              <a:defRPr>
                <a:solidFill>
                  <a:schemeClr val="tx1">
                    <a:tint val="75000"/>
                  </a:schemeClr>
                </a:solidFill>
              </a:defRPr>
            </a:lvl9pPr>
          </a:lstStyle>
          <a:p>
            <a:r>
              <a:rPr kumimoji="1" lang="ja-JP" altLang="en-US"/>
              <a:t>マスター サブタイトルの書式設定</a:t>
            </a:r>
          </a:p>
        </p:txBody>
      </p:sp>
      <p:sp>
        <p:nvSpPr>
          <p:cNvPr id="9" name="フッター プレースホルダー 12"/>
          <p:cNvSpPr>
            <a:spLocks noGrp="1"/>
          </p:cNvSpPr>
          <p:nvPr>
            <p:ph type="ftr" sz="quarter" idx="11"/>
          </p:nvPr>
        </p:nvSpPr>
        <p:spPr>
          <a:xfrm>
            <a:off x="609600" y="6099529"/>
            <a:ext cx="3860800" cy="365125"/>
          </a:xfrm>
          <a:prstGeom prst="rect">
            <a:avLst/>
          </a:prstGeom>
        </p:spPr>
        <p:txBody>
          <a:bodyPr lIns="95767" tIns="47884" rIns="95767" bIns="47884"/>
          <a:lstStyle>
            <a:lvl1pPr algn="l">
              <a:defRPr sz="2266">
                <a:latin typeface="Meiryo UI" panose="020B0604030504040204" pitchFamily="50" charset="-128"/>
                <a:ea typeface="Meiryo UI" panose="020B0604030504040204" pitchFamily="50" charset="-128"/>
              </a:defRPr>
            </a:lvl1pPr>
          </a:lstStyle>
          <a:p>
            <a:endParaRPr lang="ja-JP" altLang="en-US"/>
          </a:p>
        </p:txBody>
      </p:sp>
      <p:sp>
        <p:nvSpPr>
          <p:cNvPr id="12" name="日付プレースホルダー 11"/>
          <p:cNvSpPr>
            <a:spLocks noGrp="1"/>
          </p:cNvSpPr>
          <p:nvPr>
            <p:ph type="dt" sz="half" idx="10"/>
          </p:nvPr>
        </p:nvSpPr>
        <p:spPr>
          <a:xfrm>
            <a:off x="609600" y="5691768"/>
            <a:ext cx="3860800" cy="365125"/>
          </a:xfrm>
          <a:prstGeom prst="rect">
            <a:avLst/>
          </a:prstGeom>
        </p:spPr>
        <p:txBody>
          <a:bodyPr lIns="95767" tIns="47884" rIns="95767" bIns="47884"/>
          <a:lstStyle>
            <a:lvl1pPr algn="l">
              <a:defRPr sz="2266">
                <a:solidFill>
                  <a:srgbClr val="000000"/>
                </a:solidFill>
                <a:latin typeface="Meiryo UI" panose="020B0604030504040204" pitchFamily="50" charset="-128"/>
                <a:ea typeface="Meiryo UI" panose="020B0604030504040204" pitchFamily="50" charset="-128"/>
              </a:defRPr>
            </a:lvl1pPr>
          </a:lstStyle>
          <a:p>
            <a:endParaRPr lang="ja-JP" altLang="en-US"/>
          </a:p>
        </p:txBody>
      </p:sp>
      <p:pic>
        <p:nvPicPr>
          <p:cNvPr id="8" name="Picture 2" descr="C:\Users\00057835\AppData\Local\Temp\notesEA5B2A\グループ併記ロゴ（縦・英文）.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9672823" y="5316525"/>
            <a:ext cx="2519177" cy="1507239"/>
          </a:xfrm>
          <a:prstGeom prst="rect">
            <a:avLst/>
          </a:prstGeom>
          <a:noFill/>
          <a:extLst>
            <a:ext uri="{909E8E84-426E-40DD-AFC4-6F175D3DCCD1}">
              <a14:hiddenFill xmlns:a14="http://schemas.microsoft.com/office/drawing/2010/main">
                <a:solidFill>
                  <a:srgbClr val="FFFFFF"/>
                </a:solidFill>
              </a14:hiddenFill>
            </a:ext>
          </a:extLst>
        </p:spPr>
      </p:pic>
      <p:pic>
        <p:nvPicPr>
          <p:cNvPr id="11" name="図 10" descr="テキスト&#10;&#10;自動的に生成された説明">
            <a:extLst>
              <a:ext uri="{FF2B5EF4-FFF2-40B4-BE49-F238E27FC236}">
                <a16:creationId xmlns:a16="http://schemas.microsoft.com/office/drawing/2014/main" id="{80C15421-0707-47B4-A067-68BC5E4EC91D}"/>
              </a:ext>
            </a:extLst>
          </p:cNvPr>
          <p:cNvPicPr>
            <a:picLocks noChangeAspect="1"/>
          </p:cNvPicPr>
          <p:nvPr userDrawn="1"/>
        </p:nvPicPr>
        <p:blipFill>
          <a:blip r:embed="rId3"/>
          <a:stretch>
            <a:fillRect/>
          </a:stretch>
        </p:blipFill>
        <p:spPr>
          <a:xfrm>
            <a:off x="7614083" y="5874330"/>
            <a:ext cx="2138567" cy="637168"/>
          </a:xfrm>
          <a:prstGeom prst="rect">
            <a:avLst/>
          </a:prstGeom>
        </p:spPr>
      </p:pic>
    </p:spTree>
    <p:extLst>
      <p:ext uri="{BB962C8B-B14F-4D97-AF65-F5344CB8AC3E}">
        <p14:creationId xmlns:p14="http://schemas.microsoft.com/office/powerpoint/2010/main" val="382277870"/>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13_タイトルとコンテンツ">
    <p:spTree>
      <p:nvGrpSpPr>
        <p:cNvPr id="1" name=""/>
        <p:cNvGrpSpPr/>
        <p:nvPr/>
      </p:nvGrpSpPr>
      <p:grpSpPr>
        <a:xfrm>
          <a:off x="0" y="0"/>
          <a:ext cx="0" cy="0"/>
          <a:chOff x="0" y="0"/>
          <a:chExt cx="0" cy="0"/>
        </a:xfrm>
      </p:grpSpPr>
      <p:sp>
        <p:nvSpPr>
          <p:cNvPr id="9" name="Freeform 8"/>
          <p:cNvSpPr>
            <a:spLocks/>
          </p:cNvSpPr>
          <p:nvPr userDrawn="1"/>
        </p:nvSpPr>
        <p:spPr bwMode="auto">
          <a:xfrm>
            <a:off x="-2100" y="5505984"/>
            <a:ext cx="12192504" cy="1353504"/>
          </a:xfrm>
          <a:custGeom>
            <a:avLst/>
            <a:gdLst>
              <a:gd name="T0" fmla="*/ 3622 w 3622"/>
              <a:gd name="T1" fmla="*/ 608 h 608"/>
              <a:gd name="T2" fmla="*/ 3622 w 3622"/>
              <a:gd name="T3" fmla="*/ 0 h 608"/>
              <a:gd name="T4" fmla="*/ 3622 w 3622"/>
              <a:gd name="T5" fmla="*/ 0 h 608"/>
              <a:gd name="T6" fmla="*/ 3622 w 3622"/>
              <a:gd name="T7" fmla="*/ 14 h 608"/>
              <a:gd name="T8" fmla="*/ 3616 w 3622"/>
              <a:gd name="T9" fmla="*/ 46 h 608"/>
              <a:gd name="T10" fmla="*/ 3612 w 3622"/>
              <a:gd name="T11" fmla="*/ 68 h 608"/>
              <a:gd name="T12" fmla="*/ 3604 w 3622"/>
              <a:gd name="T13" fmla="*/ 94 h 608"/>
              <a:gd name="T14" fmla="*/ 3596 w 3622"/>
              <a:gd name="T15" fmla="*/ 122 h 608"/>
              <a:gd name="T16" fmla="*/ 3584 w 3622"/>
              <a:gd name="T17" fmla="*/ 150 h 608"/>
              <a:gd name="T18" fmla="*/ 3568 w 3622"/>
              <a:gd name="T19" fmla="*/ 178 h 608"/>
              <a:gd name="T20" fmla="*/ 3550 w 3622"/>
              <a:gd name="T21" fmla="*/ 206 h 608"/>
              <a:gd name="T22" fmla="*/ 3526 w 3622"/>
              <a:gd name="T23" fmla="*/ 232 h 608"/>
              <a:gd name="T24" fmla="*/ 3514 w 3622"/>
              <a:gd name="T25" fmla="*/ 246 h 608"/>
              <a:gd name="T26" fmla="*/ 3498 w 3622"/>
              <a:gd name="T27" fmla="*/ 258 h 608"/>
              <a:gd name="T28" fmla="*/ 3484 w 3622"/>
              <a:gd name="T29" fmla="*/ 268 h 608"/>
              <a:gd name="T30" fmla="*/ 3466 w 3622"/>
              <a:gd name="T31" fmla="*/ 280 h 608"/>
              <a:gd name="T32" fmla="*/ 3448 w 3622"/>
              <a:gd name="T33" fmla="*/ 288 h 608"/>
              <a:gd name="T34" fmla="*/ 3430 w 3622"/>
              <a:gd name="T35" fmla="*/ 298 h 608"/>
              <a:gd name="T36" fmla="*/ 3410 w 3622"/>
              <a:gd name="T37" fmla="*/ 304 h 608"/>
              <a:gd name="T38" fmla="*/ 3386 w 3622"/>
              <a:gd name="T39" fmla="*/ 310 h 608"/>
              <a:gd name="T40" fmla="*/ 3364 w 3622"/>
              <a:gd name="T41" fmla="*/ 316 h 608"/>
              <a:gd name="T42" fmla="*/ 3338 w 3622"/>
              <a:gd name="T43" fmla="*/ 318 h 608"/>
              <a:gd name="T44" fmla="*/ 3338 w 3622"/>
              <a:gd name="T45" fmla="*/ 318 h 608"/>
              <a:gd name="T46" fmla="*/ 0 w 3622"/>
              <a:gd name="T47" fmla="*/ 608 h 608"/>
              <a:gd name="T48" fmla="*/ 3622 w 3622"/>
              <a:gd name="T49" fmla="*/ 608 h 608"/>
              <a:gd name="connsiteX0" fmla="*/ 10000 w 10000"/>
              <a:gd name="connsiteY0" fmla="*/ 10000 h 10000"/>
              <a:gd name="connsiteX1" fmla="*/ 10000 w 10000"/>
              <a:gd name="connsiteY1" fmla="*/ 0 h 10000"/>
              <a:gd name="connsiteX2" fmla="*/ 10000 w 10000"/>
              <a:gd name="connsiteY2" fmla="*/ 0 h 10000"/>
              <a:gd name="connsiteX3" fmla="*/ 10000 w 10000"/>
              <a:gd name="connsiteY3" fmla="*/ 230 h 10000"/>
              <a:gd name="connsiteX4" fmla="*/ 9983 w 10000"/>
              <a:gd name="connsiteY4" fmla="*/ 757 h 10000"/>
              <a:gd name="connsiteX5" fmla="*/ 9972 w 10000"/>
              <a:gd name="connsiteY5" fmla="*/ 1118 h 10000"/>
              <a:gd name="connsiteX6" fmla="*/ 9950 w 10000"/>
              <a:gd name="connsiteY6" fmla="*/ 1546 h 10000"/>
              <a:gd name="connsiteX7" fmla="*/ 9928 w 10000"/>
              <a:gd name="connsiteY7" fmla="*/ 2007 h 10000"/>
              <a:gd name="connsiteX8" fmla="*/ 9895 w 10000"/>
              <a:gd name="connsiteY8" fmla="*/ 2467 h 10000"/>
              <a:gd name="connsiteX9" fmla="*/ 9851 w 10000"/>
              <a:gd name="connsiteY9" fmla="*/ 2928 h 10000"/>
              <a:gd name="connsiteX10" fmla="*/ 9801 w 10000"/>
              <a:gd name="connsiteY10" fmla="*/ 3388 h 10000"/>
              <a:gd name="connsiteX11" fmla="*/ 9735 w 10000"/>
              <a:gd name="connsiteY11" fmla="*/ 3816 h 10000"/>
              <a:gd name="connsiteX12" fmla="*/ 9702 w 10000"/>
              <a:gd name="connsiteY12" fmla="*/ 4046 h 10000"/>
              <a:gd name="connsiteX13" fmla="*/ 9658 w 10000"/>
              <a:gd name="connsiteY13" fmla="*/ 4243 h 10000"/>
              <a:gd name="connsiteX14" fmla="*/ 9619 w 10000"/>
              <a:gd name="connsiteY14" fmla="*/ 4408 h 10000"/>
              <a:gd name="connsiteX15" fmla="*/ 9569 w 10000"/>
              <a:gd name="connsiteY15" fmla="*/ 4605 h 10000"/>
              <a:gd name="connsiteX16" fmla="*/ 9520 w 10000"/>
              <a:gd name="connsiteY16" fmla="*/ 4737 h 10000"/>
              <a:gd name="connsiteX17" fmla="*/ 9470 w 10000"/>
              <a:gd name="connsiteY17" fmla="*/ 4901 h 10000"/>
              <a:gd name="connsiteX18" fmla="*/ 9415 w 10000"/>
              <a:gd name="connsiteY18" fmla="*/ 5000 h 10000"/>
              <a:gd name="connsiteX19" fmla="*/ 9348 w 10000"/>
              <a:gd name="connsiteY19" fmla="*/ 5099 h 10000"/>
              <a:gd name="connsiteX20" fmla="*/ 9288 w 10000"/>
              <a:gd name="connsiteY20" fmla="*/ 5197 h 10000"/>
              <a:gd name="connsiteX21" fmla="*/ 9216 w 10000"/>
              <a:gd name="connsiteY21" fmla="*/ 5230 h 10000"/>
              <a:gd name="connsiteX22" fmla="*/ 9216 w 10000"/>
              <a:gd name="connsiteY22" fmla="*/ 5230 h 10000"/>
              <a:gd name="connsiteX23" fmla="*/ 1190 w 10000"/>
              <a:gd name="connsiteY23" fmla="*/ 9414 h 10000"/>
              <a:gd name="connsiteX24" fmla="*/ 0 w 10000"/>
              <a:gd name="connsiteY24" fmla="*/ 10000 h 10000"/>
              <a:gd name="connsiteX25" fmla="*/ 10000 w 10000"/>
              <a:gd name="connsiteY25" fmla="*/ 10000 h 10000"/>
              <a:gd name="connsiteX0" fmla="*/ 10000 w 10000"/>
              <a:gd name="connsiteY0" fmla="*/ 10000 h 10011"/>
              <a:gd name="connsiteX1" fmla="*/ 10000 w 10000"/>
              <a:gd name="connsiteY1" fmla="*/ 0 h 10011"/>
              <a:gd name="connsiteX2" fmla="*/ 10000 w 10000"/>
              <a:gd name="connsiteY2" fmla="*/ 0 h 10011"/>
              <a:gd name="connsiteX3" fmla="*/ 10000 w 10000"/>
              <a:gd name="connsiteY3" fmla="*/ 230 h 10011"/>
              <a:gd name="connsiteX4" fmla="*/ 9983 w 10000"/>
              <a:gd name="connsiteY4" fmla="*/ 757 h 10011"/>
              <a:gd name="connsiteX5" fmla="*/ 9972 w 10000"/>
              <a:gd name="connsiteY5" fmla="*/ 1118 h 10011"/>
              <a:gd name="connsiteX6" fmla="*/ 9950 w 10000"/>
              <a:gd name="connsiteY6" fmla="*/ 1546 h 10011"/>
              <a:gd name="connsiteX7" fmla="*/ 9928 w 10000"/>
              <a:gd name="connsiteY7" fmla="*/ 2007 h 10011"/>
              <a:gd name="connsiteX8" fmla="*/ 9895 w 10000"/>
              <a:gd name="connsiteY8" fmla="*/ 2467 h 10011"/>
              <a:gd name="connsiteX9" fmla="*/ 9851 w 10000"/>
              <a:gd name="connsiteY9" fmla="*/ 2928 h 10011"/>
              <a:gd name="connsiteX10" fmla="*/ 9801 w 10000"/>
              <a:gd name="connsiteY10" fmla="*/ 3388 h 10011"/>
              <a:gd name="connsiteX11" fmla="*/ 9735 w 10000"/>
              <a:gd name="connsiteY11" fmla="*/ 3816 h 10011"/>
              <a:gd name="connsiteX12" fmla="*/ 9702 w 10000"/>
              <a:gd name="connsiteY12" fmla="*/ 4046 h 10011"/>
              <a:gd name="connsiteX13" fmla="*/ 9658 w 10000"/>
              <a:gd name="connsiteY13" fmla="*/ 4243 h 10011"/>
              <a:gd name="connsiteX14" fmla="*/ 9619 w 10000"/>
              <a:gd name="connsiteY14" fmla="*/ 4408 h 10011"/>
              <a:gd name="connsiteX15" fmla="*/ 9569 w 10000"/>
              <a:gd name="connsiteY15" fmla="*/ 4605 h 10011"/>
              <a:gd name="connsiteX16" fmla="*/ 9520 w 10000"/>
              <a:gd name="connsiteY16" fmla="*/ 4737 h 10011"/>
              <a:gd name="connsiteX17" fmla="*/ 9470 w 10000"/>
              <a:gd name="connsiteY17" fmla="*/ 4901 h 10011"/>
              <a:gd name="connsiteX18" fmla="*/ 9415 w 10000"/>
              <a:gd name="connsiteY18" fmla="*/ 5000 h 10011"/>
              <a:gd name="connsiteX19" fmla="*/ 9348 w 10000"/>
              <a:gd name="connsiteY19" fmla="*/ 5099 h 10011"/>
              <a:gd name="connsiteX20" fmla="*/ 9288 w 10000"/>
              <a:gd name="connsiteY20" fmla="*/ 5197 h 10011"/>
              <a:gd name="connsiteX21" fmla="*/ 9216 w 10000"/>
              <a:gd name="connsiteY21" fmla="*/ 5230 h 10011"/>
              <a:gd name="connsiteX22" fmla="*/ 9216 w 10000"/>
              <a:gd name="connsiteY22" fmla="*/ 5230 h 10011"/>
              <a:gd name="connsiteX23" fmla="*/ 1190 w 10000"/>
              <a:gd name="connsiteY23" fmla="*/ 9414 h 10011"/>
              <a:gd name="connsiteX24" fmla="*/ 0 w 10000"/>
              <a:gd name="connsiteY24" fmla="*/ 10000 h 10011"/>
              <a:gd name="connsiteX25" fmla="*/ 1185 w 10000"/>
              <a:gd name="connsiteY25" fmla="*/ 10011 h 10011"/>
              <a:gd name="connsiteX26" fmla="*/ 10000 w 10000"/>
              <a:gd name="connsiteY26" fmla="*/ 10000 h 10011"/>
              <a:gd name="connsiteX0" fmla="*/ 8815 w 8815"/>
              <a:gd name="connsiteY0" fmla="*/ 10000 h 10011"/>
              <a:gd name="connsiteX1" fmla="*/ 8815 w 8815"/>
              <a:gd name="connsiteY1" fmla="*/ 0 h 10011"/>
              <a:gd name="connsiteX2" fmla="*/ 8815 w 8815"/>
              <a:gd name="connsiteY2" fmla="*/ 0 h 10011"/>
              <a:gd name="connsiteX3" fmla="*/ 8815 w 8815"/>
              <a:gd name="connsiteY3" fmla="*/ 230 h 10011"/>
              <a:gd name="connsiteX4" fmla="*/ 8798 w 8815"/>
              <a:gd name="connsiteY4" fmla="*/ 757 h 10011"/>
              <a:gd name="connsiteX5" fmla="*/ 8787 w 8815"/>
              <a:gd name="connsiteY5" fmla="*/ 1118 h 10011"/>
              <a:gd name="connsiteX6" fmla="*/ 8765 w 8815"/>
              <a:gd name="connsiteY6" fmla="*/ 1546 h 10011"/>
              <a:gd name="connsiteX7" fmla="*/ 8743 w 8815"/>
              <a:gd name="connsiteY7" fmla="*/ 2007 h 10011"/>
              <a:gd name="connsiteX8" fmla="*/ 8710 w 8815"/>
              <a:gd name="connsiteY8" fmla="*/ 2467 h 10011"/>
              <a:gd name="connsiteX9" fmla="*/ 8666 w 8815"/>
              <a:gd name="connsiteY9" fmla="*/ 2928 h 10011"/>
              <a:gd name="connsiteX10" fmla="*/ 8616 w 8815"/>
              <a:gd name="connsiteY10" fmla="*/ 3388 h 10011"/>
              <a:gd name="connsiteX11" fmla="*/ 8550 w 8815"/>
              <a:gd name="connsiteY11" fmla="*/ 3816 h 10011"/>
              <a:gd name="connsiteX12" fmla="*/ 8517 w 8815"/>
              <a:gd name="connsiteY12" fmla="*/ 4046 h 10011"/>
              <a:gd name="connsiteX13" fmla="*/ 8473 w 8815"/>
              <a:gd name="connsiteY13" fmla="*/ 4243 h 10011"/>
              <a:gd name="connsiteX14" fmla="*/ 8434 w 8815"/>
              <a:gd name="connsiteY14" fmla="*/ 4408 h 10011"/>
              <a:gd name="connsiteX15" fmla="*/ 8384 w 8815"/>
              <a:gd name="connsiteY15" fmla="*/ 4605 h 10011"/>
              <a:gd name="connsiteX16" fmla="*/ 8335 w 8815"/>
              <a:gd name="connsiteY16" fmla="*/ 4737 h 10011"/>
              <a:gd name="connsiteX17" fmla="*/ 8285 w 8815"/>
              <a:gd name="connsiteY17" fmla="*/ 4901 h 10011"/>
              <a:gd name="connsiteX18" fmla="*/ 8230 w 8815"/>
              <a:gd name="connsiteY18" fmla="*/ 5000 h 10011"/>
              <a:gd name="connsiteX19" fmla="*/ 8163 w 8815"/>
              <a:gd name="connsiteY19" fmla="*/ 5099 h 10011"/>
              <a:gd name="connsiteX20" fmla="*/ 8103 w 8815"/>
              <a:gd name="connsiteY20" fmla="*/ 5197 h 10011"/>
              <a:gd name="connsiteX21" fmla="*/ 8031 w 8815"/>
              <a:gd name="connsiteY21" fmla="*/ 5230 h 10011"/>
              <a:gd name="connsiteX22" fmla="*/ 8031 w 8815"/>
              <a:gd name="connsiteY22" fmla="*/ 5230 h 10011"/>
              <a:gd name="connsiteX23" fmla="*/ 5 w 8815"/>
              <a:gd name="connsiteY23" fmla="*/ 9414 h 10011"/>
              <a:gd name="connsiteX24" fmla="*/ 0 w 8815"/>
              <a:gd name="connsiteY24" fmla="*/ 10011 h 10011"/>
              <a:gd name="connsiteX25" fmla="*/ 8815 w 8815"/>
              <a:gd name="connsiteY25" fmla="*/ 10000 h 10011"/>
              <a:gd name="connsiteX0" fmla="*/ 9996 w 9996"/>
              <a:gd name="connsiteY0" fmla="*/ 9989 h 10000"/>
              <a:gd name="connsiteX1" fmla="*/ 9996 w 9996"/>
              <a:gd name="connsiteY1" fmla="*/ 0 h 10000"/>
              <a:gd name="connsiteX2" fmla="*/ 9996 w 9996"/>
              <a:gd name="connsiteY2" fmla="*/ 0 h 10000"/>
              <a:gd name="connsiteX3" fmla="*/ 9996 w 9996"/>
              <a:gd name="connsiteY3" fmla="*/ 230 h 10000"/>
              <a:gd name="connsiteX4" fmla="*/ 9977 w 9996"/>
              <a:gd name="connsiteY4" fmla="*/ 756 h 10000"/>
              <a:gd name="connsiteX5" fmla="*/ 9964 w 9996"/>
              <a:gd name="connsiteY5" fmla="*/ 1117 h 10000"/>
              <a:gd name="connsiteX6" fmla="*/ 9939 w 9996"/>
              <a:gd name="connsiteY6" fmla="*/ 1544 h 10000"/>
              <a:gd name="connsiteX7" fmla="*/ 9914 w 9996"/>
              <a:gd name="connsiteY7" fmla="*/ 2005 h 10000"/>
              <a:gd name="connsiteX8" fmla="*/ 9877 w 9996"/>
              <a:gd name="connsiteY8" fmla="*/ 2464 h 10000"/>
              <a:gd name="connsiteX9" fmla="*/ 9827 w 9996"/>
              <a:gd name="connsiteY9" fmla="*/ 2925 h 10000"/>
              <a:gd name="connsiteX10" fmla="*/ 9770 w 9996"/>
              <a:gd name="connsiteY10" fmla="*/ 3384 h 10000"/>
              <a:gd name="connsiteX11" fmla="*/ 9695 w 9996"/>
              <a:gd name="connsiteY11" fmla="*/ 3812 h 10000"/>
              <a:gd name="connsiteX12" fmla="*/ 9658 w 9996"/>
              <a:gd name="connsiteY12" fmla="*/ 4042 h 10000"/>
              <a:gd name="connsiteX13" fmla="*/ 9608 w 9996"/>
              <a:gd name="connsiteY13" fmla="*/ 4238 h 10000"/>
              <a:gd name="connsiteX14" fmla="*/ 9564 w 9996"/>
              <a:gd name="connsiteY14" fmla="*/ 4403 h 10000"/>
              <a:gd name="connsiteX15" fmla="*/ 9507 w 9996"/>
              <a:gd name="connsiteY15" fmla="*/ 4600 h 10000"/>
              <a:gd name="connsiteX16" fmla="*/ 9451 w 9996"/>
              <a:gd name="connsiteY16" fmla="*/ 4732 h 10000"/>
              <a:gd name="connsiteX17" fmla="*/ 9395 w 9996"/>
              <a:gd name="connsiteY17" fmla="*/ 4896 h 10000"/>
              <a:gd name="connsiteX18" fmla="*/ 9332 w 9996"/>
              <a:gd name="connsiteY18" fmla="*/ 4995 h 10000"/>
              <a:gd name="connsiteX19" fmla="*/ 9256 w 9996"/>
              <a:gd name="connsiteY19" fmla="*/ 5093 h 10000"/>
              <a:gd name="connsiteX20" fmla="*/ 9188 w 9996"/>
              <a:gd name="connsiteY20" fmla="*/ 5191 h 10000"/>
              <a:gd name="connsiteX21" fmla="*/ 9107 w 9996"/>
              <a:gd name="connsiteY21" fmla="*/ 5224 h 10000"/>
              <a:gd name="connsiteX22" fmla="*/ 9107 w 9996"/>
              <a:gd name="connsiteY22" fmla="*/ 5224 h 10000"/>
              <a:gd name="connsiteX23" fmla="*/ 2 w 9996"/>
              <a:gd name="connsiteY23" fmla="*/ 9404 h 10000"/>
              <a:gd name="connsiteX24" fmla="*/ 0 w 9996"/>
              <a:gd name="connsiteY24" fmla="*/ 10000 h 10000"/>
              <a:gd name="connsiteX25" fmla="*/ 9996 w 9996"/>
              <a:gd name="connsiteY25" fmla="*/ 9989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9996" h="10000">
                <a:moveTo>
                  <a:pt x="9996" y="9989"/>
                </a:moveTo>
                <a:lnTo>
                  <a:pt x="9996" y="0"/>
                </a:lnTo>
                <a:lnTo>
                  <a:pt x="9996" y="0"/>
                </a:lnTo>
                <a:lnTo>
                  <a:pt x="9996" y="230"/>
                </a:lnTo>
                <a:cubicBezTo>
                  <a:pt x="9989" y="406"/>
                  <a:pt x="9984" y="580"/>
                  <a:pt x="9977" y="756"/>
                </a:cubicBezTo>
                <a:cubicBezTo>
                  <a:pt x="9972" y="876"/>
                  <a:pt x="9969" y="997"/>
                  <a:pt x="9964" y="1117"/>
                </a:cubicBezTo>
                <a:cubicBezTo>
                  <a:pt x="9956" y="1260"/>
                  <a:pt x="9947" y="1401"/>
                  <a:pt x="9939" y="1544"/>
                </a:cubicBezTo>
                <a:cubicBezTo>
                  <a:pt x="9931" y="1698"/>
                  <a:pt x="9922" y="1851"/>
                  <a:pt x="9914" y="2005"/>
                </a:cubicBezTo>
                <a:cubicBezTo>
                  <a:pt x="9902" y="2158"/>
                  <a:pt x="9889" y="2311"/>
                  <a:pt x="9877" y="2464"/>
                </a:cubicBezTo>
                <a:cubicBezTo>
                  <a:pt x="9860" y="2618"/>
                  <a:pt x="9844" y="2771"/>
                  <a:pt x="9827" y="2925"/>
                </a:cubicBezTo>
                <a:cubicBezTo>
                  <a:pt x="9808" y="3078"/>
                  <a:pt x="9790" y="3231"/>
                  <a:pt x="9770" y="3384"/>
                </a:cubicBezTo>
                <a:cubicBezTo>
                  <a:pt x="9745" y="3527"/>
                  <a:pt x="9720" y="3669"/>
                  <a:pt x="9695" y="3812"/>
                </a:cubicBezTo>
                <a:cubicBezTo>
                  <a:pt x="9683" y="3889"/>
                  <a:pt x="9670" y="3965"/>
                  <a:pt x="9658" y="4042"/>
                </a:cubicBezTo>
                <a:cubicBezTo>
                  <a:pt x="9641" y="4107"/>
                  <a:pt x="9625" y="4172"/>
                  <a:pt x="9608" y="4238"/>
                </a:cubicBezTo>
                <a:cubicBezTo>
                  <a:pt x="9593" y="4293"/>
                  <a:pt x="9579" y="4348"/>
                  <a:pt x="9564" y="4403"/>
                </a:cubicBezTo>
                <a:cubicBezTo>
                  <a:pt x="9544" y="4469"/>
                  <a:pt x="9526" y="4534"/>
                  <a:pt x="9507" y="4600"/>
                </a:cubicBezTo>
                <a:cubicBezTo>
                  <a:pt x="9489" y="4644"/>
                  <a:pt x="9470" y="4688"/>
                  <a:pt x="9451" y="4732"/>
                </a:cubicBezTo>
                <a:cubicBezTo>
                  <a:pt x="9432" y="4787"/>
                  <a:pt x="9414" y="4841"/>
                  <a:pt x="9395" y="4896"/>
                </a:cubicBezTo>
                <a:lnTo>
                  <a:pt x="9332" y="4995"/>
                </a:lnTo>
                <a:cubicBezTo>
                  <a:pt x="9307" y="5027"/>
                  <a:pt x="9281" y="5060"/>
                  <a:pt x="9256" y="5093"/>
                </a:cubicBezTo>
                <a:cubicBezTo>
                  <a:pt x="9234" y="5126"/>
                  <a:pt x="9211" y="5158"/>
                  <a:pt x="9188" y="5191"/>
                </a:cubicBezTo>
                <a:lnTo>
                  <a:pt x="9107" y="5224"/>
                </a:lnTo>
                <a:lnTo>
                  <a:pt x="9107" y="5224"/>
                </a:lnTo>
                <a:lnTo>
                  <a:pt x="2" y="9404"/>
                </a:lnTo>
                <a:cubicBezTo>
                  <a:pt x="-1" y="9602"/>
                  <a:pt x="2" y="9801"/>
                  <a:pt x="0" y="10000"/>
                </a:cubicBezTo>
                <a:lnTo>
                  <a:pt x="9996" y="9989"/>
                </a:lnTo>
                <a:close/>
              </a:path>
            </a:pathLst>
          </a:custGeom>
          <a:solidFill>
            <a:schemeClr val="accent6"/>
          </a:solidFill>
          <a:ln>
            <a:noFill/>
          </a:ln>
        </p:spPr>
        <p:txBody>
          <a:bodyPr vert="horz" wrap="square" lIns="133428" tIns="66715" rIns="133428" bIns="66715" numCol="1" anchor="t" anchorCtr="0" compatLnSpc="1">
            <a:prstTxWarp prst="textNoShape">
              <a:avLst/>
            </a:prstTxWarp>
          </a:bodyPr>
          <a:lstStyle/>
          <a:p>
            <a:endParaRPr lang="ja-JP" altLang="en-US" sz="2533"/>
          </a:p>
        </p:txBody>
      </p:sp>
      <p:sp>
        <p:nvSpPr>
          <p:cNvPr id="2" name="タイトル 1"/>
          <p:cNvSpPr>
            <a:spLocks noGrp="1"/>
          </p:cNvSpPr>
          <p:nvPr>
            <p:ph type="title"/>
          </p:nvPr>
        </p:nvSpPr>
        <p:spPr>
          <a:xfrm>
            <a:off x="368550" y="1959102"/>
            <a:ext cx="11451591" cy="540000"/>
          </a:xfrm>
          <a:prstGeom prst="rect">
            <a:avLst/>
          </a:prstGeom>
        </p:spPr>
        <p:txBody>
          <a:bodyPr lIns="95767" tIns="47884" rIns="95767" bIns="47884"/>
          <a:lstStyle>
            <a:lvl1pPr>
              <a:defRPr>
                <a:latin typeface="Meiryo UI" panose="020B0604030504040204" pitchFamily="50" charset="-128"/>
                <a:ea typeface="Meiryo UI" panose="020B0604030504040204" pitchFamily="50" charset="-128"/>
              </a:defRPr>
            </a:lvl1pPr>
          </a:lstStyle>
          <a:p>
            <a:r>
              <a:rPr kumimoji="1" lang="ja-JP" altLang="en-US"/>
              <a:t>マスター タイトルの書式設定</a:t>
            </a:r>
          </a:p>
        </p:txBody>
      </p:sp>
      <p:sp>
        <p:nvSpPr>
          <p:cNvPr id="6" name="スライド番号プレースホルダー 5"/>
          <p:cNvSpPr>
            <a:spLocks noGrp="1"/>
          </p:cNvSpPr>
          <p:nvPr>
            <p:ph type="sldNum" sz="quarter" idx="12"/>
          </p:nvPr>
        </p:nvSpPr>
        <p:spPr>
          <a:xfrm>
            <a:off x="11524630" y="6468878"/>
            <a:ext cx="555811" cy="289299"/>
          </a:xfrm>
          <a:prstGeom prst="rect">
            <a:avLst/>
          </a:prstGeom>
        </p:spPr>
        <p:txBody>
          <a:bodyPr lIns="95767" tIns="47884" rIns="95767" bIns="47884"/>
          <a:lstStyle>
            <a:lvl1pPr>
              <a:defRPr sz="1333"/>
            </a:lvl1pPr>
          </a:lstStyle>
          <a:p>
            <a:fld id="{2FF5E1DE-7B95-8A44-8552-65323269AE41}" type="slidenum">
              <a:rPr lang="ja-JP" altLang="en-US" smtClean="0"/>
              <a:pPr/>
              <a:t>‹#›</a:t>
            </a:fld>
            <a:endParaRPr lang="ja-JP" altLang="en-US"/>
          </a:p>
        </p:txBody>
      </p:sp>
      <p:pic>
        <p:nvPicPr>
          <p:cNvPr id="7" name="Picture 2" descr="C:\Users\00057835\AppData\Local\Temp\notesEA5B2A\グループ併記ロゴ（縦・英文）.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0756324" y="26652"/>
            <a:ext cx="1434080" cy="85801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26944479"/>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obj" preserve="1">
  <p:cSld name="14_タイトルとコンテンツ">
    <p:spTree>
      <p:nvGrpSpPr>
        <p:cNvPr id="1" name=""/>
        <p:cNvGrpSpPr/>
        <p:nvPr/>
      </p:nvGrpSpPr>
      <p:grpSpPr>
        <a:xfrm>
          <a:off x="0" y="0"/>
          <a:ext cx="0" cy="0"/>
          <a:chOff x="0" y="0"/>
          <a:chExt cx="0" cy="0"/>
        </a:xfrm>
      </p:grpSpPr>
      <p:sp>
        <p:nvSpPr>
          <p:cNvPr id="9" name="Freeform 8"/>
          <p:cNvSpPr>
            <a:spLocks/>
          </p:cNvSpPr>
          <p:nvPr userDrawn="1"/>
        </p:nvSpPr>
        <p:spPr bwMode="auto">
          <a:xfrm>
            <a:off x="-2100" y="5505984"/>
            <a:ext cx="12192504" cy="1353504"/>
          </a:xfrm>
          <a:custGeom>
            <a:avLst/>
            <a:gdLst>
              <a:gd name="T0" fmla="*/ 3622 w 3622"/>
              <a:gd name="T1" fmla="*/ 608 h 608"/>
              <a:gd name="T2" fmla="*/ 3622 w 3622"/>
              <a:gd name="T3" fmla="*/ 0 h 608"/>
              <a:gd name="T4" fmla="*/ 3622 w 3622"/>
              <a:gd name="T5" fmla="*/ 0 h 608"/>
              <a:gd name="T6" fmla="*/ 3622 w 3622"/>
              <a:gd name="T7" fmla="*/ 14 h 608"/>
              <a:gd name="T8" fmla="*/ 3616 w 3622"/>
              <a:gd name="T9" fmla="*/ 46 h 608"/>
              <a:gd name="T10" fmla="*/ 3612 w 3622"/>
              <a:gd name="T11" fmla="*/ 68 h 608"/>
              <a:gd name="T12" fmla="*/ 3604 w 3622"/>
              <a:gd name="T13" fmla="*/ 94 h 608"/>
              <a:gd name="T14" fmla="*/ 3596 w 3622"/>
              <a:gd name="T15" fmla="*/ 122 h 608"/>
              <a:gd name="T16" fmla="*/ 3584 w 3622"/>
              <a:gd name="T17" fmla="*/ 150 h 608"/>
              <a:gd name="T18" fmla="*/ 3568 w 3622"/>
              <a:gd name="T19" fmla="*/ 178 h 608"/>
              <a:gd name="T20" fmla="*/ 3550 w 3622"/>
              <a:gd name="T21" fmla="*/ 206 h 608"/>
              <a:gd name="T22" fmla="*/ 3526 w 3622"/>
              <a:gd name="T23" fmla="*/ 232 h 608"/>
              <a:gd name="T24" fmla="*/ 3514 w 3622"/>
              <a:gd name="T25" fmla="*/ 246 h 608"/>
              <a:gd name="T26" fmla="*/ 3498 w 3622"/>
              <a:gd name="T27" fmla="*/ 258 h 608"/>
              <a:gd name="T28" fmla="*/ 3484 w 3622"/>
              <a:gd name="T29" fmla="*/ 268 h 608"/>
              <a:gd name="T30" fmla="*/ 3466 w 3622"/>
              <a:gd name="T31" fmla="*/ 280 h 608"/>
              <a:gd name="T32" fmla="*/ 3448 w 3622"/>
              <a:gd name="T33" fmla="*/ 288 h 608"/>
              <a:gd name="T34" fmla="*/ 3430 w 3622"/>
              <a:gd name="T35" fmla="*/ 298 h 608"/>
              <a:gd name="T36" fmla="*/ 3410 w 3622"/>
              <a:gd name="T37" fmla="*/ 304 h 608"/>
              <a:gd name="T38" fmla="*/ 3386 w 3622"/>
              <a:gd name="T39" fmla="*/ 310 h 608"/>
              <a:gd name="T40" fmla="*/ 3364 w 3622"/>
              <a:gd name="T41" fmla="*/ 316 h 608"/>
              <a:gd name="T42" fmla="*/ 3338 w 3622"/>
              <a:gd name="T43" fmla="*/ 318 h 608"/>
              <a:gd name="T44" fmla="*/ 3338 w 3622"/>
              <a:gd name="T45" fmla="*/ 318 h 608"/>
              <a:gd name="T46" fmla="*/ 0 w 3622"/>
              <a:gd name="T47" fmla="*/ 608 h 608"/>
              <a:gd name="T48" fmla="*/ 3622 w 3622"/>
              <a:gd name="T49" fmla="*/ 608 h 608"/>
              <a:gd name="connsiteX0" fmla="*/ 10000 w 10000"/>
              <a:gd name="connsiteY0" fmla="*/ 10000 h 10000"/>
              <a:gd name="connsiteX1" fmla="*/ 10000 w 10000"/>
              <a:gd name="connsiteY1" fmla="*/ 0 h 10000"/>
              <a:gd name="connsiteX2" fmla="*/ 10000 w 10000"/>
              <a:gd name="connsiteY2" fmla="*/ 0 h 10000"/>
              <a:gd name="connsiteX3" fmla="*/ 10000 w 10000"/>
              <a:gd name="connsiteY3" fmla="*/ 230 h 10000"/>
              <a:gd name="connsiteX4" fmla="*/ 9983 w 10000"/>
              <a:gd name="connsiteY4" fmla="*/ 757 h 10000"/>
              <a:gd name="connsiteX5" fmla="*/ 9972 w 10000"/>
              <a:gd name="connsiteY5" fmla="*/ 1118 h 10000"/>
              <a:gd name="connsiteX6" fmla="*/ 9950 w 10000"/>
              <a:gd name="connsiteY6" fmla="*/ 1546 h 10000"/>
              <a:gd name="connsiteX7" fmla="*/ 9928 w 10000"/>
              <a:gd name="connsiteY7" fmla="*/ 2007 h 10000"/>
              <a:gd name="connsiteX8" fmla="*/ 9895 w 10000"/>
              <a:gd name="connsiteY8" fmla="*/ 2467 h 10000"/>
              <a:gd name="connsiteX9" fmla="*/ 9851 w 10000"/>
              <a:gd name="connsiteY9" fmla="*/ 2928 h 10000"/>
              <a:gd name="connsiteX10" fmla="*/ 9801 w 10000"/>
              <a:gd name="connsiteY10" fmla="*/ 3388 h 10000"/>
              <a:gd name="connsiteX11" fmla="*/ 9735 w 10000"/>
              <a:gd name="connsiteY11" fmla="*/ 3816 h 10000"/>
              <a:gd name="connsiteX12" fmla="*/ 9702 w 10000"/>
              <a:gd name="connsiteY12" fmla="*/ 4046 h 10000"/>
              <a:gd name="connsiteX13" fmla="*/ 9658 w 10000"/>
              <a:gd name="connsiteY13" fmla="*/ 4243 h 10000"/>
              <a:gd name="connsiteX14" fmla="*/ 9619 w 10000"/>
              <a:gd name="connsiteY14" fmla="*/ 4408 h 10000"/>
              <a:gd name="connsiteX15" fmla="*/ 9569 w 10000"/>
              <a:gd name="connsiteY15" fmla="*/ 4605 h 10000"/>
              <a:gd name="connsiteX16" fmla="*/ 9520 w 10000"/>
              <a:gd name="connsiteY16" fmla="*/ 4737 h 10000"/>
              <a:gd name="connsiteX17" fmla="*/ 9470 w 10000"/>
              <a:gd name="connsiteY17" fmla="*/ 4901 h 10000"/>
              <a:gd name="connsiteX18" fmla="*/ 9415 w 10000"/>
              <a:gd name="connsiteY18" fmla="*/ 5000 h 10000"/>
              <a:gd name="connsiteX19" fmla="*/ 9348 w 10000"/>
              <a:gd name="connsiteY19" fmla="*/ 5099 h 10000"/>
              <a:gd name="connsiteX20" fmla="*/ 9288 w 10000"/>
              <a:gd name="connsiteY20" fmla="*/ 5197 h 10000"/>
              <a:gd name="connsiteX21" fmla="*/ 9216 w 10000"/>
              <a:gd name="connsiteY21" fmla="*/ 5230 h 10000"/>
              <a:gd name="connsiteX22" fmla="*/ 9216 w 10000"/>
              <a:gd name="connsiteY22" fmla="*/ 5230 h 10000"/>
              <a:gd name="connsiteX23" fmla="*/ 1190 w 10000"/>
              <a:gd name="connsiteY23" fmla="*/ 9414 h 10000"/>
              <a:gd name="connsiteX24" fmla="*/ 0 w 10000"/>
              <a:gd name="connsiteY24" fmla="*/ 10000 h 10000"/>
              <a:gd name="connsiteX25" fmla="*/ 10000 w 10000"/>
              <a:gd name="connsiteY25" fmla="*/ 10000 h 10000"/>
              <a:gd name="connsiteX0" fmla="*/ 10000 w 10000"/>
              <a:gd name="connsiteY0" fmla="*/ 10000 h 10011"/>
              <a:gd name="connsiteX1" fmla="*/ 10000 w 10000"/>
              <a:gd name="connsiteY1" fmla="*/ 0 h 10011"/>
              <a:gd name="connsiteX2" fmla="*/ 10000 w 10000"/>
              <a:gd name="connsiteY2" fmla="*/ 0 h 10011"/>
              <a:gd name="connsiteX3" fmla="*/ 10000 w 10000"/>
              <a:gd name="connsiteY3" fmla="*/ 230 h 10011"/>
              <a:gd name="connsiteX4" fmla="*/ 9983 w 10000"/>
              <a:gd name="connsiteY4" fmla="*/ 757 h 10011"/>
              <a:gd name="connsiteX5" fmla="*/ 9972 w 10000"/>
              <a:gd name="connsiteY5" fmla="*/ 1118 h 10011"/>
              <a:gd name="connsiteX6" fmla="*/ 9950 w 10000"/>
              <a:gd name="connsiteY6" fmla="*/ 1546 h 10011"/>
              <a:gd name="connsiteX7" fmla="*/ 9928 w 10000"/>
              <a:gd name="connsiteY7" fmla="*/ 2007 h 10011"/>
              <a:gd name="connsiteX8" fmla="*/ 9895 w 10000"/>
              <a:gd name="connsiteY8" fmla="*/ 2467 h 10011"/>
              <a:gd name="connsiteX9" fmla="*/ 9851 w 10000"/>
              <a:gd name="connsiteY9" fmla="*/ 2928 h 10011"/>
              <a:gd name="connsiteX10" fmla="*/ 9801 w 10000"/>
              <a:gd name="connsiteY10" fmla="*/ 3388 h 10011"/>
              <a:gd name="connsiteX11" fmla="*/ 9735 w 10000"/>
              <a:gd name="connsiteY11" fmla="*/ 3816 h 10011"/>
              <a:gd name="connsiteX12" fmla="*/ 9702 w 10000"/>
              <a:gd name="connsiteY12" fmla="*/ 4046 h 10011"/>
              <a:gd name="connsiteX13" fmla="*/ 9658 w 10000"/>
              <a:gd name="connsiteY13" fmla="*/ 4243 h 10011"/>
              <a:gd name="connsiteX14" fmla="*/ 9619 w 10000"/>
              <a:gd name="connsiteY14" fmla="*/ 4408 h 10011"/>
              <a:gd name="connsiteX15" fmla="*/ 9569 w 10000"/>
              <a:gd name="connsiteY15" fmla="*/ 4605 h 10011"/>
              <a:gd name="connsiteX16" fmla="*/ 9520 w 10000"/>
              <a:gd name="connsiteY16" fmla="*/ 4737 h 10011"/>
              <a:gd name="connsiteX17" fmla="*/ 9470 w 10000"/>
              <a:gd name="connsiteY17" fmla="*/ 4901 h 10011"/>
              <a:gd name="connsiteX18" fmla="*/ 9415 w 10000"/>
              <a:gd name="connsiteY18" fmla="*/ 5000 h 10011"/>
              <a:gd name="connsiteX19" fmla="*/ 9348 w 10000"/>
              <a:gd name="connsiteY19" fmla="*/ 5099 h 10011"/>
              <a:gd name="connsiteX20" fmla="*/ 9288 w 10000"/>
              <a:gd name="connsiteY20" fmla="*/ 5197 h 10011"/>
              <a:gd name="connsiteX21" fmla="*/ 9216 w 10000"/>
              <a:gd name="connsiteY21" fmla="*/ 5230 h 10011"/>
              <a:gd name="connsiteX22" fmla="*/ 9216 w 10000"/>
              <a:gd name="connsiteY22" fmla="*/ 5230 h 10011"/>
              <a:gd name="connsiteX23" fmla="*/ 1190 w 10000"/>
              <a:gd name="connsiteY23" fmla="*/ 9414 h 10011"/>
              <a:gd name="connsiteX24" fmla="*/ 0 w 10000"/>
              <a:gd name="connsiteY24" fmla="*/ 10000 h 10011"/>
              <a:gd name="connsiteX25" fmla="*/ 1185 w 10000"/>
              <a:gd name="connsiteY25" fmla="*/ 10011 h 10011"/>
              <a:gd name="connsiteX26" fmla="*/ 10000 w 10000"/>
              <a:gd name="connsiteY26" fmla="*/ 10000 h 10011"/>
              <a:gd name="connsiteX0" fmla="*/ 8815 w 8815"/>
              <a:gd name="connsiteY0" fmla="*/ 10000 h 10011"/>
              <a:gd name="connsiteX1" fmla="*/ 8815 w 8815"/>
              <a:gd name="connsiteY1" fmla="*/ 0 h 10011"/>
              <a:gd name="connsiteX2" fmla="*/ 8815 w 8815"/>
              <a:gd name="connsiteY2" fmla="*/ 0 h 10011"/>
              <a:gd name="connsiteX3" fmla="*/ 8815 w 8815"/>
              <a:gd name="connsiteY3" fmla="*/ 230 h 10011"/>
              <a:gd name="connsiteX4" fmla="*/ 8798 w 8815"/>
              <a:gd name="connsiteY4" fmla="*/ 757 h 10011"/>
              <a:gd name="connsiteX5" fmla="*/ 8787 w 8815"/>
              <a:gd name="connsiteY5" fmla="*/ 1118 h 10011"/>
              <a:gd name="connsiteX6" fmla="*/ 8765 w 8815"/>
              <a:gd name="connsiteY6" fmla="*/ 1546 h 10011"/>
              <a:gd name="connsiteX7" fmla="*/ 8743 w 8815"/>
              <a:gd name="connsiteY7" fmla="*/ 2007 h 10011"/>
              <a:gd name="connsiteX8" fmla="*/ 8710 w 8815"/>
              <a:gd name="connsiteY8" fmla="*/ 2467 h 10011"/>
              <a:gd name="connsiteX9" fmla="*/ 8666 w 8815"/>
              <a:gd name="connsiteY9" fmla="*/ 2928 h 10011"/>
              <a:gd name="connsiteX10" fmla="*/ 8616 w 8815"/>
              <a:gd name="connsiteY10" fmla="*/ 3388 h 10011"/>
              <a:gd name="connsiteX11" fmla="*/ 8550 w 8815"/>
              <a:gd name="connsiteY11" fmla="*/ 3816 h 10011"/>
              <a:gd name="connsiteX12" fmla="*/ 8517 w 8815"/>
              <a:gd name="connsiteY12" fmla="*/ 4046 h 10011"/>
              <a:gd name="connsiteX13" fmla="*/ 8473 w 8815"/>
              <a:gd name="connsiteY13" fmla="*/ 4243 h 10011"/>
              <a:gd name="connsiteX14" fmla="*/ 8434 w 8815"/>
              <a:gd name="connsiteY14" fmla="*/ 4408 h 10011"/>
              <a:gd name="connsiteX15" fmla="*/ 8384 w 8815"/>
              <a:gd name="connsiteY15" fmla="*/ 4605 h 10011"/>
              <a:gd name="connsiteX16" fmla="*/ 8335 w 8815"/>
              <a:gd name="connsiteY16" fmla="*/ 4737 h 10011"/>
              <a:gd name="connsiteX17" fmla="*/ 8285 w 8815"/>
              <a:gd name="connsiteY17" fmla="*/ 4901 h 10011"/>
              <a:gd name="connsiteX18" fmla="*/ 8230 w 8815"/>
              <a:gd name="connsiteY18" fmla="*/ 5000 h 10011"/>
              <a:gd name="connsiteX19" fmla="*/ 8163 w 8815"/>
              <a:gd name="connsiteY19" fmla="*/ 5099 h 10011"/>
              <a:gd name="connsiteX20" fmla="*/ 8103 w 8815"/>
              <a:gd name="connsiteY20" fmla="*/ 5197 h 10011"/>
              <a:gd name="connsiteX21" fmla="*/ 8031 w 8815"/>
              <a:gd name="connsiteY21" fmla="*/ 5230 h 10011"/>
              <a:gd name="connsiteX22" fmla="*/ 8031 w 8815"/>
              <a:gd name="connsiteY22" fmla="*/ 5230 h 10011"/>
              <a:gd name="connsiteX23" fmla="*/ 5 w 8815"/>
              <a:gd name="connsiteY23" fmla="*/ 9414 h 10011"/>
              <a:gd name="connsiteX24" fmla="*/ 0 w 8815"/>
              <a:gd name="connsiteY24" fmla="*/ 10011 h 10011"/>
              <a:gd name="connsiteX25" fmla="*/ 8815 w 8815"/>
              <a:gd name="connsiteY25" fmla="*/ 10000 h 10011"/>
              <a:gd name="connsiteX0" fmla="*/ 9996 w 9996"/>
              <a:gd name="connsiteY0" fmla="*/ 9989 h 10000"/>
              <a:gd name="connsiteX1" fmla="*/ 9996 w 9996"/>
              <a:gd name="connsiteY1" fmla="*/ 0 h 10000"/>
              <a:gd name="connsiteX2" fmla="*/ 9996 w 9996"/>
              <a:gd name="connsiteY2" fmla="*/ 0 h 10000"/>
              <a:gd name="connsiteX3" fmla="*/ 9996 w 9996"/>
              <a:gd name="connsiteY3" fmla="*/ 230 h 10000"/>
              <a:gd name="connsiteX4" fmla="*/ 9977 w 9996"/>
              <a:gd name="connsiteY4" fmla="*/ 756 h 10000"/>
              <a:gd name="connsiteX5" fmla="*/ 9964 w 9996"/>
              <a:gd name="connsiteY5" fmla="*/ 1117 h 10000"/>
              <a:gd name="connsiteX6" fmla="*/ 9939 w 9996"/>
              <a:gd name="connsiteY6" fmla="*/ 1544 h 10000"/>
              <a:gd name="connsiteX7" fmla="*/ 9914 w 9996"/>
              <a:gd name="connsiteY7" fmla="*/ 2005 h 10000"/>
              <a:gd name="connsiteX8" fmla="*/ 9877 w 9996"/>
              <a:gd name="connsiteY8" fmla="*/ 2464 h 10000"/>
              <a:gd name="connsiteX9" fmla="*/ 9827 w 9996"/>
              <a:gd name="connsiteY9" fmla="*/ 2925 h 10000"/>
              <a:gd name="connsiteX10" fmla="*/ 9770 w 9996"/>
              <a:gd name="connsiteY10" fmla="*/ 3384 h 10000"/>
              <a:gd name="connsiteX11" fmla="*/ 9695 w 9996"/>
              <a:gd name="connsiteY11" fmla="*/ 3812 h 10000"/>
              <a:gd name="connsiteX12" fmla="*/ 9658 w 9996"/>
              <a:gd name="connsiteY12" fmla="*/ 4042 h 10000"/>
              <a:gd name="connsiteX13" fmla="*/ 9608 w 9996"/>
              <a:gd name="connsiteY13" fmla="*/ 4238 h 10000"/>
              <a:gd name="connsiteX14" fmla="*/ 9564 w 9996"/>
              <a:gd name="connsiteY14" fmla="*/ 4403 h 10000"/>
              <a:gd name="connsiteX15" fmla="*/ 9507 w 9996"/>
              <a:gd name="connsiteY15" fmla="*/ 4600 h 10000"/>
              <a:gd name="connsiteX16" fmla="*/ 9451 w 9996"/>
              <a:gd name="connsiteY16" fmla="*/ 4732 h 10000"/>
              <a:gd name="connsiteX17" fmla="*/ 9395 w 9996"/>
              <a:gd name="connsiteY17" fmla="*/ 4896 h 10000"/>
              <a:gd name="connsiteX18" fmla="*/ 9332 w 9996"/>
              <a:gd name="connsiteY18" fmla="*/ 4995 h 10000"/>
              <a:gd name="connsiteX19" fmla="*/ 9256 w 9996"/>
              <a:gd name="connsiteY19" fmla="*/ 5093 h 10000"/>
              <a:gd name="connsiteX20" fmla="*/ 9188 w 9996"/>
              <a:gd name="connsiteY20" fmla="*/ 5191 h 10000"/>
              <a:gd name="connsiteX21" fmla="*/ 9107 w 9996"/>
              <a:gd name="connsiteY21" fmla="*/ 5224 h 10000"/>
              <a:gd name="connsiteX22" fmla="*/ 9107 w 9996"/>
              <a:gd name="connsiteY22" fmla="*/ 5224 h 10000"/>
              <a:gd name="connsiteX23" fmla="*/ 2 w 9996"/>
              <a:gd name="connsiteY23" fmla="*/ 9404 h 10000"/>
              <a:gd name="connsiteX24" fmla="*/ 0 w 9996"/>
              <a:gd name="connsiteY24" fmla="*/ 10000 h 10000"/>
              <a:gd name="connsiteX25" fmla="*/ 9996 w 9996"/>
              <a:gd name="connsiteY25" fmla="*/ 9989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9996" h="10000">
                <a:moveTo>
                  <a:pt x="9996" y="9989"/>
                </a:moveTo>
                <a:lnTo>
                  <a:pt x="9996" y="0"/>
                </a:lnTo>
                <a:lnTo>
                  <a:pt x="9996" y="0"/>
                </a:lnTo>
                <a:lnTo>
                  <a:pt x="9996" y="230"/>
                </a:lnTo>
                <a:cubicBezTo>
                  <a:pt x="9989" y="406"/>
                  <a:pt x="9984" y="580"/>
                  <a:pt x="9977" y="756"/>
                </a:cubicBezTo>
                <a:cubicBezTo>
                  <a:pt x="9972" y="876"/>
                  <a:pt x="9969" y="997"/>
                  <a:pt x="9964" y="1117"/>
                </a:cubicBezTo>
                <a:cubicBezTo>
                  <a:pt x="9956" y="1260"/>
                  <a:pt x="9947" y="1401"/>
                  <a:pt x="9939" y="1544"/>
                </a:cubicBezTo>
                <a:cubicBezTo>
                  <a:pt x="9931" y="1698"/>
                  <a:pt x="9922" y="1851"/>
                  <a:pt x="9914" y="2005"/>
                </a:cubicBezTo>
                <a:cubicBezTo>
                  <a:pt x="9902" y="2158"/>
                  <a:pt x="9889" y="2311"/>
                  <a:pt x="9877" y="2464"/>
                </a:cubicBezTo>
                <a:cubicBezTo>
                  <a:pt x="9860" y="2618"/>
                  <a:pt x="9844" y="2771"/>
                  <a:pt x="9827" y="2925"/>
                </a:cubicBezTo>
                <a:cubicBezTo>
                  <a:pt x="9808" y="3078"/>
                  <a:pt x="9790" y="3231"/>
                  <a:pt x="9770" y="3384"/>
                </a:cubicBezTo>
                <a:cubicBezTo>
                  <a:pt x="9745" y="3527"/>
                  <a:pt x="9720" y="3669"/>
                  <a:pt x="9695" y="3812"/>
                </a:cubicBezTo>
                <a:cubicBezTo>
                  <a:pt x="9683" y="3889"/>
                  <a:pt x="9670" y="3965"/>
                  <a:pt x="9658" y="4042"/>
                </a:cubicBezTo>
                <a:cubicBezTo>
                  <a:pt x="9641" y="4107"/>
                  <a:pt x="9625" y="4172"/>
                  <a:pt x="9608" y="4238"/>
                </a:cubicBezTo>
                <a:cubicBezTo>
                  <a:pt x="9593" y="4293"/>
                  <a:pt x="9579" y="4348"/>
                  <a:pt x="9564" y="4403"/>
                </a:cubicBezTo>
                <a:cubicBezTo>
                  <a:pt x="9544" y="4469"/>
                  <a:pt x="9526" y="4534"/>
                  <a:pt x="9507" y="4600"/>
                </a:cubicBezTo>
                <a:cubicBezTo>
                  <a:pt x="9489" y="4644"/>
                  <a:pt x="9470" y="4688"/>
                  <a:pt x="9451" y="4732"/>
                </a:cubicBezTo>
                <a:cubicBezTo>
                  <a:pt x="9432" y="4787"/>
                  <a:pt x="9414" y="4841"/>
                  <a:pt x="9395" y="4896"/>
                </a:cubicBezTo>
                <a:lnTo>
                  <a:pt x="9332" y="4995"/>
                </a:lnTo>
                <a:cubicBezTo>
                  <a:pt x="9307" y="5027"/>
                  <a:pt x="9281" y="5060"/>
                  <a:pt x="9256" y="5093"/>
                </a:cubicBezTo>
                <a:cubicBezTo>
                  <a:pt x="9234" y="5126"/>
                  <a:pt x="9211" y="5158"/>
                  <a:pt x="9188" y="5191"/>
                </a:cubicBezTo>
                <a:lnTo>
                  <a:pt x="9107" y="5224"/>
                </a:lnTo>
                <a:lnTo>
                  <a:pt x="9107" y="5224"/>
                </a:lnTo>
                <a:lnTo>
                  <a:pt x="2" y="9404"/>
                </a:lnTo>
                <a:cubicBezTo>
                  <a:pt x="-1" y="9602"/>
                  <a:pt x="2" y="9801"/>
                  <a:pt x="0" y="10000"/>
                </a:cubicBezTo>
                <a:lnTo>
                  <a:pt x="9996" y="9989"/>
                </a:lnTo>
                <a:close/>
              </a:path>
            </a:pathLst>
          </a:custGeom>
          <a:solidFill>
            <a:schemeClr val="accent6"/>
          </a:solidFill>
          <a:ln>
            <a:noFill/>
          </a:ln>
        </p:spPr>
        <p:txBody>
          <a:bodyPr vert="horz" wrap="square" lIns="133428" tIns="66715" rIns="133428" bIns="66715" numCol="1" anchor="t" anchorCtr="0" compatLnSpc="1">
            <a:prstTxWarp prst="textNoShape">
              <a:avLst/>
            </a:prstTxWarp>
          </a:bodyPr>
          <a:lstStyle/>
          <a:p>
            <a:endParaRPr lang="ja-JP" altLang="en-US" sz="2533"/>
          </a:p>
        </p:txBody>
      </p:sp>
      <p:sp>
        <p:nvSpPr>
          <p:cNvPr id="2" name="タイトル 1"/>
          <p:cNvSpPr>
            <a:spLocks noGrp="1"/>
          </p:cNvSpPr>
          <p:nvPr>
            <p:ph type="title"/>
          </p:nvPr>
        </p:nvSpPr>
        <p:spPr>
          <a:xfrm>
            <a:off x="368549" y="194236"/>
            <a:ext cx="9791452" cy="540000"/>
          </a:xfrm>
          <a:prstGeom prst="rect">
            <a:avLst/>
          </a:prstGeom>
        </p:spPr>
        <p:txBody>
          <a:bodyPr lIns="95767" tIns="47884" rIns="95767" bIns="47884"/>
          <a:lstStyle>
            <a:lvl1pPr>
              <a:defRPr>
                <a:latin typeface="Meiryo UI" panose="020B0604030504040204" pitchFamily="50" charset="-128"/>
                <a:ea typeface="Meiryo UI" panose="020B0604030504040204" pitchFamily="50" charset="-128"/>
              </a:defRPr>
            </a:lvl1pPr>
          </a:lstStyle>
          <a:p>
            <a:r>
              <a:rPr kumimoji="1" lang="ja-JP" altLang="en-US"/>
              <a:t>マスター タイトルの書式設定</a:t>
            </a:r>
          </a:p>
        </p:txBody>
      </p:sp>
      <p:sp>
        <p:nvSpPr>
          <p:cNvPr id="3" name="コンテンツ プレースホルダー 2"/>
          <p:cNvSpPr>
            <a:spLocks noGrp="1"/>
          </p:cNvSpPr>
          <p:nvPr>
            <p:ph idx="1"/>
          </p:nvPr>
        </p:nvSpPr>
        <p:spPr>
          <a:xfrm>
            <a:off x="368551" y="903600"/>
            <a:ext cx="11583452" cy="5540400"/>
          </a:xfrm>
          <a:prstGeom prst="rect">
            <a:avLst/>
          </a:prstGeom>
        </p:spPr>
        <p:txBody>
          <a:bodyPr lIns="95767" tIns="47884" rIns="95767" bIns="47884"/>
          <a:lstStyle>
            <a:lvl1pPr>
              <a:defRPr>
                <a:latin typeface="Meiryo UI" panose="020B0604030504040204" pitchFamily="50" charset="-128"/>
                <a:ea typeface="Meiryo UI" panose="020B0604030504040204" pitchFamily="50" charset="-128"/>
              </a:defRPr>
            </a:lvl1pPr>
            <a:lvl2pPr indent="-236233">
              <a:defRPr>
                <a:latin typeface="Meiryo UI" panose="020B0604030504040204" pitchFamily="50" charset="-128"/>
                <a:ea typeface="Meiryo UI" panose="020B0604030504040204" pitchFamily="50" charset="-128"/>
              </a:defRPr>
            </a:lvl2pPr>
            <a:lvl3pPr indent="-236233">
              <a:defRPr>
                <a:latin typeface="Meiryo UI" panose="020B0604030504040204" pitchFamily="50" charset="-128"/>
                <a:ea typeface="Meiryo UI" panose="020B0604030504040204" pitchFamily="50" charset="-128"/>
              </a:defRPr>
            </a:lvl3pPr>
            <a:lvl4pPr indent="-236233">
              <a:defRPr>
                <a:latin typeface="Meiryo UI" panose="020B0604030504040204" pitchFamily="50" charset="-128"/>
                <a:ea typeface="Meiryo UI" panose="020B0604030504040204" pitchFamily="50" charset="-128"/>
              </a:defRPr>
            </a:lvl4pPr>
            <a:lvl5pPr indent="-236233">
              <a:defRPr>
                <a:latin typeface="Meiryo UI" panose="020B0604030504040204" pitchFamily="50" charset="-128"/>
                <a:ea typeface="Meiryo UI" panose="020B0604030504040204" pitchFamily="50" charset="-128"/>
              </a:defRPr>
            </a:lvl5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6" name="スライド番号プレースホルダー 5"/>
          <p:cNvSpPr>
            <a:spLocks noGrp="1"/>
          </p:cNvSpPr>
          <p:nvPr>
            <p:ph type="sldNum" sz="quarter" idx="12"/>
          </p:nvPr>
        </p:nvSpPr>
        <p:spPr>
          <a:xfrm>
            <a:off x="11524630" y="6468878"/>
            <a:ext cx="555811" cy="289299"/>
          </a:xfrm>
          <a:prstGeom prst="rect">
            <a:avLst/>
          </a:prstGeom>
        </p:spPr>
        <p:txBody>
          <a:bodyPr lIns="95767" tIns="47884" rIns="95767" bIns="47884"/>
          <a:lstStyle>
            <a:lvl1pPr>
              <a:defRPr sz="1333"/>
            </a:lvl1pPr>
          </a:lstStyle>
          <a:p>
            <a:fld id="{2FF5E1DE-7B95-8A44-8552-65323269AE41}" type="slidenum">
              <a:rPr lang="ja-JP" altLang="en-US" smtClean="0"/>
              <a:pPr/>
              <a:t>‹#›</a:t>
            </a:fld>
            <a:endParaRPr lang="ja-JP" altLang="en-US"/>
          </a:p>
        </p:txBody>
      </p:sp>
      <p:cxnSp>
        <p:nvCxnSpPr>
          <p:cNvPr id="8" name="直線コネクタ 7"/>
          <p:cNvCxnSpPr/>
          <p:nvPr userDrawn="1"/>
        </p:nvCxnSpPr>
        <p:spPr>
          <a:xfrm>
            <a:off x="239959" y="817200"/>
            <a:ext cx="11709966" cy="0"/>
          </a:xfrm>
          <a:prstGeom prst="line">
            <a:avLst/>
          </a:prstGeom>
          <a:ln>
            <a:solidFill>
              <a:srgbClr val="C7000D"/>
            </a:solidFill>
          </a:ln>
          <a:effectLst/>
        </p:spPr>
        <p:style>
          <a:lnRef idx="2">
            <a:schemeClr val="accent1"/>
          </a:lnRef>
          <a:fillRef idx="0">
            <a:schemeClr val="accent1"/>
          </a:fillRef>
          <a:effectRef idx="1">
            <a:schemeClr val="accent1"/>
          </a:effectRef>
          <a:fontRef idx="minor">
            <a:schemeClr val="tx1"/>
          </a:fontRef>
        </p:style>
      </p:cxnSp>
      <p:pic>
        <p:nvPicPr>
          <p:cNvPr id="10" name="Picture 2" descr="C:\Users\00057835\AppData\Local\Temp\notesEA5B2A\グループ併記ロゴ（縦・英文）.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0756324" y="26652"/>
            <a:ext cx="1434080" cy="85801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54792660"/>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type="title" preserve="1">
  <p:cSld name="6_タイトル スライド">
    <p:spTree>
      <p:nvGrpSpPr>
        <p:cNvPr id="1" name=""/>
        <p:cNvGrpSpPr/>
        <p:nvPr/>
      </p:nvGrpSpPr>
      <p:grpSpPr>
        <a:xfrm>
          <a:off x="0" y="0"/>
          <a:ext cx="0" cy="0"/>
          <a:chOff x="0" y="0"/>
          <a:chExt cx="0" cy="0"/>
        </a:xfrm>
      </p:grpSpPr>
      <p:sp>
        <p:nvSpPr>
          <p:cNvPr id="10" name="Freeform 5"/>
          <p:cNvSpPr>
            <a:spLocks/>
          </p:cNvSpPr>
          <p:nvPr userDrawn="1"/>
        </p:nvSpPr>
        <p:spPr bwMode="auto">
          <a:xfrm>
            <a:off x="233538" y="169337"/>
            <a:ext cx="11730712" cy="5207000"/>
          </a:xfrm>
          <a:custGeom>
            <a:avLst/>
            <a:gdLst>
              <a:gd name="T0" fmla="*/ 0 w 1618"/>
              <a:gd name="T1" fmla="*/ 0 h 957"/>
              <a:gd name="T2" fmla="*/ 0 w 1618"/>
              <a:gd name="T3" fmla="*/ 957 h 957"/>
              <a:gd name="T4" fmla="*/ 1279 w 1618"/>
              <a:gd name="T5" fmla="*/ 842 h 957"/>
              <a:gd name="T6" fmla="*/ 1618 w 1618"/>
              <a:gd name="T7" fmla="*/ 472 h 957"/>
              <a:gd name="T8" fmla="*/ 1618 w 1618"/>
              <a:gd name="T9" fmla="*/ 0 h 957"/>
              <a:gd name="T10" fmla="*/ 0 w 1618"/>
              <a:gd name="T11" fmla="*/ 0 h 957"/>
            </a:gdLst>
            <a:ahLst/>
            <a:cxnLst>
              <a:cxn ang="0">
                <a:pos x="T0" y="T1"/>
              </a:cxn>
              <a:cxn ang="0">
                <a:pos x="T2" y="T3"/>
              </a:cxn>
              <a:cxn ang="0">
                <a:pos x="T4" y="T5"/>
              </a:cxn>
              <a:cxn ang="0">
                <a:pos x="T6" y="T7"/>
              </a:cxn>
              <a:cxn ang="0">
                <a:pos x="T8" y="T9"/>
              </a:cxn>
              <a:cxn ang="0">
                <a:pos x="T10" y="T11"/>
              </a:cxn>
            </a:cxnLst>
            <a:rect l="0" t="0" r="r" b="b"/>
            <a:pathLst>
              <a:path w="1618" h="957">
                <a:moveTo>
                  <a:pt x="0" y="0"/>
                </a:moveTo>
                <a:cubicBezTo>
                  <a:pt x="0" y="957"/>
                  <a:pt x="0" y="957"/>
                  <a:pt x="0" y="957"/>
                </a:cubicBezTo>
                <a:cubicBezTo>
                  <a:pt x="1279" y="842"/>
                  <a:pt x="1279" y="842"/>
                  <a:pt x="1279" y="842"/>
                </a:cubicBezTo>
                <a:cubicBezTo>
                  <a:pt x="1465" y="825"/>
                  <a:pt x="1618" y="659"/>
                  <a:pt x="1618" y="472"/>
                </a:cubicBezTo>
                <a:cubicBezTo>
                  <a:pt x="1618" y="0"/>
                  <a:pt x="1618" y="0"/>
                  <a:pt x="1618" y="0"/>
                </a:cubicBezTo>
                <a:lnTo>
                  <a:pt x="0" y="0"/>
                </a:lnTo>
                <a:close/>
              </a:path>
            </a:pathLst>
          </a:custGeom>
          <a:solidFill>
            <a:schemeClr val="accent6"/>
          </a:solidFill>
          <a:ln>
            <a:noFill/>
          </a:ln>
        </p:spPr>
        <p:txBody>
          <a:bodyPr lIns="127667" tIns="63834" rIns="127667" bIns="63834"/>
          <a:lstStyle/>
          <a:p>
            <a:endParaRPr lang="ja-JP" altLang="en-US" sz="2533">
              <a:latin typeface="Meiryo UI" panose="020B0604030504040204" pitchFamily="50" charset="-128"/>
              <a:ea typeface="Meiryo UI" panose="020B0604030504040204" pitchFamily="50" charset="-128"/>
            </a:endParaRPr>
          </a:p>
        </p:txBody>
      </p:sp>
      <p:sp>
        <p:nvSpPr>
          <p:cNvPr id="2" name="タイトル 1"/>
          <p:cNvSpPr>
            <a:spLocks noGrp="1"/>
          </p:cNvSpPr>
          <p:nvPr>
            <p:ph type="ctrTitle"/>
          </p:nvPr>
        </p:nvSpPr>
        <p:spPr>
          <a:xfrm>
            <a:off x="914400" y="1416804"/>
            <a:ext cx="10363200" cy="1470025"/>
          </a:xfrm>
          <a:prstGeom prst="rect">
            <a:avLst/>
          </a:prstGeom>
        </p:spPr>
        <p:txBody>
          <a:bodyPr lIns="95767" tIns="47884" rIns="95767" bIns="47884" anchor="b">
            <a:normAutofit/>
          </a:bodyPr>
          <a:lstStyle>
            <a:lvl1pPr algn="l">
              <a:defRPr sz="5199" kern="1200">
                <a:solidFill>
                  <a:schemeClr val="tx1"/>
                </a:solidFill>
                <a:latin typeface="Meiryo UI" panose="020B0604030504040204" pitchFamily="50" charset="-128"/>
                <a:ea typeface="Meiryo UI" panose="020B0604030504040204" pitchFamily="50" charset="-128"/>
              </a:defRPr>
            </a:lvl1pPr>
          </a:lstStyle>
          <a:p>
            <a:r>
              <a:rPr kumimoji="1" lang="ja-JP" altLang="en-US"/>
              <a:t>マスター タイトルの書式設定</a:t>
            </a:r>
          </a:p>
        </p:txBody>
      </p:sp>
      <p:sp>
        <p:nvSpPr>
          <p:cNvPr id="3" name="サブタイトル 2"/>
          <p:cNvSpPr>
            <a:spLocks noGrp="1"/>
          </p:cNvSpPr>
          <p:nvPr>
            <p:ph type="subTitle" idx="1"/>
          </p:nvPr>
        </p:nvSpPr>
        <p:spPr>
          <a:xfrm>
            <a:off x="916801" y="3420000"/>
            <a:ext cx="9691436" cy="977153"/>
          </a:xfrm>
          <a:prstGeom prst="rect">
            <a:avLst/>
          </a:prstGeom>
        </p:spPr>
        <p:txBody>
          <a:bodyPr lIns="95767" tIns="47884" rIns="95767" bIns="47884">
            <a:normAutofit/>
          </a:bodyPr>
          <a:lstStyle>
            <a:lvl1pPr marL="0" indent="0" algn="l">
              <a:buNone/>
              <a:defRPr sz="3333">
                <a:solidFill>
                  <a:schemeClr val="tx1"/>
                </a:solidFill>
                <a:latin typeface="Meiryo UI" panose="020B0604030504040204" pitchFamily="50" charset="-128"/>
                <a:ea typeface="Meiryo UI" panose="020B0604030504040204" pitchFamily="50" charset="-128"/>
              </a:defRPr>
            </a:lvl1pPr>
            <a:lvl2pPr marL="638335" indent="0" algn="ctr">
              <a:buNone/>
              <a:defRPr>
                <a:solidFill>
                  <a:schemeClr val="tx1">
                    <a:tint val="75000"/>
                  </a:schemeClr>
                </a:solidFill>
              </a:defRPr>
            </a:lvl2pPr>
            <a:lvl3pPr marL="1276669" indent="0" algn="ctr">
              <a:buNone/>
              <a:defRPr>
                <a:solidFill>
                  <a:schemeClr val="tx1">
                    <a:tint val="75000"/>
                  </a:schemeClr>
                </a:solidFill>
              </a:defRPr>
            </a:lvl3pPr>
            <a:lvl4pPr marL="1915003" indent="0" algn="ctr">
              <a:buNone/>
              <a:defRPr>
                <a:solidFill>
                  <a:schemeClr val="tx1">
                    <a:tint val="75000"/>
                  </a:schemeClr>
                </a:solidFill>
              </a:defRPr>
            </a:lvl4pPr>
            <a:lvl5pPr marL="2553338" indent="0" algn="ctr">
              <a:buNone/>
              <a:defRPr>
                <a:solidFill>
                  <a:schemeClr val="tx1">
                    <a:tint val="75000"/>
                  </a:schemeClr>
                </a:solidFill>
              </a:defRPr>
            </a:lvl5pPr>
            <a:lvl6pPr marL="3191671" indent="0" algn="ctr">
              <a:buNone/>
              <a:defRPr>
                <a:solidFill>
                  <a:schemeClr val="tx1">
                    <a:tint val="75000"/>
                  </a:schemeClr>
                </a:solidFill>
              </a:defRPr>
            </a:lvl6pPr>
            <a:lvl7pPr marL="3830007" indent="0" algn="ctr">
              <a:buNone/>
              <a:defRPr>
                <a:solidFill>
                  <a:schemeClr val="tx1">
                    <a:tint val="75000"/>
                  </a:schemeClr>
                </a:solidFill>
              </a:defRPr>
            </a:lvl7pPr>
            <a:lvl8pPr marL="4468342" indent="0" algn="ctr">
              <a:buNone/>
              <a:defRPr>
                <a:solidFill>
                  <a:schemeClr val="tx1">
                    <a:tint val="75000"/>
                  </a:schemeClr>
                </a:solidFill>
              </a:defRPr>
            </a:lvl8pPr>
            <a:lvl9pPr marL="5106676" indent="0" algn="ctr">
              <a:buNone/>
              <a:defRPr>
                <a:solidFill>
                  <a:schemeClr val="tx1">
                    <a:tint val="75000"/>
                  </a:schemeClr>
                </a:solidFill>
              </a:defRPr>
            </a:lvl9pPr>
          </a:lstStyle>
          <a:p>
            <a:r>
              <a:rPr kumimoji="1" lang="ja-JP" altLang="en-US"/>
              <a:t>マスター サブタイトルの書式設定</a:t>
            </a:r>
          </a:p>
        </p:txBody>
      </p:sp>
      <p:sp>
        <p:nvSpPr>
          <p:cNvPr id="15" name="フッター プレースホルダー 12"/>
          <p:cNvSpPr>
            <a:spLocks noGrp="1"/>
          </p:cNvSpPr>
          <p:nvPr>
            <p:ph type="ftr" sz="quarter" idx="11"/>
          </p:nvPr>
        </p:nvSpPr>
        <p:spPr>
          <a:xfrm>
            <a:off x="609600" y="6099529"/>
            <a:ext cx="3860800" cy="365125"/>
          </a:xfrm>
          <a:prstGeom prst="rect">
            <a:avLst/>
          </a:prstGeom>
        </p:spPr>
        <p:txBody>
          <a:bodyPr lIns="95767" tIns="47884" rIns="95767" bIns="47884"/>
          <a:lstStyle>
            <a:lvl1pPr algn="l">
              <a:defRPr sz="2266">
                <a:latin typeface="Meiryo UI" panose="020B0604030504040204" pitchFamily="50" charset="-128"/>
                <a:ea typeface="Meiryo UI" panose="020B0604030504040204" pitchFamily="50" charset="-128"/>
              </a:defRPr>
            </a:lvl1pPr>
          </a:lstStyle>
          <a:p>
            <a:endParaRPr lang="ja-JP" altLang="en-US"/>
          </a:p>
        </p:txBody>
      </p:sp>
      <p:sp>
        <p:nvSpPr>
          <p:cNvPr id="16" name="日付プレースホルダー 11"/>
          <p:cNvSpPr>
            <a:spLocks noGrp="1"/>
          </p:cNvSpPr>
          <p:nvPr>
            <p:ph type="dt" sz="half" idx="10"/>
          </p:nvPr>
        </p:nvSpPr>
        <p:spPr>
          <a:xfrm>
            <a:off x="609600" y="5691768"/>
            <a:ext cx="3860800" cy="365125"/>
          </a:xfrm>
          <a:prstGeom prst="rect">
            <a:avLst/>
          </a:prstGeom>
        </p:spPr>
        <p:txBody>
          <a:bodyPr lIns="95767" tIns="47884" rIns="95767" bIns="47884"/>
          <a:lstStyle>
            <a:lvl1pPr algn="l">
              <a:defRPr sz="2266">
                <a:solidFill>
                  <a:srgbClr val="000000"/>
                </a:solidFill>
                <a:latin typeface="Meiryo UI" panose="020B0604030504040204" pitchFamily="50" charset="-128"/>
                <a:ea typeface="Meiryo UI" panose="020B0604030504040204" pitchFamily="50" charset="-128"/>
              </a:defRPr>
            </a:lvl1pPr>
          </a:lstStyle>
          <a:p>
            <a:endParaRPr lang="ja-JP" altLang="en-US"/>
          </a:p>
        </p:txBody>
      </p:sp>
      <p:pic>
        <p:nvPicPr>
          <p:cNvPr id="8" name="Picture 2" descr="C:\Users\00057835\AppData\Local\Temp\notesEA5B2A\グループ併記ロゴ（縦・英文）.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9672823" y="5316525"/>
            <a:ext cx="2519177" cy="1507239"/>
          </a:xfrm>
          <a:prstGeom prst="rect">
            <a:avLst/>
          </a:prstGeom>
          <a:noFill/>
          <a:extLst>
            <a:ext uri="{909E8E84-426E-40DD-AFC4-6F175D3DCCD1}">
              <a14:hiddenFill xmlns:a14="http://schemas.microsoft.com/office/drawing/2010/main">
                <a:solidFill>
                  <a:srgbClr val="FFFFFF"/>
                </a:solidFill>
              </a14:hiddenFill>
            </a:ext>
          </a:extLst>
        </p:spPr>
      </p:pic>
      <p:pic>
        <p:nvPicPr>
          <p:cNvPr id="9" name="図 8" descr="テキスト&#10;&#10;自動的に生成された説明">
            <a:extLst>
              <a:ext uri="{FF2B5EF4-FFF2-40B4-BE49-F238E27FC236}">
                <a16:creationId xmlns:a16="http://schemas.microsoft.com/office/drawing/2014/main" id="{99B7FD26-8490-4E02-B288-440A84B86182}"/>
              </a:ext>
            </a:extLst>
          </p:cNvPr>
          <p:cNvPicPr>
            <a:picLocks noChangeAspect="1"/>
          </p:cNvPicPr>
          <p:nvPr userDrawn="1"/>
        </p:nvPicPr>
        <p:blipFill>
          <a:blip r:embed="rId3"/>
          <a:stretch>
            <a:fillRect/>
          </a:stretch>
        </p:blipFill>
        <p:spPr>
          <a:xfrm>
            <a:off x="7614083" y="5874330"/>
            <a:ext cx="2138567" cy="637168"/>
          </a:xfrm>
          <a:prstGeom prst="rect">
            <a:avLst/>
          </a:prstGeom>
        </p:spPr>
      </p:pic>
    </p:spTree>
    <p:extLst>
      <p:ext uri="{BB962C8B-B14F-4D97-AF65-F5344CB8AC3E}">
        <p14:creationId xmlns:p14="http://schemas.microsoft.com/office/powerpoint/2010/main" val="1967084990"/>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25_タイトルとコンテンツ">
    <p:spTree>
      <p:nvGrpSpPr>
        <p:cNvPr id="1" name=""/>
        <p:cNvGrpSpPr/>
        <p:nvPr/>
      </p:nvGrpSpPr>
      <p:grpSpPr>
        <a:xfrm>
          <a:off x="0" y="0"/>
          <a:ext cx="0" cy="0"/>
          <a:chOff x="0" y="0"/>
          <a:chExt cx="0" cy="0"/>
        </a:xfrm>
      </p:grpSpPr>
      <p:sp>
        <p:nvSpPr>
          <p:cNvPr id="7" name="Freeform 8"/>
          <p:cNvSpPr>
            <a:spLocks/>
          </p:cNvSpPr>
          <p:nvPr userDrawn="1"/>
        </p:nvSpPr>
        <p:spPr bwMode="auto">
          <a:xfrm>
            <a:off x="-2100" y="5505984"/>
            <a:ext cx="12192504" cy="1353504"/>
          </a:xfrm>
          <a:custGeom>
            <a:avLst/>
            <a:gdLst>
              <a:gd name="T0" fmla="*/ 3622 w 3622"/>
              <a:gd name="T1" fmla="*/ 608 h 608"/>
              <a:gd name="T2" fmla="*/ 3622 w 3622"/>
              <a:gd name="T3" fmla="*/ 0 h 608"/>
              <a:gd name="T4" fmla="*/ 3622 w 3622"/>
              <a:gd name="T5" fmla="*/ 0 h 608"/>
              <a:gd name="T6" fmla="*/ 3622 w 3622"/>
              <a:gd name="T7" fmla="*/ 14 h 608"/>
              <a:gd name="T8" fmla="*/ 3616 w 3622"/>
              <a:gd name="T9" fmla="*/ 46 h 608"/>
              <a:gd name="T10" fmla="*/ 3612 w 3622"/>
              <a:gd name="T11" fmla="*/ 68 h 608"/>
              <a:gd name="T12" fmla="*/ 3604 w 3622"/>
              <a:gd name="T13" fmla="*/ 94 h 608"/>
              <a:gd name="T14" fmla="*/ 3596 w 3622"/>
              <a:gd name="T15" fmla="*/ 122 h 608"/>
              <a:gd name="T16" fmla="*/ 3584 w 3622"/>
              <a:gd name="T17" fmla="*/ 150 h 608"/>
              <a:gd name="T18" fmla="*/ 3568 w 3622"/>
              <a:gd name="T19" fmla="*/ 178 h 608"/>
              <a:gd name="T20" fmla="*/ 3550 w 3622"/>
              <a:gd name="T21" fmla="*/ 206 h 608"/>
              <a:gd name="T22" fmla="*/ 3526 w 3622"/>
              <a:gd name="T23" fmla="*/ 232 h 608"/>
              <a:gd name="T24" fmla="*/ 3514 w 3622"/>
              <a:gd name="T25" fmla="*/ 246 h 608"/>
              <a:gd name="T26" fmla="*/ 3498 w 3622"/>
              <a:gd name="T27" fmla="*/ 258 h 608"/>
              <a:gd name="T28" fmla="*/ 3484 w 3622"/>
              <a:gd name="T29" fmla="*/ 268 h 608"/>
              <a:gd name="T30" fmla="*/ 3466 w 3622"/>
              <a:gd name="T31" fmla="*/ 280 h 608"/>
              <a:gd name="T32" fmla="*/ 3448 w 3622"/>
              <a:gd name="T33" fmla="*/ 288 h 608"/>
              <a:gd name="T34" fmla="*/ 3430 w 3622"/>
              <a:gd name="T35" fmla="*/ 298 h 608"/>
              <a:gd name="T36" fmla="*/ 3410 w 3622"/>
              <a:gd name="T37" fmla="*/ 304 h 608"/>
              <a:gd name="T38" fmla="*/ 3386 w 3622"/>
              <a:gd name="T39" fmla="*/ 310 h 608"/>
              <a:gd name="T40" fmla="*/ 3364 w 3622"/>
              <a:gd name="T41" fmla="*/ 316 h 608"/>
              <a:gd name="T42" fmla="*/ 3338 w 3622"/>
              <a:gd name="T43" fmla="*/ 318 h 608"/>
              <a:gd name="T44" fmla="*/ 3338 w 3622"/>
              <a:gd name="T45" fmla="*/ 318 h 608"/>
              <a:gd name="T46" fmla="*/ 0 w 3622"/>
              <a:gd name="T47" fmla="*/ 608 h 608"/>
              <a:gd name="T48" fmla="*/ 3622 w 3622"/>
              <a:gd name="T49" fmla="*/ 608 h 608"/>
              <a:gd name="connsiteX0" fmla="*/ 10000 w 10000"/>
              <a:gd name="connsiteY0" fmla="*/ 10000 h 10000"/>
              <a:gd name="connsiteX1" fmla="*/ 10000 w 10000"/>
              <a:gd name="connsiteY1" fmla="*/ 0 h 10000"/>
              <a:gd name="connsiteX2" fmla="*/ 10000 w 10000"/>
              <a:gd name="connsiteY2" fmla="*/ 0 h 10000"/>
              <a:gd name="connsiteX3" fmla="*/ 10000 w 10000"/>
              <a:gd name="connsiteY3" fmla="*/ 230 h 10000"/>
              <a:gd name="connsiteX4" fmla="*/ 9983 w 10000"/>
              <a:gd name="connsiteY4" fmla="*/ 757 h 10000"/>
              <a:gd name="connsiteX5" fmla="*/ 9972 w 10000"/>
              <a:gd name="connsiteY5" fmla="*/ 1118 h 10000"/>
              <a:gd name="connsiteX6" fmla="*/ 9950 w 10000"/>
              <a:gd name="connsiteY6" fmla="*/ 1546 h 10000"/>
              <a:gd name="connsiteX7" fmla="*/ 9928 w 10000"/>
              <a:gd name="connsiteY7" fmla="*/ 2007 h 10000"/>
              <a:gd name="connsiteX8" fmla="*/ 9895 w 10000"/>
              <a:gd name="connsiteY8" fmla="*/ 2467 h 10000"/>
              <a:gd name="connsiteX9" fmla="*/ 9851 w 10000"/>
              <a:gd name="connsiteY9" fmla="*/ 2928 h 10000"/>
              <a:gd name="connsiteX10" fmla="*/ 9801 w 10000"/>
              <a:gd name="connsiteY10" fmla="*/ 3388 h 10000"/>
              <a:gd name="connsiteX11" fmla="*/ 9735 w 10000"/>
              <a:gd name="connsiteY11" fmla="*/ 3816 h 10000"/>
              <a:gd name="connsiteX12" fmla="*/ 9702 w 10000"/>
              <a:gd name="connsiteY12" fmla="*/ 4046 h 10000"/>
              <a:gd name="connsiteX13" fmla="*/ 9658 w 10000"/>
              <a:gd name="connsiteY13" fmla="*/ 4243 h 10000"/>
              <a:gd name="connsiteX14" fmla="*/ 9619 w 10000"/>
              <a:gd name="connsiteY14" fmla="*/ 4408 h 10000"/>
              <a:gd name="connsiteX15" fmla="*/ 9569 w 10000"/>
              <a:gd name="connsiteY15" fmla="*/ 4605 h 10000"/>
              <a:gd name="connsiteX16" fmla="*/ 9520 w 10000"/>
              <a:gd name="connsiteY16" fmla="*/ 4737 h 10000"/>
              <a:gd name="connsiteX17" fmla="*/ 9470 w 10000"/>
              <a:gd name="connsiteY17" fmla="*/ 4901 h 10000"/>
              <a:gd name="connsiteX18" fmla="*/ 9415 w 10000"/>
              <a:gd name="connsiteY18" fmla="*/ 5000 h 10000"/>
              <a:gd name="connsiteX19" fmla="*/ 9348 w 10000"/>
              <a:gd name="connsiteY19" fmla="*/ 5099 h 10000"/>
              <a:gd name="connsiteX20" fmla="*/ 9288 w 10000"/>
              <a:gd name="connsiteY20" fmla="*/ 5197 h 10000"/>
              <a:gd name="connsiteX21" fmla="*/ 9216 w 10000"/>
              <a:gd name="connsiteY21" fmla="*/ 5230 h 10000"/>
              <a:gd name="connsiteX22" fmla="*/ 9216 w 10000"/>
              <a:gd name="connsiteY22" fmla="*/ 5230 h 10000"/>
              <a:gd name="connsiteX23" fmla="*/ 1190 w 10000"/>
              <a:gd name="connsiteY23" fmla="*/ 9414 h 10000"/>
              <a:gd name="connsiteX24" fmla="*/ 0 w 10000"/>
              <a:gd name="connsiteY24" fmla="*/ 10000 h 10000"/>
              <a:gd name="connsiteX25" fmla="*/ 10000 w 10000"/>
              <a:gd name="connsiteY25" fmla="*/ 10000 h 10000"/>
              <a:gd name="connsiteX0" fmla="*/ 10000 w 10000"/>
              <a:gd name="connsiteY0" fmla="*/ 10000 h 10011"/>
              <a:gd name="connsiteX1" fmla="*/ 10000 w 10000"/>
              <a:gd name="connsiteY1" fmla="*/ 0 h 10011"/>
              <a:gd name="connsiteX2" fmla="*/ 10000 w 10000"/>
              <a:gd name="connsiteY2" fmla="*/ 0 h 10011"/>
              <a:gd name="connsiteX3" fmla="*/ 10000 w 10000"/>
              <a:gd name="connsiteY3" fmla="*/ 230 h 10011"/>
              <a:gd name="connsiteX4" fmla="*/ 9983 w 10000"/>
              <a:gd name="connsiteY4" fmla="*/ 757 h 10011"/>
              <a:gd name="connsiteX5" fmla="*/ 9972 w 10000"/>
              <a:gd name="connsiteY5" fmla="*/ 1118 h 10011"/>
              <a:gd name="connsiteX6" fmla="*/ 9950 w 10000"/>
              <a:gd name="connsiteY6" fmla="*/ 1546 h 10011"/>
              <a:gd name="connsiteX7" fmla="*/ 9928 w 10000"/>
              <a:gd name="connsiteY7" fmla="*/ 2007 h 10011"/>
              <a:gd name="connsiteX8" fmla="*/ 9895 w 10000"/>
              <a:gd name="connsiteY8" fmla="*/ 2467 h 10011"/>
              <a:gd name="connsiteX9" fmla="*/ 9851 w 10000"/>
              <a:gd name="connsiteY9" fmla="*/ 2928 h 10011"/>
              <a:gd name="connsiteX10" fmla="*/ 9801 w 10000"/>
              <a:gd name="connsiteY10" fmla="*/ 3388 h 10011"/>
              <a:gd name="connsiteX11" fmla="*/ 9735 w 10000"/>
              <a:gd name="connsiteY11" fmla="*/ 3816 h 10011"/>
              <a:gd name="connsiteX12" fmla="*/ 9702 w 10000"/>
              <a:gd name="connsiteY12" fmla="*/ 4046 h 10011"/>
              <a:gd name="connsiteX13" fmla="*/ 9658 w 10000"/>
              <a:gd name="connsiteY13" fmla="*/ 4243 h 10011"/>
              <a:gd name="connsiteX14" fmla="*/ 9619 w 10000"/>
              <a:gd name="connsiteY14" fmla="*/ 4408 h 10011"/>
              <a:gd name="connsiteX15" fmla="*/ 9569 w 10000"/>
              <a:gd name="connsiteY15" fmla="*/ 4605 h 10011"/>
              <a:gd name="connsiteX16" fmla="*/ 9520 w 10000"/>
              <a:gd name="connsiteY16" fmla="*/ 4737 h 10011"/>
              <a:gd name="connsiteX17" fmla="*/ 9470 w 10000"/>
              <a:gd name="connsiteY17" fmla="*/ 4901 h 10011"/>
              <a:gd name="connsiteX18" fmla="*/ 9415 w 10000"/>
              <a:gd name="connsiteY18" fmla="*/ 5000 h 10011"/>
              <a:gd name="connsiteX19" fmla="*/ 9348 w 10000"/>
              <a:gd name="connsiteY19" fmla="*/ 5099 h 10011"/>
              <a:gd name="connsiteX20" fmla="*/ 9288 w 10000"/>
              <a:gd name="connsiteY20" fmla="*/ 5197 h 10011"/>
              <a:gd name="connsiteX21" fmla="*/ 9216 w 10000"/>
              <a:gd name="connsiteY21" fmla="*/ 5230 h 10011"/>
              <a:gd name="connsiteX22" fmla="*/ 9216 w 10000"/>
              <a:gd name="connsiteY22" fmla="*/ 5230 h 10011"/>
              <a:gd name="connsiteX23" fmla="*/ 1190 w 10000"/>
              <a:gd name="connsiteY23" fmla="*/ 9414 h 10011"/>
              <a:gd name="connsiteX24" fmla="*/ 0 w 10000"/>
              <a:gd name="connsiteY24" fmla="*/ 10000 h 10011"/>
              <a:gd name="connsiteX25" fmla="*/ 1185 w 10000"/>
              <a:gd name="connsiteY25" fmla="*/ 10011 h 10011"/>
              <a:gd name="connsiteX26" fmla="*/ 10000 w 10000"/>
              <a:gd name="connsiteY26" fmla="*/ 10000 h 10011"/>
              <a:gd name="connsiteX0" fmla="*/ 8815 w 8815"/>
              <a:gd name="connsiteY0" fmla="*/ 10000 h 10011"/>
              <a:gd name="connsiteX1" fmla="*/ 8815 w 8815"/>
              <a:gd name="connsiteY1" fmla="*/ 0 h 10011"/>
              <a:gd name="connsiteX2" fmla="*/ 8815 w 8815"/>
              <a:gd name="connsiteY2" fmla="*/ 0 h 10011"/>
              <a:gd name="connsiteX3" fmla="*/ 8815 w 8815"/>
              <a:gd name="connsiteY3" fmla="*/ 230 h 10011"/>
              <a:gd name="connsiteX4" fmla="*/ 8798 w 8815"/>
              <a:gd name="connsiteY4" fmla="*/ 757 h 10011"/>
              <a:gd name="connsiteX5" fmla="*/ 8787 w 8815"/>
              <a:gd name="connsiteY5" fmla="*/ 1118 h 10011"/>
              <a:gd name="connsiteX6" fmla="*/ 8765 w 8815"/>
              <a:gd name="connsiteY6" fmla="*/ 1546 h 10011"/>
              <a:gd name="connsiteX7" fmla="*/ 8743 w 8815"/>
              <a:gd name="connsiteY7" fmla="*/ 2007 h 10011"/>
              <a:gd name="connsiteX8" fmla="*/ 8710 w 8815"/>
              <a:gd name="connsiteY8" fmla="*/ 2467 h 10011"/>
              <a:gd name="connsiteX9" fmla="*/ 8666 w 8815"/>
              <a:gd name="connsiteY9" fmla="*/ 2928 h 10011"/>
              <a:gd name="connsiteX10" fmla="*/ 8616 w 8815"/>
              <a:gd name="connsiteY10" fmla="*/ 3388 h 10011"/>
              <a:gd name="connsiteX11" fmla="*/ 8550 w 8815"/>
              <a:gd name="connsiteY11" fmla="*/ 3816 h 10011"/>
              <a:gd name="connsiteX12" fmla="*/ 8517 w 8815"/>
              <a:gd name="connsiteY12" fmla="*/ 4046 h 10011"/>
              <a:gd name="connsiteX13" fmla="*/ 8473 w 8815"/>
              <a:gd name="connsiteY13" fmla="*/ 4243 h 10011"/>
              <a:gd name="connsiteX14" fmla="*/ 8434 w 8815"/>
              <a:gd name="connsiteY14" fmla="*/ 4408 h 10011"/>
              <a:gd name="connsiteX15" fmla="*/ 8384 w 8815"/>
              <a:gd name="connsiteY15" fmla="*/ 4605 h 10011"/>
              <a:gd name="connsiteX16" fmla="*/ 8335 w 8815"/>
              <a:gd name="connsiteY16" fmla="*/ 4737 h 10011"/>
              <a:gd name="connsiteX17" fmla="*/ 8285 w 8815"/>
              <a:gd name="connsiteY17" fmla="*/ 4901 h 10011"/>
              <a:gd name="connsiteX18" fmla="*/ 8230 w 8815"/>
              <a:gd name="connsiteY18" fmla="*/ 5000 h 10011"/>
              <a:gd name="connsiteX19" fmla="*/ 8163 w 8815"/>
              <a:gd name="connsiteY19" fmla="*/ 5099 h 10011"/>
              <a:gd name="connsiteX20" fmla="*/ 8103 w 8815"/>
              <a:gd name="connsiteY20" fmla="*/ 5197 h 10011"/>
              <a:gd name="connsiteX21" fmla="*/ 8031 w 8815"/>
              <a:gd name="connsiteY21" fmla="*/ 5230 h 10011"/>
              <a:gd name="connsiteX22" fmla="*/ 8031 w 8815"/>
              <a:gd name="connsiteY22" fmla="*/ 5230 h 10011"/>
              <a:gd name="connsiteX23" fmla="*/ 5 w 8815"/>
              <a:gd name="connsiteY23" fmla="*/ 9414 h 10011"/>
              <a:gd name="connsiteX24" fmla="*/ 0 w 8815"/>
              <a:gd name="connsiteY24" fmla="*/ 10011 h 10011"/>
              <a:gd name="connsiteX25" fmla="*/ 8815 w 8815"/>
              <a:gd name="connsiteY25" fmla="*/ 10000 h 10011"/>
              <a:gd name="connsiteX0" fmla="*/ 9996 w 9996"/>
              <a:gd name="connsiteY0" fmla="*/ 9989 h 10000"/>
              <a:gd name="connsiteX1" fmla="*/ 9996 w 9996"/>
              <a:gd name="connsiteY1" fmla="*/ 0 h 10000"/>
              <a:gd name="connsiteX2" fmla="*/ 9996 w 9996"/>
              <a:gd name="connsiteY2" fmla="*/ 0 h 10000"/>
              <a:gd name="connsiteX3" fmla="*/ 9996 w 9996"/>
              <a:gd name="connsiteY3" fmla="*/ 230 h 10000"/>
              <a:gd name="connsiteX4" fmla="*/ 9977 w 9996"/>
              <a:gd name="connsiteY4" fmla="*/ 756 h 10000"/>
              <a:gd name="connsiteX5" fmla="*/ 9964 w 9996"/>
              <a:gd name="connsiteY5" fmla="*/ 1117 h 10000"/>
              <a:gd name="connsiteX6" fmla="*/ 9939 w 9996"/>
              <a:gd name="connsiteY6" fmla="*/ 1544 h 10000"/>
              <a:gd name="connsiteX7" fmla="*/ 9914 w 9996"/>
              <a:gd name="connsiteY7" fmla="*/ 2005 h 10000"/>
              <a:gd name="connsiteX8" fmla="*/ 9877 w 9996"/>
              <a:gd name="connsiteY8" fmla="*/ 2464 h 10000"/>
              <a:gd name="connsiteX9" fmla="*/ 9827 w 9996"/>
              <a:gd name="connsiteY9" fmla="*/ 2925 h 10000"/>
              <a:gd name="connsiteX10" fmla="*/ 9770 w 9996"/>
              <a:gd name="connsiteY10" fmla="*/ 3384 h 10000"/>
              <a:gd name="connsiteX11" fmla="*/ 9695 w 9996"/>
              <a:gd name="connsiteY11" fmla="*/ 3812 h 10000"/>
              <a:gd name="connsiteX12" fmla="*/ 9658 w 9996"/>
              <a:gd name="connsiteY12" fmla="*/ 4042 h 10000"/>
              <a:gd name="connsiteX13" fmla="*/ 9608 w 9996"/>
              <a:gd name="connsiteY13" fmla="*/ 4238 h 10000"/>
              <a:gd name="connsiteX14" fmla="*/ 9564 w 9996"/>
              <a:gd name="connsiteY14" fmla="*/ 4403 h 10000"/>
              <a:gd name="connsiteX15" fmla="*/ 9507 w 9996"/>
              <a:gd name="connsiteY15" fmla="*/ 4600 h 10000"/>
              <a:gd name="connsiteX16" fmla="*/ 9451 w 9996"/>
              <a:gd name="connsiteY16" fmla="*/ 4732 h 10000"/>
              <a:gd name="connsiteX17" fmla="*/ 9395 w 9996"/>
              <a:gd name="connsiteY17" fmla="*/ 4896 h 10000"/>
              <a:gd name="connsiteX18" fmla="*/ 9332 w 9996"/>
              <a:gd name="connsiteY18" fmla="*/ 4995 h 10000"/>
              <a:gd name="connsiteX19" fmla="*/ 9256 w 9996"/>
              <a:gd name="connsiteY19" fmla="*/ 5093 h 10000"/>
              <a:gd name="connsiteX20" fmla="*/ 9188 w 9996"/>
              <a:gd name="connsiteY20" fmla="*/ 5191 h 10000"/>
              <a:gd name="connsiteX21" fmla="*/ 9107 w 9996"/>
              <a:gd name="connsiteY21" fmla="*/ 5224 h 10000"/>
              <a:gd name="connsiteX22" fmla="*/ 9107 w 9996"/>
              <a:gd name="connsiteY22" fmla="*/ 5224 h 10000"/>
              <a:gd name="connsiteX23" fmla="*/ 2 w 9996"/>
              <a:gd name="connsiteY23" fmla="*/ 9404 h 10000"/>
              <a:gd name="connsiteX24" fmla="*/ 0 w 9996"/>
              <a:gd name="connsiteY24" fmla="*/ 10000 h 10000"/>
              <a:gd name="connsiteX25" fmla="*/ 9996 w 9996"/>
              <a:gd name="connsiteY25" fmla="*/ 9989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9996" h="10000">
                <a:moveTo>
                  <a:pt x="9996" y="9989"/>
                </a:moveTo>
                <a:lnTo>
                  <a:pt x="9996" y="0"/>
                </a:lnTo>
                <a:lnTo>
                  <a:pt x="9996" y="0"/>
                </a:lnTo>
                <a:lnTo>
                  <a:pt x="9996" y="230"/>
                </a:lnTo>
                <a:cubicBezTo>
                  <a:pt x="9989" y="406"/>
                  <a:pt x="9984" y="580"/>
                  <a:pt x="9977" y="756"/>
                </a:cubicBezTo>
                <a:cubicBezTo>
                  <a:pt x="9972" y="876"/>
                  <a:pt x="9969" y="997"/>
                  <a:pt x="9964" y="1117"/>
                </a:cubicBezTo>
                <a:cubicBezTo>
                  <a:pt x="9956" y="1260"/>
                  <a:pt x="9947" y="1401"/>
                  <a:pt x="9939" y="1544"/>
                </a:cubicBezTo>
                <a:cubicBezTo>
                  <a:pt x="9931" y="1698"/>
                  <a:pt x="9922" y="1851"/>
                  <a:pt x="9914" y="2005"/>
                </a:cubicBezTo>
                <a:cubicBezTo>
                  <a:pt x="9902" y="2158"/>
                  <a:pt x="9889" y="2311"/>
                  <a:pt x="9877" y="2464"/>
                </a:cubicBezTo>
                <a:cubicBezTo>
                  <a:pt x="9860" y="2618"/>
                  <a:pt x="9844" y="2771"/>
                  <a:pt x="9827" y="2925"/>
                </a:cubicBezTo>
                <a:cubicBezTo>
                  <a:pt x="9808" y="3078"/>
                  <a:pt x="9790" y="3231"/>
                  <a:pt x="9770" y="3384"/>
                </a:cubicBezTo>
                <a:cubicBezTo>
                  <a:pt x="9745" y="3527"/>
                  <a:pt x="9720" y="3669"/>
                  <a:pt x="9695" y="3812"/>
                </a:cubicBezTo>
                <a:cubicBezTo>
                  <a:pt x="9683" y="3889"/>
                  <a:pt x="9670" y="3965"/>
                  <a:pt x="9658" y="4042"/>
                </a:cubicBezTo>
                <a:cubicBezTo>
                  <a:pt x="9641" y="4107"/>
                  <a:pt x="9625" y="4172"/>
                  <a:pt x="9608" y="4238"/>
                </a:cubicBezTo>
                <a:cubicBezTo>
                  <a:pt x="9593" y="4293"/>
                  <a:pt x="9579" y="4348"/>
                  <a:pt x="9564" y="4403"/>
                </a:cubicBezTo>
                <a:cubicBezTo>
                  <a:pt x="9544" y="4469"/>
                  <a:pt x="9526" y="4534"/>
                  <a:pt x="9507" y="4600"/>
                </a:cubicBezTo>
                <a:cubicBezTo>
                  <a:pt x="9489" y="4644"/>
                  <a:pt x="9470" y="4688"/>
                  <a:pt x="9451" y="4732"/>
                </a:cubicBezTo>
                <a:cubicBezTo>
                  <a:pt x="9432" y="4787"/>
                  <a:pt x="9414" y="4841"/>
                  <a:pt x="9395" y="4896"/>
                </a:cubicBezTo>
                <a:lnTo>
                  <a:pt x="9332" y="4995"/>
                </a:lnTo>
                <a:cubicBezTo>
                  <a:pt x="9307" y="5027"/>
                  <a:pt x="9281" y="5060"/>
                  <a:pt x="9256" y="5093"/>
                </a:cubicBezTo>
                <a:cubicBezTo>
                  <a:pt x="9234" y="5126"/>
                  <a:pt x="9211" y="5158"/>
                  <a:pt x="9188" y="5191"/>
                </a:cubicBezTo>
                <a:lnTo>
                  <a:pt x="9107" y="5224"/>
                </a:lnTo>
                <a:lnTo>
                  <a:pt x="9107" y="5224"/>
                </a:lnTo>
                <a:lnTo>
                  <a:pt x="2" y="9404"/>
                </a:lnTo>
                <a:cubicBezTo>
                  <a:pt x="-1" y="9602"/>
                  <a:pt x="2" y="9801"/>
                  <a:pt x="0" y="10000"/>
                </a:cubicBezTo>
                <a:lnTo>
                  <a:pt x="9996" y="9989"/>
                </a:lnTo>
                <a:close/>
              </a:path>
            </a:pathLst>
          </a:custGeom>
          <a:solidFill>
            <a:schemeClr val="accent6"/>
          </a:solidFill>
          <a:ln>
            <a:noFill/>
          </a:ln>
        </p:spPr>
        <p:txBody>
          <a:bodyPr vert="horz" wrap="square" lIns="133428" tIns="66715" rIns="133428" bIns="66715" numCol="1" anchor="t" anchorCtr="0" compatLnSpc="1">
            <a:prstTxWarp prst="textNoShape">
              <a:avLst/>
            </a:prstTxWarp>
          </a:bodyPr>
          <a:lstStyle/>
          <a:p>
            <a:endParaRPr lang="ja-JP" altLang="en-US" sz="2533"/>
          </a:p>
        </p:txBody>
      </p:sp>
      <p:sp>
        <p:nvSpPr>
          <p:cNvPr id="2" name="タイトル 1"/>
          <p:cNvSpPr>
            <a:spLocks noGrp="1"/>
          </p:cNvSpPr>
          <p:nvPr>
            <p:ph type="title"/>
          </p:nvPr>
        </p:nvSpPr>
        <p:spPr>
          <a:xfrm>
            <a:off x="368550" y="1959102"/>
            <a:ext cx="11451591" cy="540000"/>
          </a:xfrm>
          <a:prstGeom prst="rect">
            <a:avLst/>
          </a:prstGeom>
        </p:spPr>
        <p:txBody>
          <a:bodyPr lIns="95767" tIns="47884" rIns="95767" bIns="47884"/>
          <a:lstStyle>
            <a:lvl1pPr>
              <a:defRPr>
                <a:latin typeface="Meiryo UI" panose="020B0604030504040204" pitchFamily="50" charset="-128"/>
                <a:ea typeface="Meiryo UI" panose="020B0604030504040204" pitchFamily="50" charset="-128"/>
              </a:defRPr>
            </a:lvl1pPr>
          </a:lstStyle>
          <a:p>
            <a:r>
              <a:rPr kumimoji="1" lang="ja-JP" altLang="en-US"/>
              <a:t>マスター タイトルの書式設定</a:t>
            </a:r>
          </a:p>
        </p:txBody>
      </p:sp>
      <p:sp>
        <p:nvSpPr>
          <p:cNvPr id="6" name="スライド番号プレースホルダー 5"/>
          <p:cNvSpPr>
            <a:spLocks noGrp="1"/>
          </p:cNvSpPr>
          <p:nvPr>
            <p:ph type="sldNum" sz="quarter" idx="12"/>
          </p:nvPr>
        </p:nvSpPr>
        <p:spPr>
          <a:xfrm>
            <a:off x="11524630" y="6468878"/>
            <a:ext cx="555811" cy="289299"/>
          </a:xfrm>
          <a:prstGeom prst="rect">
            <a:avLst/>
          </a:prstGeom>
        </p:spPr>
        <p:txBody>
          <a:bodyPr lIns="95767" tIns="47884" rIns="95767" bIns="47884"/>
          <a:lstStyle>
            <a:lvl1pPr>
              <a:defRPr sz="1333"/>
            </a:lvl1pPr>
          </a:lstStyle>
          <a:p>
            <a:fld id="{2FF5E1DE-7B95-8A44-8552-65323269AE41}" type="slidenum">
              <a:rPr lang="ja-JP" altLang="en-US" smtClean="0"/>
              <a:pPr/>
              <a:t>‹#›</a:t>
            </a:fld>
            <a:endParaRPr lang="ja-JP" altLang="en-US"/>
          </a:p>
        </p:txBody>
      </p:sp>
      <p:pic>
        <p:nvPicPr>
          <p:cNvPr id="8" name="Picture 2" descr="C:\Users\00057835\AppData\Local\Temp\notesEA5B2A\グループ併記ロゴ（縦・英文）.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0756324" y="26652"/>
            <a:ext cx="1434080" cy="85801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31528834"/>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type="title" preserve="1">
  <p:cSld name="4_タイトル スライド">
    <p:spTree>
      <p:nvGrpSpPr>
        <p:cNvPr id="1" name=""/>
        <p:cNvGrpSpPr/>
        <p:nvPr/>
      </p:nvGrpSpPr>
      <p:grpSpPr>
        <a:xfrm>
          <a:off x="0" y="0"/>
          <a:ext cx="0" cy="0"/>
          <a:chOff x="0" y="0"/>
          <a:chExt cx="0" cy="0"/>
        </a:xfrm>
      </p:grpSpPr>
      <p:sp>
        <p:nvSpPr>
          <p:cNvPr id="10" name="Freeform 5"/>
          <p:cNvSpPr>
            <a:spLocks/>
          </p:cNvSpPr>
          <p:nvPr userDrawn="1"/>
        </p:nvSpPr>
        <p:spPr bwMode="auto">
          <a:xfrm>
            <a:off x="233538" y="169337"/>
            <a:ext cx="11730712" cy="5207000"/>
          </a:xfrm>
          <a:custGeom>
            <a:avLst/>
            <a:gdLst>
              <a:gd name="T0" fmla="*/ 0 w 1618"/>
              <a:gd name="T1" fmla="*/ 0 h 957"/>
              <a:gd name="T2" fmla="*/ 0 w 1618"/>
              <a:gd name="T3" fmla="*/ 957 h 957"/>
              <a:gd name="T4" fmla="*/ 1279 w 1618"/>
              <a:gd name="T5" fmla="*/ 842 h 957"/>
              <a:gd name="T6" fmla="*/ 1618 w 1618"/>
              <a:gd name="T7" fmla="*/ 472 h 957"/>
              <a:gd name="T8" fmla="*/ 1618 w 1618"/>
              <a:gd name="T9" fmla="*/ 0 h 957"/>
              <a:gd name="T10" fmla="*/ 0 w 1618"/>
              <a:gd name="T11" fmla="*/ 0 h 957"/>
            </a:gdLst>
            <a:ahLst/>
            <a:cxnLst>
              <a:cxn ang="0">
                <a:pos x="T0" y="T1"/>
              </a:cxn>
              <a:cxn ang="0">
                <a:pos x="T2" y="T3"/>
              </a:cxn>
              <a:cxn ang="0">
                <a:pos x="T4" y="T5"/>
              </a:cxn>
              <a:cxn ang="0">
                <a:pos x="T6" y="T7"/>
              </a:cxn>
              <a:cxn ang="0">
                <a:pos x="T8" y="T9"/>
              </a:cxn>
              <a:cxn ang="0">
                <a:pos x="T10" y="T11"/>
              </a:cxn>
            </a:cxnLst>
            <a:rect l="0" t="0" r="r" b="b"/>
            <a:pathLst>
              <a:path w="1618" h="957">
                <a:moveTo>
                  <a:pt x="0" y="0"/>
                </a:moveTo>
                <a:cubicBezTo>
                  <a:pt x="0" y="957"/>
                  <a:pt x="0" y="957"/>
                  <a:pt x="0" y="957"/>
                </a:cubicBezTo>
                <a:cubicBezTo>
                  <a:pt x="1279" y="842"/>
                  <a:pt x="1279" y="842"/>
                  <a:pt x="1279" y="842"/>
                </a:cubicBezTo>
                <a:cubicBezTo>
                  <a:pt x="1465" y="825"/>
                  <a:pt x="1618" y="659"/>
                  <a:pt x="1618" y="472"/>
                </a:cubicBezTo>
                <a:cubicBezTo>
                  <a:pt x="1618" y="0"/>
                  <a:pt x="1618" y="0"/>
                  <a:pt x="1618" y="0"/>
                </a:cubicBezTo>
                <a:lnTo>
                  <a:pt x="0" y="0"/>
                </a:lnTo>
                <a:close/>
              </a:path>
            </a:pathLst>
          </a:custGeom>
          <a:solidFill>
            <a:schemeClr val="accent5"/>
          </a:solidFill>
          <a:ln>
            <a:noFill/>
          </a:ln>
        </p:spPr>
        <p:txBody>
          <a:bodyPr lIns="127667" tIns="63834" rIns="127667" bIns="63834"/>
          <a:lstStyle/>
          <a:p>
            <a:endParaRPr lang="ja-JP" altLang="en-US" sz="2533"/>
          </a:p>
        </p:txBody>
      </p:sp>
      <p:sp>
        <p:nvSpPr>
          <p:cNvPr id="2" name="タイトル 1"/>
          <p:cNvSpPr>
            <a:spLocks noGrp="1"/>
          </p:cNvSpPr>
          <p:nvPr>
            <p:ph type="ctrTitle"/>
          </p:nvPr>
        </p:nvSpPr>
        <p:spPr>
          <a:xfrm>
            <a:off x="914400" y="1416804"/>
            <a:ext cx="10363200" cy="1470025"/>
          </a:xfrm>
          <a:prstGeom prst="rect">
            <a:avLst/>
          </a:prstGeom>
        </p:spPr>
        <p:txBody>
          <a:bodyPr lIns="95767" tIns="47884" rIns="95767" bIns="47884" anchor="b">
            <a:normAutofit/>
          </a:bodyPr>
          <a:lstStyle>
            <a:lvl1pPr algn="l">
              <a:defRPr sz="5199" kern="1200">
                <a:solidFill>
                  <a:schemeClr val="tx1"/>
                </a:solidFill>
                <a:latin typeface="Meiryo UI" panose="020B0604030504040204" pitchFamily="50" charset="-128"/>
                <a:ea typeface="Meiryo UI" panose="020B0604030504040204" pitchFamily="50" charset="-128"/>
              </a:defRPr>
            </a:lvl1pPr>
          </a:lstStyle>
          <a:p>
            <a:r>
              <a:rPr kumimoji="1" lang="ja-JP" altLang="en-US"/>
              <a:t>マスター タイトルの書式設定</a:t>
            </a:r>
          </a:p>
        </p:txBody>
      </p:sp>
      <p:sp>
        <p:nvSpPr>
          <p:cNvPr id="3" name="サブタイトル 2"/>
          <p:cNvSpPr>
            <a:spLocks noGrp="1"/>
          </p:cNvSpPr>
          <p:nvPr>
            <p:ph type="subTitle" idx="1"/>
          </p:nvPr>
        </p:nvSpPr>
        <p:spPr>
          <a:xfrm>
            <a:off x="916801" y="3420000"/>
            <a:ext cx="9691436" cy="977153"/>
          </a:xfrm>
          <a:prstGeom prst="rect">
            <a:avLst/>
          </a:prstGeom>
        </p:spPr>
        <p:txBody>
          <a:bodyPr lIns="95767" tIns="47884" rIns="95767" bIns="47884">
            <a:normAutofit/>
          </a:bodyPr>
          <a:lstStyle>
            <a:lvl1pPr marL="0" indent="0" algn="l">
              <a:buNone/>
              <a:defRPr sz="3333">
                <a:solidFill>
                  <a:schemeClr val="tx1"/>
                </a:solidFill>
                <a:latin typeface="Meiryo UI" panose="020B0604030504040204" pitchFamily="50" charset="-128"/>
                <a:ea typeface="Meiryo UI" panose="020B0604030504040204" pitchFamily="50" charset="-128"/>
              </a:defRPr>
            </a:lvl1pPr>
            <a:lvl2pPr marL="638335" indent="0" algn="ctr">
              <a:buNone/>
              <a:defRPr>
                <a:solidFill>
                  <a:schemeClr val="tx1">
                    <a:tint val="75000"/>
                  </a:schemeClr>
                </a:solidFill>
              </a:defRPr>
            </a:lvl2pPr>
            <a:lvl3pPr marL="1276669" indent="0" algn="ctr">
              <a:buNone/>
              <a:defRPr>
                <a:solidFill>
                  <a:schemeClr val="tx1">
                    <a:tint val="75000"/>
                  </a:schemeClr>
                </a:solidFill>
              </a:defRPr>
            </a:lvl3pPr>
            <a:lvl4pPr marL="1915003" indent="0" algn="ctr">
              <a:buNone/>
              <a:defRPr>
                <a:solidFill>
                  <a:schemeClr val="tx1">
                    <a:tint val="75000"/>
                  </a:schemeClr>
                </a:solidFill>
              </a:defRPr>
            </a:lvl4pPr>
            <a:lvl5pPr marL="2553338" indent="0" algn="ctr">
              <a:buNone/>
              <a:defRPr>
                <a:solidFill>
                  <a:schemeClr val="tx1">
                    <a:tint val="75000"/>
                  </a:schemeClr>
                </a:solidFill>
              </a:defRPr>
            </a:lvl5pPr>
            <a:lvl6pPr marL="3191671" indent="0" algn="ctr">
              <a:buNone/>
              <a:defRPr>
                <a:solidFill>
                  <a:schemeClr val="tx1">
                    <a:tint val="75000"/>
                  </a:schemeClr>
                </a:solidFill>
              </a:defRPr>
            </a:lvl6pPr>
            <a:lvl7pPr marL="3830007" indent="0" algn="ctr">
              <a:buNone/>
              <a:defRPr>
                <a:solidFill>
                  <a:schemeClr val="tx1">
                    <a:tint val="75000"/>
                  </a:schemeClr>
                </a:solidFill>
              </a:defRPr>
            </a:lvl7pPr>
            <a:lvl8pPr marL="4468342" indent="0" algn="ctr">
              <a:buNone/>
              <a:defRPr>
                <a:solidFill>
                  <a:schemeClr val="tx1">
                    <a:tint val="75000"/>
                  </a:schemeClr>
                </a:solidFill>
              </a:defRPr>
            </a:lvl8pPr>
            <a:lvl9pPr marL="5106676" indent="0" algn="ctr">
              <a:buNone/>
              <a:defRPr>
                <a:solidFill>
                  <a:schemeClr val="tx1">
                    <a:tint val="75000"/>
                  </a:schemeClr>
                </a:solidFill>
              </a:defRPr>
            </a:lvl9pPr>
          </a:lstStyle>
          <a:p>
            <a:r>
              <a:rPr kumimoji="1" lang="ja-JP" altLang="en-US"/>
              <a:t>マスター サブタイトルの書式設定</a:t>
            </a:r>
          </a:p>
        </p:txBody>
      </p:sp>
      <p:sp>
        <p:nvSpPr>
          <p:cNvPr id="8" name="フッター プレースホルダー 12"/>
          <p:cNvSpPr>
            <a:spLocks noGrp="1"/>
          </p:cNvSpPr>
          <p:nvPr>
            <p:ph type="ftr" sz="quarter" idx="11"/>
          </p:nvPr>
        </p:nvSpPr>
        <p:spPr>
          <a:xfrm>
            <a:off x="609600" y="6099529"/>
            <a:ext cx="3860800" cy="365125"/>
          </a:xfrm>
          <a:prstGeom prst="rect">
            <a:avLst/>
          </a:prstGeom>
        </p:spPr>
        <p:txBody>
          <a:bodyPr lIns="95767" tIns="47884" rIns="95767" bIns="47884"/>
          <a:lstStyle>
            <a:lvl1pPr algn="l">
              <a:defRPr sz="2266">
                <a:latin typeface="Meiryo UI" panose="020B0604030504040204" pitchFamily="50" charset="-128"/>
                <a:ea typeface="Meiryo UI" panose="020B0604030504040204" pitchFamily="50" charset="-128"/>
              </a:defRPr>
            </a:lvl1pPr>
          </a:lstStyle>
          <a:p>
            <a:endParaRPr lang="ja-JP" altLang="en-US"/>
          </a:p>
        </p:txBody>
      </p:sp>
      <p:sp>
        <p:nvSpPr>
          <p:cNvPr id="9" name="日付プレースホルダー 11"/>
          <p:cNvSpPr>
            <a:spLocks noGrp="1"/>
          </p:cNvSpPr>
          <p:nvPr>
            <p:ph type="dt" sz="half" idx="10"/>
          </p:nvPr>
        </p:nvSpPr>
        <p:spPr>
          <a:xfrm>
            <a:off x="609600" y="5691768"/>
            <a:ext cx="3860800" cy="365125"/>
          </a:xfrm>
          <a:prstGeom prst="rect">
            <a:avLst/>
          </a:prstGeom>
        </p:spPr>
        <p:txBody>
          <a:bodyPr lIns="95767" tIns="47884" rIns="95767" bIns="47884"/>
          <a:lstStyle>
            <a:lvl1pPr algn="l">
              <a:defRPr sz="2266">
                <a:solidFill>
                  <a:srgbClr val="000000"/>
                </a:solidFill>
                <a:latin typeface="Meiryo UI" panose="020B0604030504040204" pitchFamily="50" charset="-128"/>
                <a:ea typeface="Meiryo UI" panose="020B0604030504040204" pitchFamily="50" charset="-128"/>
              </a:defRPr>
            </a:lvl1pPr>
          </a:lstStyle>
          <a:p>
            <a:endParaRPr lang="ja-JP" altLang="en-US"/>
          </a:p>
        </p:txBody>
      </p:sp>
      <p:pic>
        <p:nvPicPr>
          <p:cNvPr id="11" name="Picture 2" descr="C:\Users\00057835\AppData\Local\Temp\notesEA5B2A\グループ併記ロゴ（縦・英文）.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9672823" y="5316525"/>
            <a:ext cx="2519177" cy="1507239"/>
          </a:xfrm>
          <a:prstGeom prst="rect">
            <a:avLst/>
          </a:prstGeom>
          <a:noFill/>
          <a:extLst>
            <a:ext uri="{909E8E84-426E-40DD-AFC4-6F175D3DCCD1}">
              <a14:hiddenFill xmlns:a14="http://schemas.microsoft.com/office/drawing/2010/main">
                <a:solidFill>
                  <a:srgbClr val="FFFFFF"/>
                </a:solidFill>
              </a14:hiddenFill>
            </a:ext>
          </a:extLst>
        </p:spPr>
      </p:pic>
      <p:pic>
        <p:nvPicPr>
          <p:cNvPr id="12" name="図 11" descr="テキスト&#10;&#10;自動的に生成された説明">
            <a:extLst>
              <a:ext uri="{FF2B5EF4-FFF2-40B4-BE49-F238E27FC236}">
                <a16:creationId xmlns:a16="http://schemas.microsoft.com/office/drawing/2014/main" id="{A90E0FF0-5017-435E-BACF-DBC97077E287}"/>
              </a:ext>
            </a:extLst>
          </p:cNvPr>
          <p:cNvPicPr>
            <a:picLocks noChangeAspect="1"/>
          </p:cNvPicPr>
          <p:nvPr userDrawn="1"/>
        </p:nvPicPr>
        <p:blipFill>
          <a:blip r:embed="rId3"/>
          <a:stretch>
            <a:fillRect/>
          </a:stretch>
        </p:blipFill>
        <p:spPr>
          <a:xfrm>
            <a:off x="7614083" y="5874330"/>
            <a:ext cx="2138567" cy="637168"/>
          </a:xfrm>
          <a:prstGeom prst="rect">
            <a:avLst/>
          </a:prstGeom>
        </p:spPr>
      </p:pic>
    </p:spTree>
    <p:extLst>
      <p:ext uri="{BB962C8B-B14F-4D97-AF65-F5344CB8AC3E}">
        <p14:creationId xmlns:p14="http://schemas.microsoft.com/office/powerpoint/2010/main" val="2504635004"/>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17_タイトルとコンテンツ">
    <p:spTree>
      <p:nvGrpSpPr>
        <p:cNvPr id="1" name=""/>
        <p:cNvGrpSpPr/>
        <p:nvPr/>
      </p:nvGrpSpPr>
      <p:grpSpPr>
        <a:xfrm>
          <a:off x="0" y="0"/>
          <a:ext cx="0" cy="0"/>
          <a:chOff x="0" y="0"/>
          <a:chExt cx="0" cy="0"/>
        </a:xfrm>
      </p:grpSpPr>
      <p:sp>
        <p:nvSpPr>
          <p:cNvPr id="7" name="Freeform 8"/>
          <p:cNvSpPr>
            <a:spLocks/>
          </p:cNvSpPr>
          <p:nvPr userDrawn="1"/>
        </p:nvSpPr>
        <p:spPr bwMode="auto">
          <a:xfrm>
            <a:off x="-2100" y="5505984"/>
            <a:ext cx="12192504" cy="1353504"/>
          </a:xfrm>
          <a:custGeom>
            <a:avLst/>
            <a:gdLst>
              <a:gd name="T0" fmla="*/ 3622 w 3622"/>
              <a:gd name="T1" fmla="*/ 608 h 608"/>
              <a:gd name="T2" fmla="*/ 3622 w 3622"/>
              <a:gd name="T3" fmla="*/ 0 h 608"/>
              <a:gd name="T4" fmla="*/ 3622 w 3622"/>
              <a:gd name="T5" fmla="*/ 0 h 608"/>
              <a:gd name="T6" fmla="*/ 3622 w 3622"/>
              <a:gd name="T7" fmla="*/ 14 h 608"/>
              <a:gd name="T8" fmla="*/ 3616 w 3622"/>
              <a:gd name="T9" fmla="*/ 46 h 608"/>
              <a:gd name="T10" fmla="*/ 3612 w 3622"/>
              <a:gd name="T11" fmla="*/ 68 h 608"/>
              <a:gd name="T12" fmla="*/ 3604 w 3622"/>
              <a:gd name="T13" fmla="*/ 94 h 608"/>
              <a:gd name="T14" fmla="*/ 3596 w 3622"/>
              <a:gd name="T15" fmla="*/ 122 h 608"/>
              <a:gd name="T16" fmla="*/ 3584 w 3622"/>
              <a:gd name="T17" fmla="*/ 150 h 608"/>
              <a:gd name="T18" fmla="*/ 3568 w 3622"/>
              <a:gd name="T19" fmla="*/ 178 h 608"/>
              <a:gd name="T20" fmla="*/ 3550 w 3622"/>
              <a:gd name="T21" fmla="*/ 206 h 608"/>
              <a:gd name="T22" fmla="*/ 3526 w 3622"/>
              <a:gd name="T23" fmla="*/ 232 h 608"/>
              <a:gd name="T24" fmla="*/ 3514 w 3622"/>
              <a:gd name="T25" fmla="*/ 246 h 608"/>
              <a:gd name="T26" fmla="*/ 3498 w 3622"/>
              <a:gd name="T27" fmla="*/ 258 h 608"/>
              <a:gd name="T28" fmla="*/ 3484 w 3622"/>
              <a:gd name="T29" fmla="*/ 268 h 608"/>
              <a:gd name="T30" fmla="*/ 3466 w 3622"/>
              <a:gd name="T31" fmla="*/ 280 h 608"/>
              <a:gd name="T32" fmla="*/ 3448 w 3622"/>
              <a:gd name="T33" fmla="*/ 288 h 608"/>
              <a:gd name="T34" fmla="*/ 3430 w 3622"/>
              <a:gd name="T35" fmla="*/ 298 h 608"/>
              <a:gd name="T36" fmla="*/ 3410 w 3622"/>
              <a:gd name="T37" fmla="*/ 304 h 608"/>
              <a:gd name="T38" fmla="*/ 3386 w 3622"/>
              <a:gd name="T39" fmla="*/ 310 h 608"/>
              <a:gd name="T40" fmla="*/ 3364 w 3622"/>
              <a:gd name="T41" fmla="*/ 316 h 608"/>
              <a:gd name="T42" fmla="*/ 3338 w 3622"/>
              <a:gd name="T43" fmla="*/ 318 h 608"/>
              <a:gd name="T44" fmla="*/ 3338 w 3622"/>
              <a:gd name="T45" fmla="*/ 318 h 608"/>
              <a:gd name="T46" fmla="*/ 0 w 3622"/>
              <a:gd name="T47" fmla="*/ 608 h 608"/>
              <a:gd name="T48" fmla="*/ 3622 w 3622"/>
              <a:gd name="T49" fmla="*/ 608 h 608"/>
              <a:gd name="connsiteX0" fmla="*/ 10000 w 10000"/>
              <a:gd name="connsiteY0" fmla="*/ 10000 h 10000"/>
              <a:gd name="connsiteX1" fmla="*/ 10000 w 10000"/>
              <a:gd name="connsiteY1" fmla="*/ 0 h 10000"/>
              <a:gd name="connsiteX2" fmla="*/ 10000 w 10000"/>
              <a:gd name="connsiteY2" fmla="*/ 0 h 10000"/>
              <a:gd name="connsiteX3" fmla="*/ 10000 w 10000"/>
              <a:gd name="connsiteY3" fmla="*/ 230 h 10000"/>
              <a:gd name="connsiteX4" fmla="*/ 9983 w 10000"/>
              <a:gd name="connsiteY4" fmla="*/ 757 h 10000"/>
              <a:gd name="connsiteX5" fmla="*/ 9972 w 10000"/>
              <a:gd name="connsiteY5" fmla="*/ 1118 h 10000"/>
              <a:gd name="connsiteX6" fmla="*/ 9950 w 10000"/>
              <a:gd name="connsiteY6" fmla="*/ 1546 h 10000"/>
              <a:gd name="connsiteX7" fmla="*/ 9928 w 10000"/>
              <a:gd name="connsiteY7" fmla="*/ 2007 h 10000"/>
              <a:gd name="connsiteX8" fmla="*/ 9895 w 10000"/>
              <a:gd name="connsiteY8" fmla="*/ 2467 h 10000"/>
              <a:gd name="connsiteX9" fmla="*/ 9851 w 10000"/>
              <a:gd name="connsiteY9" fmla="*/ 2928 h 10000"/>
              <a:gd name="connsiteX10" fmla="*/ 9801 w 10000"/>
              <a:gd name="connsiteY10" fmla="*/ 3388 h 10000"/>
              <a:gd name="connsiteX11" fmla="*/ 9735 w 10000"/>
              <a:gd name="connsiteY11" fmla="*/ 3816 h 10000"/>
              <a:gd name="connsiteX12" fmla="*/ 9702 w 10000"/>
              <a:gd name="connsiteY12" fmla="*/ 4046 h 10000"/>
              <a:gd name="connsiteX13" fmla="*/ 9658 w 10000"/>
              <a:gd name="connsiteY13" fmla="*/ 4243 h 10000"/>
              <a:gd name="connsiteX14" fmla="*/ 9619 w 10000"/>
              <a:gd name="connsiteY14" fmla="*/ 4408 h 10000"/>
              <a:gd name="connsiteX15" fmla="*/ 9569 w 10000"/>
              <a:gd name="connsiteY15" fmla="*/ 4605 h 10000"/>
              <a:gd name="connsiteX16" fmla="*/ 9520 w 10000"/>
              <a:gd name="connsiteY16" fmla="*/ 4737 h 10000"/>
              <a:gd name="connsiteX17" fmla="*/ 9470 w 10000"/>
              <a:gd name="connsiteY17" fmla="*/ 4901 h 10000"/>
              <a:gd name="connsiteX18" fmla="*/ 9415 w 10000"/>
              <a:gd name="connsiteY18" fmla="*/ 5000 h 10000"/>
              <a:gd name="connsiteX19" fmla="*/ 9348 w 10000"/>
              <a:gd name="connsiteY19" fmla="*/ 5099 h 10000"/>
              <a:gd name="connsiteX20" fmla="*/ 9288 w 10000"/>
              <a:gd name="connsiteY20" fmla="*/ 5197 h 10000"/>
              <a:gd name="connsiteX21" fmla="*/ 9216 w 10000"/>
              <a:gd name="connsiteY21" fmla="*/ 5230 h 10000"/>
              <a:gd name="connsiteX22" fmla="*/ 9216 w 10000"/>
              <a:gd name="connsiteY22" fmla="*/ 5230 h 10000"/>
              <a:gd name="connsiteX23" fmla="*/ 1190 w 10000"/>
              <a:gd name="connsiteY23" fmla="*/ 9414 h 10000"/>
              <a:gd name="connsiteX24" fmla="*/ 0 w 10000"/>
              <a:gd name="connsiteY24" fmla="*/ 10000 h 10000"/>
              <a:gd name="connsiteX25" fmla="*/ 10000 w 10000"/>
              <a:gd name="connsiteY25" fmla="*/ 10000 h 10000"/>
              <a:gd name="connsiteX0" fmla="*/ 10000 w 10000"/>
              <a:gd name="connsiteY0" fmla="*/ 10000 h 10011"/>
              <a:gd name="connsiteX1" fmla="*/ 10000 w 10000"/>
              <a:gd name="connsiteY1" fmla="*/ 0 h 10011"/>
              <a:gd name="connsiteX2" fmla="*/ 10000 w 10000"/>
              <a:gd name="connsiteY2" fmla="*/ 0 h 10011"/>
              <a:gd name="connsiteX3" fmla="*/ 10000 w 10000"/>
              <a:gd name="connsiteY3" fmla="*/ 230 h 10011"/>
              <a:gd name="connsiteX4" fmla="*/ 9983 w 10000"/>
              <a:gd name="connsiteY4" fmla="*/ 757 h 10011"/>
              <a:gd name="connsiteX5" fmla="*/ 9972 w 10000"/>
              <a:gd name="connsiteY5" fmla="*/ 1118 h 10011"/>
              <a:gd name="connsiteX6" fmla="*/ 9950 w 10000"/>
              <a:gd name="connsiteY6" fmla="*/ 1546 h 10011"/>
              <a:gd name="connsiteX7" fmla="*/ 9928 w 10000"/>
              <a:gd name="connsiteY7" fmla="*/ 2007 h 10011"/>
              <a:gd name="connsiteX8" fmla="*/ 9895 w 10000"/>
              <a:gd name="connsiteY8" fmla="*/ 2467 h 10011"/>
              <a:gd name="connsiteX9" fmla="*/ 9851 w 10000"/>
              <a:gd name="connsiteY9" fmla="*/ 2928 h 10011"/>
              <a:gd name="connsiteX10" fmla="*/ 9801 w 10000"/>
              <a:gd name="connsiteY10" fmla="*/ 3388 h 10011"/>
              <a:gd name="connsiteX11" fmla="*/ 9735 w 10000"/>
              <a:gd name="connsiteY11" fmla="*/ 3816 h 10011"/>
              <a:gd name="connsiteX12" fmla="*/ 9702 w 10000"/>
              <a:gd name="connsiteY12" fmla="*/ 4046 h 10011"/>
              <a:gd name="connsiteX13" fmla="*/ 9658 w 10000"/>
              <a:gd name="connsiteY13" fmla="*/ 4243 h 10011"/>
              <a:gd name="connsiteX14" fmla="*/ 9619 w 10000"/>
              <a:gd name="connsiteY14" fmla="*/ 4408 h 10011"/>
              <a:gd name="connsiteX15" fmla="*/ 9569 w 10000"/>
              <a:gd name="connsiteY15" fmla="*/ 4605 h 10011"/>
              <a:gd name="connsiteX16" fmla="*/ 9520 w 10000"/>
              <a:gd name="connsiteY16" fmla="*/ 4737 h 10011"/>
              <a:gd name="connsiteX17" fmla="*/ 9470 w 10000"/>
              <a:gd name="connsiteY17" fmla="*/ 4901 h 10011"/>
              <a:gd name="connsiteX18" fmla="*/ 9415 w 10000"/>
              <a:gd name="connsiteY18" fmla="*/ 5000 h 10011"/>
              <a:gd name="connsiteX19" fmla="*/ 9348 w 10000"/>
              <a:gd name="connsiteY19" fmla="*/ 5099 h 10011"/>
              <a:gd name="connsiteX20" fmla="*/ 9288 w 10000"/>
              <a:gd name="connsiteY20" fmla="*/ 5197 h 10011"/>
              <a:gd name="connsiteX21" fmla="*/ 9216 w 10000"/>
              <a:gd name="connsiteY21" fmla="*/ 5230 h 10011"/>
              <a:gd name="connsiteX22" fmla="*/ 9216 w 10000"/>
              <a:gd name="connsiteY22" fmla="*/ 5230 h 10011"/>
              <a:gd name="connsiteX23" fmla="*/ 1190 w 10000"/>
              <a:gd name="connsiteY23" fmla="*/ 9414 h 10011"/>
              <a:gd name="connsiteX24" fmla="*/ 0 w 10000"/>
              <a:gd name="connsiteY24" fmla="*/ 10000 h 10011"/>
              <a:gd name="connsiteX25" fmla="*/ 1185 w 10000"/>
              <a:gd name="connsiteY25" fmla="*/ 10011 h 10011"/>
              <a:gd name="connsiteX26" fmla="*/ 10000 w 10000"/>
              <a:gd name="connsiteY26" fmla="*/ 10000 h 10011"/>
              <a:gd name="connsiteX0" fmla="*/ 8815 w 8815"/>
              <a:gd name="connsiteY0" fmla="*/ 10000 h 10011"/>
              <a:gd name="connsiteX1" fmla="*/ 8815 w 8815"/>
              <a:gd name="connsiteY1" fmla="*/ 0 h 10011"/>
              <a:gd name="connsiteX2" fmla="*/ 8815 w 8815"/>
              <a:gd name="connsiteY2" fmla="*/ 0 h 10011"/>
              <a:gd name="connsiteX3" fmla="*/ 8815 w 8815"/>
              <a:gd name="connsiteY3" fmla="*/ 230 h 10011"/>
              <a:gd name="connsiteX4" fmla="*/ 8798 w 8815"/>
              <a:gd name="connsiteY4" fmla="*/ 757 h 10011"/>
              <a:gd name="connsiteX5" fmla="*/ 8787 w 8815"/>
              <a:gd name="connsiteY5" fmla="*/ 1118 h 10011"/>
              <a:gd name="connsiteX6" fmla="*/ 8765 w 8815"/>
              <a:gd name="connsiteY6" fmla="*/ 1546 h 10011"/>
              <a:gd name="connsiteX7" fmla="*/ 8743 w 8815"/>
              <a:gd name="connsiteY7" fmla="*/ 2007 h 10011"/>
              <a:gd name="connsiteX8" fmla="*/ 8710 w 8815"/>
              <a:gd name="connsiteY8" fmla="*/ 2467 h 10011"/>
              <a:gd name="connsiteX9" fmla="*/ 8666 w 8815"/>
              <a:gd name="connsiteY9" fmla="*/ 2928 h 10011"/>
              <a:gd name="connsiteX10" fmla="*/ 8616 w 8815"/>
              <a:gd name="connsiteY10" fmla="*/ 3388 h 10011"/>
              <a:gd name="connsiteX11" fmla="*/ 8550 w 8815"/>
              <a:gd name="connsiteY11" fmla="*/ 3816 h 10011"/>
              <a:gd name="connsiteX12" fmla="*/ 8517 w 8815"/>
              <a:gd name="connsiteY12" fmla="*/ 4046 h 10011"/>
              <a:gd name="connsiteX13" fmla="*/ 8473 w 8815"/>
              <a:gd name="connsiteY13" fmla="*/ 4243 h 10011"/>
              <a:gd name="connsiteX14" fmla="*/ 8434 w 8815"/>
              <a:gd name="connsiteY14" fmla="*/ 4408 h 10011"/>
              <a:gd name="connsiteX15" fmla="*/ 8384 w 8815"/>
              <a:gd name="connsiteY15" fmla="*/ 4605 h 10011"/>
              <a:gd name="connsiteX16" fmla="*/ 8335 w 8815"/>
              <a:gd name="connsiteY16" fmla="*/ 4737 h 10011"/>
              <a:gd name="connsiteX17" fmla="*/ 8285 w 8815"/>
              <a:gd name="connsiteY17" fmla="*/ 4901 h 10011"/>
              <a:gd name="connsiteX18" fmla="*/ 8230 w 8815"/>
              <a:gd name="connsiteY18" fmla="*/ 5000 h 10011"/>
              <a:gd name="connsiteX19" fmla="*/ 8163 w 8815"/>
              <a:gd name="connsiteY19" fmla="*/ 5099 h 10011"/>
              <a:gd name="connsiteX20" fmla="*/ 8103 w 8815"/>
              <a:gd name="connsiteY20" fmla="*/ 5197 h 10011"/>
              <a:gd name="connsiteX21" fmla="*/ 8031 w 8815"/>
              <a:gd name="connsiteY21" fmla="*/ 5230 h 10011"/>
              <a:gd name="connsiteX22" fmla="*/ 8031 w 8815"/>
              <a:gd name="connsiteY22" fmla="*/ 5230 h 10011"/>
              <a:gd name="connsiteX23" fmla="*/ 5 w 8815"/>
              <a:gd name="connsiteY23" fmla="*/ 9414 h 10011"/>
              <a:gd name="connsiteX24" fmla="*/ 0 w 8815"/>
              <a:gd name="connsiteY24" fmla="*/ 10011 h 10011"/>
              <a:gd name="connsiteX25" fmla="*/ 8815 w 8815"/>
              <a:gd name="connsiteY25" fmla="*/ 10000 h 10011"/>
              <a:gd name="connsiteX0" fmla="*/ 9996 w 9996"/>
              <a:gd name="connsiteY0" fmla="*/ 9989 h 10000"/>
              <a:gd name="connsiteX1" fmla="*/ 9996 w 9996"/>
              <a:gd name="connsiteY1" fmla="*/ 0 h 10000"/>
              <a:gd name="connsiteX2" fmla="*/ 9996 w 9996"/>
              <a:gd name="connsiteY2" fmla="*/ 0 h 10000"/>
              <a:gd name="connsiteX3" fmla="*/ 9996 w 9996"/>
              <a:gd name="connsiteY3" fmla="*/ 230 h 10000"/>
              <a:gd name="connsiteX4" fmla="*/ 9977 w 9996"/>
              <a:gd name="connsiteY4" fmla="*/ 756 h 10000"/>
              <a:gd name="connsiteX5" fmla="*/ 9964 w 9996"/>
              <a:gd name="connsiteY5" fmla="*/ 1117 h 10000"/>
              <a:gd name="connsiteX6" fmla="*/ 9939 w 9996"/>
              <a:gd name="connsiteY6" fmla="*/ 1544 h 10000"/>
              <a:gd name="connsiteX7" fmla="*/ 9914 w 9996"/>
              <a:gd name="connsiteY7" fmla="*/ 2005 h 10000"/>
              <a:gd name="connsiteX8" fmla="*/ 9877 w 9996"/>
              <a:gd name="connsiteY8" fmla="*/ 2464 h 10000"/>
              <a:gd name="connsiteX9" fmla="*/ 9827 w 9996"/>
              <a:gd name="connsiteY9" fmla="*/ 2925 h 10000"/>
              <a:gd name="connsiteX10" fmla="*/ 9770 w 9996"/>
              <a:gd name="connsiteY10" fmla="*/ 3384 h 10000"/>
              <a:gd name="connsiteX11" fmla="*/ 9695 w 9996"/>
              <a:gd name="connsiteY11" fmla="*/ 3812 h 10000"/>
              <a:gd name="connsiteX12" fmla="*/ 9658 w 9996"/>
              <a:gd name="connsiteY12" fmla="*/ 4042 h 10000"/>
              <a:gd name="connsiteX13" fmla="*/ 9608 w 9996"/>
              <a:gd name="connsiteY13" fmla="*/ 4238 h 10000"/>
              <a:gd name="connsiteX14" fmla="*/ 9564 w 9996"/>
              <a:gd name="connsiteY14" fmla="*/ 4403 h 10000"/>
              <a:gd name="connsiteX15" fmla="*/ 9507 w 9996"/>
              <a:gd name="connsiteY15" fmla="*/ 4600 h 10000"/>
              <a:gd name="connsiteX16" fmla="*/ 9451 w 9996"/>
              <a:gd name="connsiteY16" fmla="*/ 4732 h 10000"/>
              <a:gd name="connsiteX17" fmla="*/ 9395 w 9996"/>
              <a:gd name="connsiteY17" fmla="*/ 4896 h 10000"/>
              <a:gd name="connsiteX18" fmla="*/ 9332 w 9996"/>
              <a:gd name="connsiteY18" fmla="*/ 4995 h 10000"/>
              <a:gd name="connsiteX19" fmla="*/ 9256 w 9996"/>
              <a:gd name="connsiteY19" fmla="*/ 5093 h 10000"/>
              <a:gd name="connsiteX20" fmla="*/ 9188 w 9996"/>
              <a:gd name="connsiteY20" fmla="*/ 5191 h 10000"/>
              <a:gd name="connsiteX21" fmla="*/ 9107 w 9996"/>
              <a:gd name="connsiteY21" fmla="*/ 5224 h 10000"/>
              <a:gd name="connsiteX22" fmla="*/ 9107 w 9996"/>
              <a:gd name="connsiteY22" fmla="*/ 5224 h 10000"/>
              <a:gd name="connsiteX23" fmla="*/ 2 w 9996"/>
              <a:gd name="connsiteY23" fmla="*/ 9404 h 10000"/>
              <a:gd name="connsiteX24" fmla="*/ 0 w 9996"/>
              <a:gd name="connsiteY24" fmla="*/ 10000 h 10000"/>
              <a:gd name="connsiteX25" fmla="*/ 9996 w 9996"/>
              <a:gd name="connsiteY25" fmla="*/ 9989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9996" h="10000">
                <a:moveTo>
                  <a:pt x="9996" y="9989"/>
                </a:moveTo>
                <a:lnTo>
                  <a:pt x="9996" y="0"/>
                </a:lnTo>
                <a:lnTo>
                  <a:pt x="9996" y="0"/>
                </a:lnTo>
                <a:lnTo>
                  <a:pt x="9996" y="230"/>
                </a:lnTo>
                <a:cubicBezTo>
                  <a:pt x="9989" y="406"/>
                  <a:pt x="9984" y="580"/>
                  <a:pt x="9977" y="756"/>
                </a:cubicBezTo>
                <a:cubicBezTo>
                  <a:pt x="9972" y="876"/>
                  <a:pt x="9969" y="997"/>
                  <a:pt x="9964" y="1117"/>
                </a:cubicBezTo>
                <a:cubicBezTo>
                  <a:pt x="9956" y="1260"/>
                  <a:pt x="9947" y="1401"/>
                  <a:pt x="9939" y="1544"/>
                </a:cubicBezTo>
                <a:cubicBezTo>
                  <a:pt x="9931" y="1698"/>
                  <a:pt x="9922" y="1851"/>
                  <a:pt x="9914" y="2005"/>
                </a:cubicBezTo>
                <a:cubicBezTo>
                  <a:pt x="9902" y="2158"/>
                  <a:pt x="9889" y="2311"/>
                  <a:pt x="9877" y="2464"/>
                </a:cubicBezTo>
                <a:cubicBezTo>
                  <a:pt x="9860" y="2618"/>
                  <a:pt x="9844" y="2771"/>
                  <a:pt x="9827" y="2925"/>
                </a:cubicBezTo>
                <a:cubicBezTo>
                  <a:pt x="9808" y="3078"/>
                  <a:pt x="9790" y="3231"/>
                  <a:pt x="9770" y="3384"/>
                </a:cubicBezTo>
                <a:cubicBezTo>
                  <a:pt x="9745" y="3527"/>
                  <a:pt x="9720" y="3669"/>
                  <a:pt x="9695" y="3812"/>
                </a:cubicBezTo>
                <a:cubicBezTo>
                  <a:pt x="9683" y="3889"/>
                  <a:pt x="9670" y="3965"/>
                  <a:pt x="9658" y="4042"/>
                </a:cubicBezTo>
                <a:cubicBezTo>
                  <a:pt x="9641" y="4107"/>
                  <a:pt x="9625" y="4172"/>
                  <a:pt x="9608" y="4238"/>
                </a:cubicBezTo>
                <a:cubicBezTo>
                  <a:pt x="9593" y="4293"/>
                  <a:pt x="9579" y="4348"/>
                  <a:pt x="9564" y="4403"/>
                </a:cubicBezTo>
                <a:cubicBezTo>
                  <a:pt x="9544" y="4469"/>
                  <a:pt x="9526" y="4534"/>
                  <a:pt x="9507" y="4600"/>
                </a:cubicBezTo>
                <a:cubicBezTo>
                  <a:pt x="9489" y="4644"/>
                  <a:pt x="9470" y="4688"/>
                  <a:pt x="9451" y="4732"/>
                </a:cubicBezTo>
                <a:cubicBezTo>
                  <a:pt x="9432" y="4787"/>
                  <a:pt x="9414" y="4841"/>
                  <a:pt x="9395" y="4896"/>
                </a:cubicBezTo>
                <a:lnTo>
                  <a:pt x="9332" y="4995"/>
                </a:lnTo>
                <a:cubicBezTo>
                  <a:pt x="9307" y="5027"/>
                  <a:pt x="9281" y="5060"/>
                  <a:pt x="9256" y="5093"/>
                </a:cubicBezTo>
                <a:cubicBezTo>
                  <a:pt x="9234" y="5126"/>
                  <a:pt x="9211" y="5158"/>
                  <a:pt x="9188" y="5191"/>
                </a:cubicBezTo>
                <a:lnTo>
                  <a:pt x="9107" y="5224"/>
                </a:lnTo>
                <a:lnTo>
                  <a:pt x="9107" y="5224"/>
                </a:lnTo>
                <a:lnTo>
                  <a:pt x="2" y="9404"/>
                </a:lnTo>
                <a:cubicBezTo>
                  <a:pt x="-1" y="9602"/>
                  <a:pt x="2" y="9801"/>
                  <a:pt x="0" y="10000"/>
                </a:cubicBezTo>
                <a:lnTo>
                  <a:pt x="9996" y="9989"/>
                </a:lnTo>
                <a:close/>
              </a:path>
            </a:pathLst>
          </a:custGeom>
          <a:solidFill>
            <a:schemeClr val="accent6"/>
          </a:solidFill>
          <a:ln>
            <a:noFill/>
          </a:ln>
        </p:spPr>
        <p:txBody>
          <a:bodyPr vert="horz" wrap="square" lIns="133428" tIns="66715" rIns="133428" bIns="66715" numCol="1" anchor="t" anchorCtr="0" compatLnSpc="1">
            <a:prstTxWarp prst="textNoShape">
              <a:avLst/>
            </a:prstTxWarp>
          </a:bodyPr>
          <a:lstStyle/>
          <a:p>
            <a:endParaRPr lang="ja-JP" altLang="en-US" sz="2533"/>
          </a:p>
        </p:txBody>
      </p:sp>
      <p:sp>
        <p:nvSpPr>
          <p:cNvPr id="2" name="タイトル 1"/>
          <p:cNvSpPr>
            <a:spLocks noGrp="1"/>
          </p:cNvSpPr>
          <p:nvPr>
            <p:ph type="title"/>
          </p:nvPr>
        </p:nvSpPr>
        <p:spPr>
          <a:xfrm>
            <a:off x="368550" y="1959102"/>
            <a:ext cx="11451591" cy="540000"/>
          </a:xfrm>
          <a:prstGeom prst="rect">
            <a:avLst/>
          </a:prstGeom>
        </p:spPr>
        <p:txBody>
          <a:bodyPr lIns="95767" tIns="47884" rIns="95767" bIns="47884"/>
          <a:lstStyle>
            <a:lvl1pPr>
              <a:defRPr>
                <a:latin typeface="Meiryo UI" panose="020B0604030504040204" pitchFamily="50" charset="-128"/>
                <a:ea typeface="Meiryo UI" panose="020B0604030504040204" pitchFamily="50" charset="-128"/>
              </a:defRPr>
            </a:lvl1pPr>
          </a:lstStyle>
          <a:p>
            <a:r>
              <a:rPr kumimoji="1" lang="ja-JP" altLang="en-US"/>
              <a:t>マスター タイトルの書式設定</a:t>
            </a:r>
          </a:p>
        </p:txBody>
      </p:sp>
      <p:sp>
        <p:nvSpPr>
          <p:cNvPr id="6" name="スライド番号プレースホルダー 5"/>
          <p:cNvSpPr>
            <a:spLocks noGrp="1"/>
          </p:cNvSpPr>
          <p:nvPr>
            <p:ph type="sldNum" sz="quarter" idx="12"/>
          </p:nvPr>
        </p:nvSpPr>
        <p:spPr>
          <a:xfrm>
            <a:off x="11524630" y="6468878"/>
            <a:ext cx="555811" cy="289299"/>
          </a:xfrm>
          <a:prstGeom prst="rect">
            <a:avLst/>
          </a:prstGeom>
        </p:spPr>
        <p:txBody>
          <a:bodyPr lIns="95767" tIns="47884" rIns="95767" bIns="47884"/>
          <a:lstStyle>
            <a:lvl1pPr>
              <a:defRPr sz="1333"/>
            </a:lvl1pPr>
          </a:lstStyle>
          <a:p>
            <a:fld id="{2FF5E1DE-7B95-8A44-8552-65323269AE41}" type="slidenum">
              <a:rPr lang="ja-JP" altLang="en-US" smtClean="0"/>
              <a:pPr/>
              <a:t>‹#›</a:t>
            </a:fld>
            <a:endParaRPr lang="ja-JP" altLang="en-US"/>
          </a:p>
        </p:txBody>
      </p:sp>
      <p:pic>
        <p:nvPicPr>
          <p:cNvPr id="8" name="Picture 2" descr="C:\Users\00057835\AppData\Local\Temp\notesEA5B2A\グループ併記ロゴ（縦・英文）.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0756324" y="26652"/>
            <a:ext cx="1434080" cy="85801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14356187"/>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type="title" preserve="1">
  <p:cSld name="3_タイトル スライド">
    <p:spTree>
      <p:nvGrpSpPr>
        <p:cNvPr id="1" name=""/>
        <p:cNvGrpSpPr/>
        <p:nvPr/>
      </p:nvGrpSpPr>
      <p:grpSpPr>
        <a:xfrm>
          <a:off x="0" y="0"/>
          <a:ext cx="0" cy="0"/>
          <a:chOff x="0" y="0"/>
          <a:chExt cx="0" cy="0"/>
        </a:xfrm>
      </p:grpSpPr>
      <p:sp>
        <p:nvSpPr>
          <p:cNvPr id="10" name="Freeform 5"/>
          <p:cNvSpPr>
            <a:spLocks/>
          </p:cNvSpPr>
          <p:nvPr userDrawn="1"/>
        </p:nvSpPr>
        <p:spPr bwMode="auto">
          <a:xfrm>
            <a:off x="233538" y="169337"/>
            <a:ext cx="11730712" cy="5207000"/>
          </a:xfrm>
          <a:custGeom>
            <a:avLst/>
            <a:gdLst>
              <a:gd name="T0" fmla="*/ 0 w 1618"/>
              <a:gd name="T1" fmla="*/ 0 h 957"/>
              <a:gd name="T2" fmla="*/ 0 w 1618"/>
              <a:gd name="T3" fmla="*/ 957 h 957"/>
              <a:gd name="T4" fmla="*/ 1279 w 1618"/>
              <a:gd name="T5" fmla="*/ 842 h 957"/>
              <a:gd name="T6" fmla="*/ 1618 w 1618"/>
              <a:gd name="T7" fmla="*/ 472 h 957"/>
              <a:gd name="T8" fmla="*/ 1618 w 1618"/>
              <a:gd name="T9" fmla="*/ 0 h 957"/>
              <a:gd name="T10" fmla="*/ 0 w 1618"/>
              <a:gd name="T11" fmla="*/ 0 h 957"/>
            </a:gdLst>
            <a:ahLst/>
            <a:cxnLst>
              <a:cxn ang="0">
                <a:pos x="T0" y="T1"/>
              </a:cxn>
              <a:cxn ang="0">
                <a:pos x="T2" y="T3"/>
              </a:cxn>
              <a:cxn ang="0">
                <a:pos x="T4" y="T5"/>
              </a:cxn>
              <a:cxn ang="0">
                <a:pos x="T6" y="T7"/>
              </a:cxn>
              <a:cxn ang="0">
                <a:pos x="T8" y="T9"/>
              </a:cxn>
              <a:cxn ang="0">
                <a:pos x="T10" y="T11"/>
              </a:cxn>
            </a:cxnLst>
            <a:rect l="0" t="0" r="r" b="b"/>
            <a:pathLst>
              <a:path w="1618" h="957">
                <a:moveTo>
                  <a:pt x="0" y="0"/>
                </a:moveTo>
                <a:cubicBezTo>
                  <a:pt x="0" y="957"/>
                  <a:pt x="0" y="957"/>
                  <a:pt x="0" y="957"/>
                </a:cubicBezTo>
                <a:cubicBezTo>
                  <a:pt x="1279" y="842"/>
                  <a:pt x="1279" y="842"/>
                  <a:pt x="1279" y="842"/>
                </a:cubicBezTo>
                <a:cubicBezTo>
                  <a:pt x="1465" y="825"/>
                  <a:pt x="1618" y="659"/>
                  <a:pt x="1618" y="472"/>
                </a:cubicBezTo>
                <a:cubicBezTo>
                  <a:pt x="1618" y="0"/>
                  <a:pt x="1618" y="0"/>
                  <a:pt x="1618" y="0"/>
                </a:cubicBezTo>
                <a:lnTo>
                  <a:pt x="0" y="0"/>
                </a:lnTo>
                <a:close/>
              </a:path>
            </a:pathLst>
          </a:custGeom>
          <a:solidFill>
            <a:schemeClr val="accent4"/>
          </a:solidFill>
          <a:ln>
            <a:noFill/>
          </a:ln>
        </p:spPr>
        <p:txBody>
          <a:bodyPr lIns="127667" tIns="63834" rIns="127667" bIns="63834"/>
          <a:lstStyle/>
          <a:p>
            <a:endParaRPr lang="ja-JP" altLang="en-US" sz="2533"/>
          </a:p>
        </p:txBody>
      </p:sp>
      <p:sp>
        <p:nvSpPr>
          <p:cNvPr id="2" name="タイトル 1"/>
          <p:cNvSpPr>
            <a:spLocks noGrp="1"/>
          </p:cNvSpPr>
          <p:nvPr>
            <p:ph type="ctrTitle"/>
          </p:nvPr>
        </p:nvSpPr>
        <p:spPr>
          <a:xfrm>
            <a:off x="914400" y="1416804"/>
            <a:ext cx="10363200" cy="1470025"/>
          </a:xfrm>
          <a:prstGeom prst="rect">
            <a:avLst/>
          </a:prstGeom>
        </p:spPr>
        <p:txBody>
          <a:bodyPr lIns="95767" tIns="47884" rIns="95767" bIns="47884" anchor="b">
            <a:normAutofit/>
          </a:bodyPr>
          <a:lstStyle>
            <a:lvl1pPr algn="l">
              <a:defRPr sz="5199" kern="1200">
                <a:solidFill>
                  <a:schemeClr val="bg1"/>
                </a:solidFill>
              </a:defRPr>
            </a:lvl1pPr>
          </a:lstStyle>
          <a:p>
            <a:r>
              <a:rPr kumimoji="1" lang="ja-JP" altLang="en-US"/>
              <a:t>マスター タイトルの書式設定</a:t>
            </a:r>
          </a:p>
        </p:txBody>
      </p:sp>
      <p:sp>
        <p:nvSpPr>
          <p:cNvPr id="3" name="サブタイトル 2"/>
          <p:cNvSpPr>
            <a:spLocks noGrp="1"/>
          </p:cNvSpPr>
          <p:nvPr>
            <p:ph type="subTitle" idx="1"/>
          </p:nvPr>
        </p:nvSpPr>
        <p:spPr>
          <a:xfrm>
            <a:off x="916801" y="3420000"/>
            <a:ext cx="9691436" cy="977153"/>
          </a:xfrm>
          <a:prstGeom prst="rect">
            <a:avLst/>
          </a:prstGeom>
        </p:spPr>
        <p:txBody>
          <a:bodyPr lIns="95767" tIns="47884" rIns="95767" bIns="47884">
            <a:normAutofit/>
          </a:bodyPr>
          <a:lstStyle>
            <a:lvl1pPr marL="0" indent="0" algn="l">
              <a:buNone/>
              <a:defRPr sz="3333">
                <a:solidFill>
                  <a:schemeClr val="bg1"/>
                </a:solidFill>
              </a:defRPr>
            </a:lvl1pPr>
            <a:lvl2pPr marL="638335" indent="0" algn="ctr">
              <a:buNone/>
              <a:defRPr>
                <a:solidFill>
                  <a:schemeClr val="tx1">
                    <a:tint val="75000"/>
                  </a:schemeClr>
                </a:solidFill>
              </a:defRPr>
            </a:lvl2pPr>
            <a:lvl3pPr marL="1276669" indent="0" algn="ctr">
              <a:buNone/>
              <a:defRPr>
                <a:solidFill>
                  <a:schemeClr val="tx1">
                    <a:tint val="75000"/>
                  </a:schemeClr>
                </a:solidFill>
              </a:defRPr>
            </a:lvl3pPr>
            <a:lvl4pPr marL="1915003" indent="0" algn="ctr">
              <a:buNone/>
              <a:defRPr>
                <a:solidFill>
                  <a:schemeClr val="tx1">
                    <a:tint val="75000"/>
                  </a:schemeClr>
                </a:solidFill>
              </a:defRPr>
            </a:lvl4pPr>
            <a:lvl5pPr marL="2553338" indent="0" algn="ctr">
              <a:buNone/>
              <a:defRPr>
                <a:solidFill>
                  <a:schemeClr val="tx1">
                    <a:tint val="75000"/>
                  </a:schemeClr>
                </a:solidFill>
              </a:defRPr>
            </a:lvl5pPr>
            <a:lvl6pPr marL="3191671" indent="0" algn="ctr">
              <a:buNone/>
              <a:defRPr>
                <a:solidFill>
                  <a:schemeClr val="tx1">
                    <a:tint val="75000"/>
                  </a:schemeClr>
                </a:solidFill>
              </a:defRPr>
            </a:lvl6pPr>
            <a:lvl7pPr marL="3830007" indent="0" algn="ctr">
              <a:buNone/>
              <a:defRPr>
                <a:solidFill>
                  <a:schemeClr val="tx1">
                    <a:tint val="75000"/>
                  </a:schemeClr>
                </a:solidFill>
              </a:defRPr>
            </a:lvl7pPr>
            <a:lvl8pPr marL="4468342" indent="0" algn="ctr">
              <a:buNone/>
              <a:defRPr>
                <a:solidFill>
                  <a:schemeClr val="tx1">
                    <a:tint val="75000"/>
                  </a:schemeClr>
                </a:solidFill>
              </a:defRPr>
            </a:lvl8pPr>
            <a:lvl9pPr marL="5106676" indent="0" algn="ctr">
              <a:buNone/>
              <a:defRPr>
                <a:solidFill>
                  <a:schemeClr val="tx1">
                    <a:tint val="75000"/>
                  </a:schemeClr>
                </a:solidFill>
              </a:defRPr>
            </a:lvl9pPr>
          </a:lstStyle>
          <a:p>
            <a:r>
              <a:rPr kumimoji="1" lang="ja-JP" altLang="en-US"/>
              <a:t>マスター サブタイトルの書式設定</a:t>
            </a:r>
          </a:p>
        </p:txBody>
      </p:sp>
      <p:sp>
        <p:nvSpPr>
          <p:cNvPr id="9" name="フッター プレースホルダー 12"/>
          <p:cNvSpPr>
            <a:spLocks noGrp="1"/>
          </p:cNvSpPr>
          <p:nvPr>
            <p:ph type="ftr" sz="quarter" idx="11"/>
          </p:nvPr>
        </p:nvSpPr>
        <p:spPr>
          <a:xfrm>
            <a:off x="609599" y="6099529"/>
            <a:ext cx="7057660" cy="365125"/>
          </a:xfrm>
          <a:prstGeom prst="rect">
            <a:avLst/>
          </a:prstGeom>
        </p:spPr>
        <p:txBody>
          <a:bodyPr lIns="95767" tIns="47884" rIns="95767" bIns="47884"/>
          <a:lstStyle>
            <a:lvl1pPr algn="l">
              <a:defRPr sz="2266"/>
            </a:lvl1pPr>
          </a:lstStyle>
          <a:p>
            <a:endParaRPr lang="ja-JP" altLang="en-US"/>
          </a:p>
        </p:txBody>
      </p:sp>
      <p:sp>
        <p:nvSpPr>
          <p:cNvPr id="12" name="日付プレースホルダー 11"/>
          <p:cNvSpPr>
            <a:spLocks noGrp="1"/>
          </p:cNvSpPr>
          <p:nvPr>
            <p:ph type="dt" sz="half" idx="10"/>
          </p:nvPr>
        </p:nvSpPr>
        <p:spPr>
          <a:xfrm>
            <a:off x="609600" y="5691768"/>
            <a:ext cx="3860800" cy="365125"/>
          </a:xfrm>
          <a:prstGeom prst="rect">
            <a:avLst/>
          </a:prstGeom>
        </p:spPr>
        <p:txBody>
          <a:bodyPr lIns="95767" tIns="47884" rIns="95767" bIns="47884"/>
          <a:lstStyle>
            <a:lvl1pPr algn="l">
              <a:defRPr sz="2266">
                <a:solidFill>
                  <a:srgbClr val="000000"/>
                </a:solidFill>
              </a:defRPr>
            </a:lvl1pPr>
          </a:lstStyle>
          <a:p>
            <a:endParaRPr lang="ja-JP" altLang="en-US"/>
          </a:p>
        </p:txBody>
      </p:sp>
      <p:pic>
        <p:nvPicPr>
          <p:cNvPr id="8" name="Picture 2" descr="K:\新ロゴ（データ一式）\DLH_3_EN.png"/>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10521597" y="5335811"/>
            <a:ext cx="1644525" cy="152167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3934571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type="title" preserve="1">
  <p:cSld name="4_タイトル スライド">
    <p:spTree>
      <p:nvGrpSpPr>
        <p:cNvPr id="1" name=""/>
        <p:cNvGrpSpPr/>
        <p:nvPr/>
      </p:nvGrpSpPr>
      <p:grpSpPr>
        <a:xfrm>
          <a:off x="0" y="0"/>
          <a:ext cx="0" cy="0"/>
          <a:chOff x="0" y="0"/>
          <a:chExt cx="0" cy="0"/>
        </a:xfrm>
      </p:grpSpPr>
      <p:sp>
        <p:nvSpPr>
          <p:cNvPr id="10" name="Freeform 5"/>
          <p:cNvSpPr>
            <a:spLocks/>
          </p:cNvSpPr>
          <p:nvPr userDrawn="1"/>
        </p:nvSpPr>
        <p:spPr bwMode="auto">
          <a:xfrm>
            <a:off x="233538" y="169337"/>
            <a:ext cx="11730712" cy="5207000"/>
          </a:xfrm>
          <a:custGeom>
            <a:avLst/>
            <a:gdLst>
              <a:gd name="T0" fmla="*/ 0 w 1618"/>
              <a:gd name="T1" fmla="*/ 0 h 957"/>
              <a:gd name="T2" fmla="*/ 0 w 1618"/>
              <a:gd name="T3" fmla="*/ 957 h 957"/>
              <a:gd name="T4" fmla="*/ 1279 w 1618"/>
              <a:gd name="T5" fmla="*/ 842 h 957"/>
              <a:gd name="T6" fmla="*/ 1618 w 1618"/>
              <a:gd name="T7" fmla="*/ 472 h 957"/>
              <a:gd name="T8" fmla="*/ 1618 w 1618"/>
              <a:gd name="T9" fmla="*/ 0 h 957"/>
              <a:gd name="T10" fmla="*/ 0 w 1618"/>
              <a:gd name="T11" fmla="*/ 0 h 957"/>
            </a:gdLst>
            <a:ahLst/>
            <a:cxnLst>
              <a:cxn ang="0">
                <a:pos x="T0" y="T1"/>
              </a:cxn>
              <a:cxn ang="0">
                <a:pos x="T2" y="T3"/>
              </a:cxn>
              <a:cxn ang="0">
                <a:pos x="T4" y="T5"/>
              </a:cxn>
              <a:cxn ang="0">
                <a:pos x="T6" y="T7"/>
              </a:cxn>
              <a:cxn ang="0">
                <a:pos x="T8" y="T9"/>
              </a:cxn>
              <a:cxn ang="0">
                <a:pos x="T10" y="T11"/>
              </a:cxn>
            </a:cxnLst>
            <a:rect l="0" t="0" r="r" b="b"/>
            <a:pathLst>
              <a:path w="1618" h="957">
                <a:moveTo>
                  <a:pt x="0" y="0"/>
                </a:moveTo>
                <a:cubicBezTo>
                  <a:pt x="0" y="957"/>
                  <a:pt x="0" y="957"/>
                  <a:pt x="0" y="957"/>
                </a:cubicBezTo>
                <a:cubicBezTo>
                  <a:pt x="1279" y="842"/>
                  <a:pt x="1279" y="842"/>
                  <a:pt x="1279" y="842"/>
                </a:cubicBezTo>
                <a:cubicBezTo>
                  <a:pt x="1465" y="825"/>
                  <a:pt x="1618" y="659"/>
                  <a:pt x="1618" y="472"/>
                </a:cubicBezTo>
                <a:cubicBezTo>
                  <a:pt x="1618" y="0"/>
                  <a:pt x="1618" y="0"/>
                  <a:pt x="1618" y="0"/>
                </a:cubicBezTo>
                <a:lnTo>
                  <a:pt x="0" y="0"/>
                </a:lnTo>
                <a:close/>
              </a:path>
            </a:pathLst>
          </a:custGeom>
          <a:solidFill>
            <a:schemeClr val="accent5"/>
          </a:solidFill>
          <a:ln>
            <a:noFill/>
          </a:ln>
        </p:spPr>
        <p:txBody>
          <a:bodyPr lIns="127667" tIns="63834" rIns="127667" bIns="63834"/>
          <a:lstStyle/>
          <a:p>
            <a:endParaRPr lang="ja-JP" altLang="en-US" sz="2533"/>
          </a:p>
        </p:txBody>
      </p:sp>
      <p:sp>
        <p:nvSpPr>
          <p:cNvPr id="2" name="タイトル 1"/>
          <p:cNvSpPr>
            <a:spLocks noGrp="1"/>
          </p:cNvSpPr>
          <p:nvPr>
            <p:ph type="ctrTitle"/>
          </p:nvPr>
        </p:nvSpPr>
        <p:spPr>
          <a:xfrm>
            <a:off x="914400" y="1416804"/>
            <a:ext cx="10363200" cy="1470025"/>
          </a:xfrm>
          <a:prstGeom prst="rect">
            <a:avLst/>
          </a:prstGeom>
        </p:spPr>
        <p:txBody>
          <a:bodyPr lIns="95767" tIns="47884" rIns="95767" bIns="47884" anchor="b">
            <a:normAutofit/>
          </a:bodyPr>
          <a:lstStyle>
            <a:lvl1pPr algn="l">
              <a:defRPr sz="5199" kern="1200">
                <a:solidFill>
                  <a:schemeClr val="tx1"/>
                </a:solidFill>
              </a:defRPr>
            </a:lvl1pPr>
          </a:lstStyle>
          <a:p>
            <a:r>
              <a:rPr kumimoji="1" lang="ja-JP" altLang="en-US"/>
              <a:t>マスター タイトルの書式設定</a:t>
            </a:r>
          </a:p>
        </p:txBody>
      </p:sp>
      <p:sp>
        <p:nvSpPr>
          <p:cNvPr id="3" name="サブタイトル 2"/>
          <p:cNvSpPr>
            <a:spLocks noGrp="1"/>
          </p:cNvSpPr>
          <p:nvPr>
            <p:ph type="subTitle" idx="1"/>
          </p:nvPr>
        </p:nvSpPr>
        <p:spPr>
          <a:xfrm>
            <a:off x="916801" y="3420000"/>
            <a:ext cx="9691436" cy="977153"/>
          </a:xfrm>
          <a:prstGeom prst="rect">
            <a:avLst/>
          </a:prstGeom>
        </p:spPr>
        <p:txBody>
          <a:bodyPr lIns="95767" tIns="47884" rIns="95767" bIns="47884">
            <a:normAutofit/>
          </a:bodyPr>
          <a:lstStyle>
            <a:lvl1pPr marL="0" indent="0" algn="l">
              <a:buNone/>
              <a:defRPr sz="3333">
                <a:solidFill>
                  <a:schemeClr val="tx1"/>
                </a:solidFill>
              </a:defRPr>
            </a:lvl1pPr>
            <a:lvl2pPr marL="638335" indent="0" algn="ctr">
              <a:buNone/>
              <a:defRPr>
                <a:solidFill>
                  <a:schemeClr val="tx1">
                    <a:tint val="75000"/>
                  </a:schemeClr>
                </a:solidFill>
              </a:defRPr>
            </a:lvl2pPr>
            <a:lvl3pPr marL="1276669" indent="0" algn="ctr">
              <a:buNone/>
              <a:defRPr>
                <a:solidFill>
                  <a:schemeClr val="tx1">
                    <a:tint val="75000"/>
                  </a:schemeClr>
                </a:solidFill>
              </a:defRPr>
            </a:lvl3pPr>
            <a:lvl4pPr marL="1915003" indent="0" algn="ctr">
              <a:buNone/>
              <a:defRPr>
                <a:solidFill>
                  <a:schemeClr val="tx1">
                    <a:tint val="75000"/>
                  </a:schemeClr>
                </a:solidFill>
              </a:defRPr>
            </a:lvl4pPr>
            <a:lvl5pPr marL="2553338" indent="0" algn="ctr">
              <a:buNone/>
              <a:defRPr>
                <a:solidFill>
                  <a:schemeClr val="tx1">
                    <a:tint val="75000"/>
                  </a:schemeClr>
                </a:solidFill>
              </a:defRPr>
            </a:lvl5pPr>
            <a:lvl6pPr marL="3191671" indent="0" algn="ctr">
              <a:buNone/>
              <a:defRPr>
                <a:solidFill>
                  <a:schemeClr val="tx1">
                    <a:tint val="75000"/>
                  </a:schemeClr>
                </a:solidFill>
              </a:defRPr>
            </a:lvl6pPr>
            <a:lvl7pPr marL="3830007" indent="0" algn="ctr">
              <a:buNone/>
              <a:defRPr>
                <a:solidFill>
                  <a:schemeClr val="tx1">
                    <a:tint val="75000"/>
                  </a:schemeClr>
                </a:solidFill>
              </a:defRPr>
            </a:lvl7pPr>
            <a:lvl8pPr marL="4468342" indent="0" algn="ctr">
              <a:buNone/>
              <a:defRPr>
                <a:solidFill>
                  <a:schemeClr val="tx1">
                    <a:tint val="75000"/>
                  </a:schemeClr>
                </a:solidFill>
              </a:defRPr>
            </a:lvl8pPr>
            <a:lvl9pPr marL="5106676" indent="0" algn="ctr">
              <a:buNone/>
              <a:defRPr>
                <a:solidFill>
                  <a:schemeClr val="tx1">
                    <a:tint val="75000"/>
                  </a:schemeClr>
                </a:solidFill>
              </a:defRPr>
            </a:lvl9pPr>
          </a:lstStyle>
          <a:p>
            <a:r>
              <a:rPr kumimoji="1" lang="ja-JP" altLang="en-US"/>
              <a:t>マスター サブタイトルの書式設定</a:t>
            </a:r>
          </a:p>
        </p:txBody>
      </p:sp>
      <p:sp>
        <p:nvSpPr>
          <p:cNvPr id="8" name="フッター プレースホルダー 12"/>
          <p:cNvSpPr>
            <a:spLocks noGrp="1"/>
          </p:cNvSpPr>
          <p:nvPr>
            <p:ph type="ftr" sz="quarter" idx="11"/>
          </p:nvPr>
        </p:nvSpPr>
        <p:spPr>
          <a:xfrm>
            <a:off x="609600" y="6099529"/>
            <a:ext cx="6668998" cy="365125"/>
          </a:xfrm>
          <a:prstGeom prst="rect">
            <a:avLst/>
          </a:prstGeom>
        </p:spPr>
        <p:txBody>
          <a:bodyPr lIns="95767" tIns="47884" rIns="95767" bIns="47884"/>
          <a:lstStyle>
            <a:lvl1pPr algn="l">
              <a:defRPr sz="2266"/>
            </a:lvl1pPr>
          </a:lstStyle>
          <a:p>
            <a:endParaRPr lang="ja-JP" altLang="en-US"/>
          </a:p>
        </p:txBody>
      </p:sp>
      <p:sp>
        <p:nvSpPr>
          <p:cNvPr id="9" name="日付プレースホルダー 11"/>
          <p:cNvSpPr>
            <a:spLocks noGrp="1"/>
          </p:cNvSpPr>
          <p:nvPr>
            <p:ph type="dt" sz="half" idx="10"/>
          </p:nvPr>
        </p:nvSpPr>
        <p:spPr>
          <a:xfrm>
            <a:off x="609600" y="5691768"/>
            <a:ext cx="3860800" cy="365125"/>
          </a:xfrm>
          <a:prstGeom prst="rect">
            <a:avLst/>
          </a:prstGeom>
        </p:spPr>
        <p:txBody>
          <a:bodyPr lIns="95767" tIns="47884" rIns="95767" bIns="47884"/>
          <a:lstStyle>
            <a:lvl1pPr algn="l">
              <a:defRPr sz="2266">
                <a:solidFill>
                  <a:srgbClr val="000000"/>
                </a:solidFill>
              </a:defRPr>
            </a:lvl1pPr>
          </a:lstStyle>
          <a:p>
            <a:endParaRPr lang="ja-JP" altLang="en-US"/>
          </a:p>
        </p:txBody>
      </p:sp>
      <p:pic>
        <p:nvPicPr>
          <p:cNvPr id="11" name="Picture 2" descr="K:\新ロゴ（データ一式）\DLH_3_EN.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0521597" y="5335811"/>
            <a:ext cx="1644525" cy="152167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04635004"/>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13_タイトルとコンテンツ">
    <p:spTree>
      <p:nvGrpSpPr>
        <p:cNvPr id="1" name=""/>
        <p:cNvGrpSpPr/>
        <p:nvPr/>
      </p:nvGrpSpPr>
      <p:grpSpPr>
        <a:xfrm>
          <a:off x="0" y="0"/>
          <a:ext cx="0" cy="0"/>
          <a:chOff x="0" y="0"/>
          <a:chExt cx="0" cy="0"/>
        </a:xfrm>
      </p:grpSpPr>
      <p:sp>
        <p:nvSpPr>
          <p:cNvPr id="9" name="Freeform 8"/>
          <p:cNvSpPr>
            <a:spLocks/>
          </p:cNvSpPr>
          <p:nvPr userDrawn="1"/>
        </p:nvSpPr>
        <p:spPr bwMode="auto">
          <a:xfrm>
            <a:off x="-2100" y="5505984"/>
            <a:ext cx="12192504" cy="1353504"/>
          </a:xfrm>
          <a:custGeom>
            <a:avLst/>
            <a:gdLst>
              <a:gd name="T0" fmla="*/ 3622 w 3622"/>
              <a:gd name="T1" fmla="*/ 608 h 608"/>
              <a:gd name="T2" fmla="*/ 3622 w 3622"/>
              <a:gd name="T3" fmla="*/ 0 h 608"/>
              <a:gd name="T4" fmla="*/ 3622 w 3622"/>
              <a:gd name="T5" fmla="*/ 0 h 608"/>
              <a:gd name="T6" fmla="*/ 3622 w 3622"/>
              <a:gd name="T7" fmla="*/ 14 h 608"/>
              <a:gd name="T8" fmla="*/ 3616 w 3622"/>
              <a:gd name="T9" fmla="*/ 46 h 608"/>
              <a:gd name="T10" fmla="*/ 3612 w 3622"/>
              <a:gd name="T11" fmla="*/ 68 h 608"/>
              <a:gd name="T12" fmla="*/ 3604 w 3622"/>
              <a:gd name="T13" fmla="*/ 94 h 608"/>
              <a:gd name="T14" fmla="*/ 3596 w 3622"/>
              <a:gd name="T15" fmla="*/ 122 h 608"/>
              <a:gd name="T16" fmla="*/ 3584 w 3622"/>
              <a:gd name="T17" fmla="*/ 150 h 608"/>
              <a:gd name="T18" fmla="*/ 3568 w 3622"/>
              <a:gd name="T19" fmla="*/ 178 h 608"/>
              <a:gd name="T20" fmla="*/ 3550 w 3622"/>
              <a:gd name="T21" fmla="*/ 206 h 608"/>
              <a:gd name="T22" fmla="*/ 3526 w 3622"/>
              <a:gd name="T23" fmla="*/ 232 h 608"/>
              <a:gd name="T24" fmla="*/ 3514 w 3622"/>
              <a:gd name="T25" fmla="*/ 246 h 608"/>
              <a:gd name="T26" fmla="*/ 3498 w 3622"/>
              <a:gd name="T27" fmla="*/ 258 h 608"/>
              <a:gd name="T28" fmla="*/ 3484 w 3622"/>
              <a:gd name="T29" fmla="*/ 268 h 608"/>
              <a:gd name="T30" fmla="*/ 3466 w 3622"/>
              <a:gd name="T31" fmla="*/ 280 h 608"/>
              <a:gd name="T32" fmla="*/ 3448 w 3622"/>
              <a:gd name="T33" fmla="*/ 288 h 608"/>
              <a:gd name="T34" fmla="*/ 3430 w 3622"/>
              <a:gd name="T35" fmla="*/ 298 h 608"/>
              <a:gd name="T36" fmla="*/ 3410 w 3622"/>
              <a:gd name="T37" fmla="*/ 304 h 608"/>
              <a:gd name="T38" fmla="*/ 3386 w 3622"/>
              <a:gd name="T39" fmla="*/ 310 h 608"/>
              <a:gd name="T40" fmla="*/ 3364 w 3622"/>
              <a:gd name="T41" fmla="*/ 316 h 608"/>
              <a:gd name="T42" fmla="*/ 3338 w 3622"/>
              <a:gd name="T43" fmla="*/ 318 h 608"/>
              <a:gd name="T44" fmla="*/ 3338 w 3622"/>
              <a:gd name="T45" fmla="*/ 318 h 608"/>
              <a:gd name="T46" fmla="*/ 0 w 3622"/>
              <a:gd name="T47" fmla="*/ 608 h 608"/>
              <a:gd name="T48" fmla="*/ 3622 w 3622"/>
              <a:gd name="T49" fmla="*/ 608 h 608"/>
              <a:gd name="connsiteX0" fmla="*/ 10000 w 10000"/>
              <a:gd name="connsiteY0" fmla="*/ 10000 h 10000"/>
              <a:gd name="connsiteX1" fmla="*/ 10000 w 10000"/>
              <a:gd name="connsiteY1" fmla="*/ 0 h 10000"/>
              <a:gd name="connsiteX2" fmla="*/ 10000 w 10000"/>
              <a:gd name="connsiteY2" fmla="*/ 0 h 10000"/>
              <a:gd name="connsiteX3" fmla="*/ 10000 w 10000"/>
              <a:gd name="connsiteY3" fmla="*/ 230 h 10000"/>
              <a:gd name="connsiteX4" fmla="*/ 9983 w 10000"/>
              <a:gd name="connsiteY4" fmla="*/ 757 h 10000"/>
              <a:gd name="connsiteX5" fmla="*/ 9972 w 10000"/>
              <a:gd name="connsiteY5" fmla="*/ 1118 h 10000"/>
              <a:gd name="connsiteX6" fmla="*/ 9950 w 10000"/>
              <a:gd name="connsiteY6" fmla="*/ 1546 h 10000"/>
              <a:gd name="connsiteX7" fmla="*/ 9928 w 10000"/>
              <a:gd name="connsiteY7" fmla="*/ 2007 h 10000"/>
              <a:gd name="connsiteX8" fmla="*/ 9895 w 10000"/>
              <a:gd name="connsiteY8" fmla="*/ 2467 h 10000"/>
              <a:gd name="connsiteX9" fmla="*/ 9851 w 10000"/>
              <a:gd name="connsiteY9" fmla="*/ 2928 h 10000"/>
              <a:gd name="connsiteX10" fmla="*/ 9801 w 10000"/>
              <a:gd name="connsiteY10" fmla="*/ 3388 h 10000"/>
              <a:gd name="connsiteX11" fmla="*/ 9735 w 10000"/>
              <a:gd name="connsiteY11" fmla="*/ 3816 h 10000"/>
              <a:gd name="connsiteX12" fmla="*/ 9702 w 10000"/>
              <a:gd name="connsiteY12" fmla="*/ 4046 h 10000"/>
              <a:gd name="connsiteX13" fmla="*/ 9658 w 10000"/>
              <a:gd name="connsiteY13" fmla="*/ 4243 h 10000"/>
              <a:gd name="connsiteX14" fmla="*/ 9619 w 10000"/>
              <a:gd name="connsiteY14" fmla="*/ 4408 h 10000"/>
              <a:gd name="connsiteX15" fmla="*/ 9569 w 10000"/>
              <a:gd name="connsiteY15" fmla="*/ 4605 h 10000"/>
              <a:gd name="connsiteX16" fmla="*/ 9520 w 10000"/>
              <a:gd name="connsiteY16" fmla="*/ 4737 h 10000"/>
              <a:gd name="connsiteX17" fmla="*/ 9470 w 10000"/>
              <a:gd name="connsiteY17" fmla="*/ 4901 h 10000"/>
              <a:gd name="connsiteX18" fmla="*/ 9415 w 10000"/>
              <a:gd name="connsiteY18" fmla="*/ 5000 h 10000"/>
              <a:gd name="connsiteX19" fmla="*/ 9348 w 10000"/>
              <a:gd name="connsiteY19" fmla="*/ 5099 h 10000"/>
              <a:gd name="connsiteX20" fmla="*/ 9288 w 10000"/>
              <a:gd name="connsiteY20" fmla="*/ 5197 h 10000"/>
              <a:gd name="connsiteX21" fmla="*/ 9216 w 10000"/>
              <a:gd name="connsiteY21" fmla="*/ 5230 h 10000"/>
              <a:gd name="connsiteX22" fmla="*/ 9216 w 10000"/>
              <a:gd name="connsiteY22" fmla="*/ 5230 h 10000"/>
              <a:gd name="connsiteX23" fmla="*/ 1190 w 10000"/>
              <a:gd name="connsiteY23" fmla="*/ 9414 h 10000"/>
              <a:gd name="connsiteX24" fmla="*/ 0 w 10000"/>
              <a:gd name="connsiteY24" fmla="*/ 10000 h 10000"/>
              <a:gd name="connsiteX25" fmla="*/ 10000 w 10000"/>
              <a:gd name="connsiteY25" fmla="*/ 10000 h 10000"/>
              <a:gd name="connsiteX0" fmla="*/ 10000 w 10000"/>
              <a:gd name="connsiteY0" fmla="*/ 10000 h 10011"/>
              <a:gd name="connsiteX1" fmla="*/ 10000 w 10000"/>
              <a:gd name="connsiteY1" fmla="*/ 0 h 10011"/>
              <a:gd name="connsiteX2" fmla="*/ 10000 w 10000"/>
              <a:gd name="connsiteY2" fmla="*/ 0 h 10011"/>
              <a:gd name="connsiteX3" fmla="*/ 10000 w 10000"/>
              <a:gd name="connsiteY3" fmla="*/ 230 h 10011"/>
              <a:gd name="connsiteX4" fmla="*/ 9983 w 10000"/>
              <a:gd name="connsiteY4" fmla="*/ 757 h 10011"/>
              <a:gd name="connsiteX5" fmla="*/ 9972 w 10000"/>
              <a:gd name="connsiteY5" fmla="*/ 1118 h 10011"/>
              <a:gd name="connsiteX6" fmla="*/ 9950 w 10000"/>
              <a:gd name="connsiteY6" fmla="*/ 1546 h 10011"/>
              <a:gd name="connsiteX7" fmla="*/ 9928 w 10000"/>
              <a:gd name="connsiteY7" fmla="*/ 2007 h 10011"/>
              <a:gd name="connsiteX8" fmla="*/ 9895 w 10000"/>
              <a:gd name="connsiteY8" fmla="*/ 2467 h 10011"/>
              <a:gd name="connsiteX9" fmla="*/ 9851 w 10000"/>
              <a:gd name="connsiteY9" fmla="*/ 2928 h 10011"/>
              <a:gd name="connsiteX10" fmla="*/ 9801 w 10000"/>
              <a:gd name="connsiteY10" fmla="*/ 3388 h 10011"/>
              <a:gd name="connsiteX11" fmla="*/ 9735 w 10000"/>
              <a:gd name="connsiteY11" fmla="*/ 3816 h 10011"/>
              <a:gd name="connsiteX12" fmla="*/ 9702 w 10000"/>
              <a:gd name="connsiteY12" fmla="*/ 4046 h 10011"/>
              <a:gd name="connsiteX13" fmla="*/ 9658 w 10000"/>
              <a:gd name="connsiteY13" fmla="*/ 4243 h 10011"/>
              <a:gd name="connsiteX14" fmla="*/ 9619 w 10000"/>
              <a:gd name="connsiteY14" fmla="*/ 4408 h 10011"/>
              <a:gd name="connsiteX15" fmla="*/ 9569 w 10000"/>
              <a:gd name="connsiteY15" fmla="*/ 4605 h 10011"/>
              <a:gd name="connsiteX16" fmla="*/ 9520 w 10000"/>
              <a:gd name="connsiteY16" fmla="*/ 4737 h 10011"/>
              <a:gd name="connsiteX17" fmla="*/ 9470 w 10000"/>
              <a:gd name="connsiteY17" fmla="*/ 4901 h 10011"/>
              <a:gd name="connsiteX18" fmla="*/ 9415 w 10000"/>
              <a:gd name="connsiteY18" fmla="*/ 5000 h 10011"/>
              <a:gd name="connsiteX19" fmla="*/ 9348 w 10000"/>
              <a:gd name="connsiteY19" fmla="*/ 5099 h 10011"/>
              <a:gd name="connsiteX20" fmla="*/ 9288 w 10000"/>
              <a:gd name="connsiteY20" fmla="*/ 5197 h 10011"/>
              <a:gd name="connsiteX21" fmla="*/ 9216 w 10000"/>
              <a:gd name="connsiteY21" fmla="*/ 5230 h 10011"/>
              <a:gd name="connsiteX22" fmla="*/ 9216 w 10000"/>
              <a:gd name="connsiteY22" fmla="*/ 5230 h 10011"/>
              <a:gd name="connsiteX23" fmla="*/ 1190 w 10000"/>
              <a:gd name="connsiteY23" fmla="*/ 9414 h 10011"/>
              <a:gd name="connsiteX24" fmla="*/ 0 w 10000"/>
              <a:gd name="connsiteY24" fmla="*/ 10000 h 10011"/>
              <a:gd name="connsiteX25" fmla="*/ 1185 w 10000"/>
              <a:gd name="connsiteY25" fmla="*/ 10011 h 10011"/>
              <a:gd name="connsiteX26" fmla="*/ 10000 w 10000"/>
              <a:gd name="connsiteY26" fmla="*/ 10000 h 10011"/>
              <a:gd name="connsiteX0" fmla="*/ 8815 w 8815"/>
              <a:gd name="connsiteY0" fmla="*/ 10000 h 10011"/>
              <a:gd name="connsiteX1" fmla="*/ 8815 w 8815"/>
              <a:gd name="connsiteY1" fmla="*/ 0 h 10011"/>
              <a:gd name="connsiteX2" fmla="*/ 8815 w 8815"/>
              <a:gd name="connsiteY2" fmla="*/ 0 h 10011"/>
              <a:gd name="connsiteX3" fmla="*/ 8815 w 8815"/>
              <a:gd name="connsiteY3" fmla="*/ 230 h 10011"/>
              <a:gd name="connsiteX4" fmla="*/ 8798 w 8815"/>
              <a:gd name="connsiteY4" fmla="*/ 757 h 10011"/>
              <a:gd name="connsiteX5" fmla="*/ 8787 w 8815"/>
              <a:gd name="connsiteY5" fmla="*/ 1118 h 10011"/>
              <a:gd name="connsiteX6" fmla="*/ 8765 w 8815"/>
              <a:gd name="connsiteY6" fmla="*/ 1546 h 10011"/>
              <a:gd name="connsiteX7" fmla="*/ 8743 w 8815"/>
              <a:gd name="connsiteY7" fmla="*/ 2007 h 10011"/>
              <a:gd name="connsiteX8" fmla="*/ 8710 w 8815"/>
              <a:gd name="connsiteY8" fmla="*/ 2467 h 10011"/>
              <a:gd name="connsiteX9" fmla="*/ 8666 w 8815"/>
              <a:gd name="connsiteY9" fmla="*/ 2928 h 10011"/>
              <a:gd name="connsiteX10" fmla="*/ 8616 w 8815"/>
              <a:gd name="connsiteY10" fmla="*/ 3388 h 10011"/>
              <a:gd name="connsiteX11" fmla="*/ 8550 w 8815"/>
              <a:gd name="connsiteY11" fmla="*/ 3816 h 10011"/>
              <a:gd name="connsiteX12" fmla="*/ 8517 w 8815"/>
              <a:gd name="connsiteY12" fmla="*/ 4046 h 10011"/>
              <a:gd name="connsiteX13" fmla="*/ 8473 w 8815"/>
              <a:gd name="connsiteY13" fmla="*/ 4243 h 10011"/>
              <a:gd name="connsiteX14" fmla="*/ 8434 w 8815"/>
              <a:gd name="connsiteY14" fmla="*/ 4408 h 10011"/>
              <a:gd name="connsiteX15" fmla="*/ 8384 w 8815"/>
              <a:gd name="connsiteY15" fmla="*/ 4605 h 10011"/>
              <a:gd name="connsiteX16" fmla="*/ 8335 w 8815"/>
              <a:gd name="connsiteY16" fmla="*/ 4737 h 10011"/>
              <a:gd name="connsiteX17" fmla="*/ 8285 w 8815"/>
              <a:gd name="connsiteY17" fmla="*/ 4901 h 10011"/>
              <a:gd name="connsiteX18" fmla="*/ 8230 w 8815"/>
              <a:gd name="connsiteY18" fmla="*/ 5000 h 10011"/>
              <a:gd name="connsiteX19" fmla="*/ 8163 w 8815"/>
              <a:gd name="connsiteY19" fmla="*/ 5099 h 10011"/>
              <a:gd name="connsiteX20" fmla="*/ 8103 w 8815"/>
              <a:gd name="connsiteY20" fmla="*/ 5197 h 10011"/>
              <a:gd name="connsiteX21" fmla="*/ 8031 w 8815"/>
              <a:gd name="connsiteY21" fmla="*/ 5230 h 10011"/>
              <a:gd name="connsiteX22" fmla="*/ 8031 w 8815"/>
              <a:gd name="connsiteY22" fmla="*/ 5230 h 10011"/>
              <a:gd name="connsiteX23" fmla="*/ 5 w 8815"/>
              <a:gd name="connsiteY23" fmla="*/ 9414 h 10011"/>
              <a:gd name="connsiteX24" fmla="*/ 0 w 8815"/>
              <a:gd name="connsiteY24" fmla="*/ 10011 h 10011"/>
              <a:gd name="connsiteX25" fmla="*/ 8815 w 8815"/>
              <a:gd name="connsiteY25" fmla="*/ 10000 h 10011"/>
              <a:gd name="connsiteX0" fmla="*/ 9996 w 9996"/>
              <a:gd name="connsiteY0" fmla="*/ 9989 h 10000"/>
              <a:gd name="connsiteX1" fmla="*/ 9996 w 9996"/>
              <a:gd name="connsiteY1" fmla="*/ 0 h 10000"/>
              <a:gd name="connsiteX2" fmla="*/ 9996 w 9996"/>
              <a:gd name="connsiteY2" fmla="*/ 0 h 10000"/>
              <a:gd name="connsiteX3" fmla="*/ 9996 w 9996"/>
              <a:gd name="connsiteY3" fmla="*/ 230 h 10000"/>
              <a:gd name="connsiteX4" fmla="*/ 9977 w 9996"/>
              <a:gd name="connsiteY4" fmla="*/ 756 h 10000"/>
              <a:gd name="connsiteX5" fmla="*/ 9964 w 9996"/>
              <a:gd name="connsiteY5" fmla="*/ 1117 h 10000"/>
              <a:gd name="connsiteX6" fmla="*/ 9939 w 9996"/>
              <a:gd name="connsiteY6" fmla="*/ 1544 h 10000"/>
              <a:gd name="connsiteX7" fmla="*/ 9914 w 9996"/>
              <a:gd name="connsiteY7" fmla="*/ 2005 h 10000"/>
              <a:gd name="connsiteX8" fmla="*/ 9877 w 9996"/>
              <a:gd name="connsiteY8" fmla="*/ 2464 h 10000"/>
              <a:gd name="connsiteX9" fmla="*/ 9827 w 9996"/>
              <a:gd name="connsiteY9" fmla="*/ 2925 h 10000"/>
              <a:gd name="connsiteX10" fmla="*/ 9770 w 9996"/>
              <a:gd name="connsiteY10" fmla="*/ 3384 h 10000"/>
              <a:gd name="connsiteX11" fmla="*/ 9695 w 9996"/>
              <a:gd name="connsiteY11" fmla="*/ 3812 h 10000"/>
              <a:gd name="connsiteX12" fmla="*/ 9658 w 9996"/>
              <a:gd name="connsiteY12" fmla="*/ 4042 h 10000"/>
              <a:gd name="connsiteX13" fmla="*/ 9608 w 9996"/>
              <a:gd name="connsiteY13" fmla="*/ 4238 h 10000"/>
              <a:gd name="connsiteX14" fmla="*/ 9564 w 9996"/>
              <a:gd name="connsiteY14" fmla="*/ 4403 h 10000"/>
              <a:gd name="connsiteX15" fmla="*/ 9507 w 9996"/>
              <a:gd name="connsiteY15" fmla="*/ 4600 h 10000"/>
              <a:gd name="connsiteX16" fmla="*/ 9451 w 9996"/>
              <a:gd name="connsiteY16" fmla="*/ 4732 h 10000"/>
              <a:gd name="connsiteX17" fmla="*/ 9395 w 9996"/>
              <a:gd name="connsiteY17" fmla="*/ 4896 h 10000"/>
              <a:gd name="connsiteX18" fmla="*/ 9332 w 9996"/>
              <a:gd name="connsiteY18" fmla="*/ 4995 h 10000"/>
              <a:gd name="connsiteX19" fmla="*/ 9256 w 9996"/>
              <a:gd name="connsiteY19" fmla="*/ 5093 h 10000"/>
              <a:gd name="connsiteX20" fmla="*/ 9188 w 9996"/>
              <a:gd name="connsiteY20" fmla="*/ 5191 h 10000"/>
              <a:gd name="connsiteX21" fmla="*/ 9107 w 9996"/>
              <a:gd name="connsiteY21" fmla="*/ 5224 h 10000"/>
              <a:gd name="connsiteX22" fmla="*/ 9107 w 9996"/>
              <a:gd name="connsiteY22" fmla="*/ 5224 h 10000"/>
              <a:gd name="connsiteX23" fmla="*/ 2 w 9996"/>
              <a:gd name="connsiteY23" fmla="*/ 9404 h 10000"/>
              <a:gd name="connsiteX24" fmla="*/ 0 w 9996"/>
              <a:gd name="connsiteY24" fmla="*/ 10000 h 10000"/>
              <a:gd name="connsiteX25" fmla="*/ 9996 w 9996"/>
              <a:gd name="connsiteY25" fmla="*/ 9989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9996" h="10000">
                <a:moveTo>
                  <a:pt x="9996" y="9989"/>
                </a:moveTo>
                <a:lnTo>
                  <a:pt x="9996" y="0"/>
                </a:lnTo>
                <a:lnTo>
                  <a:pt x="9996" y="0"/>
                </a:lnTo>
                <a:lnTo>
                  <a:pt x="9996" y="230"/>
                </a:lnTo>
                <a:cubicBezTo>
                  <a:pt x="9989" y="406"/>
                  <a:pt x="9984" y="580"/>
                  <a:pt x="9977" y="756"/>
                </a:cubicBezTo>
                <a:cubicBezTo>
                  <a:pt x="9972" y="876"/>
                  <a:pt x="9969" y="997"/>
                  <a:pt x="9964" y="1117"/>
                </a:cubicBezTo>
                <a:cubicBezTo>
                  <a:pt x="9956" y="1260"/>
                  <a:pt x="9947" y="1401"/>
                  <a:pt x="9939" y="1544"/>
                </a:cubicBezTo>
                <a:cubicBezTo>
                  <a:pt x="9931" y="1698"/>
                  <a:pt x="9922" y="1851"/>
                  <a:pt x="9914" y="2005"/>
                </a:cubicBezTo>
                <a:cubicBezTo>
                  <a:pt x="9902" y="2158"/>
                  <a:pt x="9889" y="2311"/>
                  <a:pt x="9877" y="2464"/>
                </a:cubicBezTo>
                <a:cubicBezTo>
                  <a:pt x="9860" y="2618"/>
                  <a:pt x="9844" y="2771"/>
                  <a:pt x="9827" y="2925"/>
                </a:cubicBezTo>
                <a:cubicBezTo>
                  <a:pt x="9808" y="3078"/>
                  <a:pt x="9790" y="3231"/>
                  <a:pt x="9770" y="3384"/>
                </a:cubicBezTo>
                <a:cubicBezTo>
                  <a:pt x="9745" y="3527"/>
                  <a:pt x="9720" y="3669"/>
                  <a:pt x="9695" y="3812"/>
                </a:cubicBezTo>
                <a:cubicBezTo>
                  <a:pt x="9683" y="3889"/>
                  <a:pt x="9670" y="3965"/>
                  <a:pt x="9658" y="4042"/>
                </a:cubicBezTo>
                <a:cubicBezTo>
                  <a:pt x="9641" y="4107"/>
                  <a:pt x="9625" y="4172"/>
                  <a:pt x="9608" y="4238"/>
                </a:cubicBezTo>
                <a:cubicBezTo>
                  <a:pt x="9593" y="4293"/>
                  <a:pt x="9579" y="4348"/>
                  <a:pt x="9564" y="4403"/>
                </a:cubicBezTo>
                <a:cubicBezTo>
                  <a:pt x="9544" y="4469"/>
                  <a:pt x="9526" y="4534"/>
                  <a:pt x="9507" y="4600"/>
                </a:cubicBezTo>
                <a:cubicBezTo>
                  <a:pt x="9489" y="4644"/>
                  <a:pt x="9470" y="4688"/>
                  <a:pt x="9451" y="4732"/>
                </a:cubicBezTo>
                <a:cubicBezTo>
                  <a:pt x="9432" y="4787"/>
                  <a:pt x="9414" y="4841"/>
                  <a:pt x="9395" y="4896"/>
                </a:cubicBezTo>
                <a:lnTo>
                  <a:pt x="9332" y="4995"/>
                </a:lnTo>
                <a:cubicBezTo>
                  <a:pt x="9307" y="5027"/>
                  <a:pt x="9281" y="5060"/>
                  <a:pt x="9256" y="5093"/>
                </a:cubicBezTo>
                <a:cubicBezTo>
                  <a:pt x="9234" y="5126"/>
                  <a:pt x="9211" y="5158"/>
                  <a:pt x="9188" y="5191"/>
                </a:cubicBezTo>
                <a:lnTo>
                  <a:pt x="9107" y="5224"/>
                </a:lnTo>
                <a:lnTo>
                  <a:pt x="9107" y="5224"/>
                </a:lnTo>
                <a:lnTo>
                  <a:pt x="2" y="9404"/>
                </a:lnTo>
                <a:cubicBezTo>
                  <a:pt x="-1" y="9602"/>
                  <a:pt x="2" y="9801"/>
                  <a:pt x="0" y="10000"/>
                </a:cubicBezTo>
                <a:lnTo>
                  <a:pt x="9996" y="9989"/>
                </a:lnTo>
                <a:close/>
              </a:path>
            </a:pathLst>
          </a:custGeom>
          <a:solidFill>
            <a:schemeClr val="accent6"/>
          </a:solidFill>
          <a:ln>
            <a:noFill/>
          </a:ln>
        </p:spPr>
        <p:txBody>
          <a:bodyPr vert="horz" wrap="square" lIns="133428" tIns="66715" rIns="133428" bIns="66715" numCol="1" anchor="t" anchorCtr="0" compatLnSpc="1">
            <a:prstTxWarp prst="textNoShape">
              <a:avLst/>
            </a:prstTxWarp>
          </a:bodyPr>
          <a:lstStyle/>
          <a:p>
            <a:endParaRPr lang="ja-JP" altLang="en-US" sz="2533"/>
          </a:p>
        </p:txBody>
      </p:sp>
      <p:sp>
        <p:nvSpPr>
          <p:cNvPr id="2" name="タイトル 1"/>
          <p:cNvSpPr>
            <a:spLocks noGrp="1"/>
          </p:cNvSpPr>
          <p:nvPr>
            <p:ph type="title"/>
          </p:nvPr>
        </p:nvSpPr>
        <p:spPr>
          <a:xfrm>
            <a:off x="368550" y="1959102"/>
            <a:ext cx="11451591" cy="540000"/>
          </a:xfrm>
          <a:prstGeom prst="rect">
            <a:avLst/>
          </a:prstGeom>
        </p:spPr>
        <p:txBody>
          <a:bodyPr lIns="95767" tIns="47884" rIns="95767" bIns="47884"/>
          <a:lstStyle/>
          <a:p>
            <a:r>
              <a:rPr kumimoji="1" lang="ja-JP" altLang="en-US"/>
              <a:t>マスター タイトルの書式設定</a:t>
            </a:r>
          </a:p>
        </p:txBody>
      </p:sp>
      <p:sp>
        <p:nvSpPr>
          <p:cNvPr id="6" name="スライド番号プレースホルダー 5"/>
          <p:cNvSpPr>
            <a:spLocks noGrp="1"/>
          </p:cNvSpPr>
          <p:nvPr>
            <p:ph type="sldNum" sz="quarter" idx="12"/>
          </p:nvPr>
        </p:nvSpPr>
        <p:spPr>
          <a:xfrm>
            <a:off x="11524630" y="6468878"/>
            <a:ext cx="555811" cy="289299"/>
          </a:xfrm>
          <a:prstGeom prst="rect">
            <a:avLst/>
          </a:prstGeom>
        </p:spPr>
        <p:txBody>
          <a:bodyPr lIns="95767" tIns="47884" rIns="95767" bIns="47884"/>
          <a:lstStyle>
            <a:lvl1pPr>
              <a:defRPr sz="1333"/>
            </a:lvl1pPr>
          </a:lstStyle>
          <a:p>
            <a:fld id="{2FF5E1DE-7B95-8A44-8552-65323269AE41}" type="slidenum">
              <a:rPr lang="ja-JP" altLang="en-US" smtClean="0"/>
              <a:pPr/>
              <a:t>‹#›</a:t>
            </a:fld>
            <a:endParaRPr lang="ja-JP" altLang="en-US"/>
          </a:p>
        </p:txBody>
      </p:sp>
      <p:pic>
        <p:nvPicPr>
          <p:cNvPr id="7" name="Picture 2" descr="K:\新ロゴ（データ一式）\DLH_3_EN.png"/>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11038066" y="5444"/>
            <a:ext cx="973128" cy="90043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1740109"/>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obj" preserve="1">
  <p:cSld name="14_タイトルとコンテンツ">
    <p:spTree>
      <p:nvGrpSpPr>
        <p:cNvPr id="1" name=""/>
        <p:cNvGrpSpPr/>
        <p:nvPr/>
      </p:nvGrpSpPr>
      <p:grpSpPr>
        <a:xfrm>
          <a:off x="0" y="0"/>
          <a:ext cx="0" cy="0"/>
          <a:chOff x="0" y="0"/>
          <a:chExt cx="0" cy="0"/>
        </a:xfrm>
      </p:grpSpPr>
      <p:sp>
        <p:nvSpPr>
          <p:cNvPr id="9" name="Freeform 8"/>
          <p:cNvSpPr>
            <a:spLocks/>
          </p:cNvSpPr>
          <p:nvPr userDrawn="1"/>
        </p:nvSpPr>
        <p:spPr bwMode="auto">
          <a:xfrm>
            <a:off x="-2100" y="5505984"/>
            <a:ext cx="12192504" cy="1353504"/>
          </a:xfrm>
          <a:custGeom>
            <a:avLst/>
            <a:gdLst>
              <a:gd name="T0" fmla="*/ 3622 w 3622"/>
              <a:gd name="T1" fmla="*/ 608 h 608"/>
              <a:gd name="T2" fmla="*/ 3622 w 3622"/>
              <a:gd name="T3" fmla="*/ 0 h 608"/>
              <a:gd name="T4" fmla="*/ 3622 w 3622"/>
              <a:gd name="T5" fmla="*/ 0 h 608"/>
              <a:gd name="T6" fmla="*/ 3622 w 3622"/>
              <a:gd name="T7" fmla="*/ 14 h 608"/>
              <a:gd name="T8" fmla="*/ 3616 w 3622"/>
              <a:gd name="T9" fmla="*/ 46 h 608"/>
              <a:gd name="T10" fmla="*/ 3612 w 3622"/>
              <a:gd name="T11" fmla="*/ 68 h 608"/>
              <a:gd name="T12" fmla="*/ 3604 w 3622"/>
              <a:gd name="T13" fmla="*/ 94 h 608"/>
              <a:gd name="T14" fmla="*/ 3596 w 3622"/>
              <a:gd name="T15" fmla="*/ 122 h 608"/>
              <a:gd name="T16" fmla="*/ 3584 w 3622"/>
              <a:gd name="T17" fmla="*/ 150 h 608"/>
              <a:gd name="T18" fmla="*/ 3568 w 3622"/>
              <a:gd name="T19" fmla="*/ 178 h 608"/>
              <a:gd name="T20" fmla="*/ 3550 w 3622"/>
              <a:gd name="T21" fmla="*/ 206 h 608"/>
              <a:gd name="T22" fmla="*/ 3526 w 3622"/>
              <a:gd name="T23" fmla="*/ 232 h 608"/>
              <a:gd name="T24" fmla="*/ 3514 w 3622"/>
              <a:gd name="T25" fmla="*/ 246 h 608"/>
              <a:gd name="T26" fmla="*/ 3498 w 3622"/>
              <a:gd name="T27" fmla="*/ 258 h 608"/>
              <a:gd name="T28" fmla="*/ 3484 w 3622"/>
              <a:gd name="T29" fmla="*/ 268 h 608"/>
              <a:gd name="T30" fmla="*/ 3466 w 3622"/>
              <a:gd name="T31" fmla="*/ 280 h 608"/>
              <a:gd name="T32" fmla="*/ 3448 w 3622"/>
              <a:gd name="T33" fmla="*/ 288 h 608"/>
              <a:gd name="T34" fmla="*/ 3430 w 3622"/>
              <a:gd name="T35" fmla="*/ 298 h 608"/>
              <a:gd name="T36" fmla="*/ 3410 w 3622"/>
              <a:gd name="T37" fmla="*/ 304 h 608"/>
              <a:gd name="T38" fmla="*/ 3386 w 3622"/>
              <a:gd name="T39" fmla="*/ 310 h 608"/>
              <a:gd name="T40" fmla="*/ 3364 w 3622"/>
              <a:gd name="T41" fmla="*/ 316 h 608"/>
              <a:gd name="T42" fmla="*/ 3338 w 3622"/>
              <a:gd name="T43" fmla="*/ 318 h 608"/>
              <a:gd name="T44" fmla="*/ 3338 w 3622"/>
              <a:gd name="T45" fmla="*/ 318 h 608"/>
              <a:gd name="T46" fmla="*/ 0 w 3622"/>
              <a:gd name="T47" fmla="*/ 608 h 608"/>
              <a:gd name="T48" fmla="*/ 3622 w 3622"/>
              <a:gd name="T49" fmla="*/ 608 h 608"/>
              <a:gd name="connsiteX0" fmla="*/ 10000 w 10000"/>
              <a:gd name="connsiteY0" fmla="*/ 10000 h 10000"/>
              <a:gd name="connsiteX1" fmla="*/ 10000 w 10000"/>
              <a:gd name="connsiteY1" fmla="*/ 0 h 10000"/>
              <a:gd name="connsiteX2" fmla="*/ 10000 w 10000"/>
              <a:gd name="connsiteY2" fmla="*/ 0 h 10000"/>
              <a:gd name="connsiteX3" fmla="*/ 10000 w 10000"/>
              <a:gd name="connsiteY3" fmla="*/ 230 h 10000"/>
              <a:gd name="connsiteX4" fmla="*/ 9983 w 10000"/>
              <a:gd name="connsiteY4" fmla="*/ 757 h 10000"/>
              <a:gd name="connsiteX5" fmla="*/ 9972 w 10000"/>
              <a:gd name="connsiteY5" fmla="*/ 1118 h 10000"/>
              <a:gd name="connsiteX6" fmla="*/ 9950 w 10000"/>
              <a:gd name="connsiteY6" fmla="*/ 1546 h 10000"/>
              <a:gd name="connsiteX7" fmla="*/ 9928 w 10000"/>
              <a:gd name="connsiteY7" fmla="*/ 2007 h 10000"/>
              <a:gd name="connsiteX8" fmla="*/ 9895 w 10000"/>
              <a:gd name="connsiteY8" fmla="*/ 2467 h 10000"/>
              <a:gd name="connsiteX9" fmla="*/ 9851 w 10000"/>
              <a:gd name="connsiteY9" fmla="*/ 2928 h 10000"/>
              <a:gd name="connsiteX10" fmla="*/ 9801 w 10000"/>
              <a:gd name="connsiteY10" fmla="*/ 3388 h 10000"/>
              <a:gd name="connsiteX11" fmla="*/ 9735 w 10000"/>
              <a:gd name="connsiteY11" fmla="*/ 3816 h 10000"/>
              <a:gd name="connsiteX12" fmla="*/ 9702 w 10000"/>
              <a:gd name="connsiteY12" fmla="*/ 4046 h 10000"/>
              <a:gd name="connsiteX13" fmla="*/ 9658 w 10000"/>
              <a:gd name="connsiteY13" fmla="*/ 4243 h 10000"/>
              <a:gd name="connsiteX14" fmla="*/ 9619 w 10000"/>
              <a:gd name="connsiteY14" fmla="*/ 4408 h 10000"/>
              <a:gd name="connsiteX15" fmla="*/ 9569 w 10000"/>
              <a:gd name="connsiteY15" fmla="*/ 4605 h 10000"/>
              <a:gd name="connsiteX16" fmla="*/ 9520 w 10000"/>
              <a:gd name="connsiteY16" fmla="*/ 4737 h 10000"/>
              <a:gd name="connsiteX17" fmla="*/ 9470 w 10000"/>
              <a:gd name="connsiteY17" fmla="*/ 4901 h 10000"/>
              <a:gd name="connsiteX18" fmla="*/ 9415 w 10000"/>
              <a:gd name="connsiteY18" fmla="*/ 5000 h 10000"/>
              <a:gd name="connsiteX19" fmla="*/ 9348 w 10000"/>
              <a:gd name="connsiteY19" fmla="*/ 5099 h 10000"/>
              <a:gd name="connsiteX20" fmla="*/ 9288 w 10000"/>
              <a:gd name="connsiteY20" fmla="*/ 5197 h 10000"/>
              <a:gd name="connsiteX21" fmla="*/ 9216 w 10000"/>
              <a:gd name="connsiteY21" fmla="*/ 5230 h 10000"/>
              <a:gd name="connsiteX22" fmla="*/ 9216 w 10000"/>
              <a:gd name="connsiteY22" fmla="*/ 5230 h 10000"/>
              <a:gd name="connsiteX23" fmla="*/ 1190 w 10000"/>
              <a:gd name="connsiteY23" fmla="*/ 9414 h 10000"/>
              <a:gd name="connsiteX24" fmla="*/ 0 w 10000"/>
              <a:gd name="connsiteY24" fmla="*/ 10000 h 10000"/>
              <a:gd name="connsiteX25" fmla="*/ 10000 w 10000"/>
              <a:gd name="connsiteY25" fmla="*/ 10000 h 10000"/>
              <a:gd name="connsiteX0" fmla="*/ 10000 w 10000"/>
              <a:gd name="connsiteY0" fmla="*/ 10000 h 10011"/>
              <a:gd name="connsiteX1" fmla="*/ 10000 w 10000"/>
              <a:gd name="connsiteY1" fmla="*/ 0 h 10011"/>
              <a:gd name="connsiteX2" fmla="*/ 10000 w 10000"/>
              <a:gd name="connsiteY2" fmla="*/ 0 h 10011"/>
              <a:gd name="connsiteX3" fmla="*/ 10000 w 10000"/>
              <a:gd name="connsiteY3" fmla="*/ 230 h 10011"/>
              <a:gd name="connsiteX4" fmla="*/ 9983 w 10000"/>
              <a:gd name="connsiteY4" fmla="*/ 757 h 10011"/>
              <a:gd name="connsiteX5" fmla="*/ 9972 w 10000"/>
              <a:gd name="connsiteY5" fmla="*/ 1118 h 10011"/>
              <a:gd name="connsiteX6" fmla="*/ 9950 w 10000"/>
              <a:gd name="connsiteY6" fmla="*/ 1546 h 10011"/>
              <a:gd name="connsiteX7" fmla="*/ 9928 w 10000"/>
              <a:gd name="connsiteY7" fmla="*/ 2007 h 10011"/>
              <a:gd name="connsiteX8" fmla="*/ 9895 w 10000"/>
              <a:gd name="connsiteY8" fmla="*/ 2467 h 10011"/>
              <a:gd name="connsiteX9" fmla="*/ 9851 w 10000"/>
              <a:gd name="connsiteY9" fmla="*/ 2928 h 10011"/>
              <a:gd name="connsiteX10" fmla="*/ 9801 w 10000"/>
              <a:gd name="connsiteY10" fmla="*/ 3388 h 10011"/>
              <a:gd name="connsiteX11" fmla="*/ 9735 w 10000"/>
              <a:gd name="connsiteY11" fmla="*/ 3816 h 10011"/>
              <a:gd name="connsiteX12" fmla="*/ 9702 w 10000"/>
              <a:gd name="connsiteY12" fmla="*/ 4046 h 10011"/>
              <a:gd name="connsiteX13" fmla="*/ 9658 w 10000"/>
              <a:gd name="connsiteY13" fmla="*/ 4243 h 10011"/>
              <a:gd name="connsiteX14" fmla="*/ 9619 w 10000"/>
              <a:gd name="connsiteY14" fmla="*/ 4408 h 10011"/>
              <a:gd name="connsiteX15" fmla="*/ 9569 w 10000"/>
              <a:gd name="connsiteY15" fmla="*/ 4605 h 10011"/>
              <a:gd name="connsiteX16" fmla="*/ 9520 w 10000"/>
              <a:gd name="connsiteY16" fmla="*/ 4737 h 10011"/>
              <a:gd name="connsiteX17" fmla="*/ 9470 w 10000"/>
              <a:gd name="connsiteY17" fmla="*/ 4901 h 10011"/>
              <a:gd name="connsiteX18" fmla="*/ 9415 w 10000"/>
              <a:gd name="connsiteY18" fmla="*/ 5000 h 10011"/>
              <a:gd name="connsiteX19" fmla="*/ 9348 w 10000"/>
              <a:gd name="connsiteY19" fmla="*/ 5099 h 10011"/>
              <a:gd name="connsiteX20" fmla="*/ 9288 w 10000"/>
              <a:gd name="connsiteY20" fmla="*/ 5197 h 10011"/>
              <a:gd name="connsiteX21" fmla="*/ 9216 w 10000"/>
              <a:gd name="connsiteY21" fmla="*/ 5230 h 10011"/>
              <a:gd name="connsiteX22" fmla="*/ 9216 w 10000"/>
              <a:gd name="connsiteY22" fmla="*/ 5230 h 10011"/>
              <a:gd name="connsiteX23" fmla="*/ 1190 w 10000"/>
              <a:gd name="connsiteY23" fmla="*/ 9414 h 10011"/>
              <a:gd name="connsiteX24" fmla="*/ 0 w 10000"/>
              <a:gd name="connsiteY24" fmla="*/ 10000 h 10011"/>
              <a:gd name="connsiteX25" fmla="*/ 1185 w 10000"/>
              <a:gd name="connsiteY25" fmla="*/ 10011 h 10011"/>
              <a:gd name="connsiteX26" fmla="*/ 10000 w 10000"/>
              <a:gd name="connsiteY26" fmla="*/ 10000 h 10011"/>
              <a:gd name="connsiteX0" fmla="*/ 8815 w 8815"/>
              <a:gd name="connsiteY0" fmla="*/ 10000 h 10011"/>
              <a:gd name="connsiteX1" fmla="*/ 8815 w 8815"/>
              <a:gd name="connsiteY1" fmla="*/ 0 h 10011"/>
              <a:gd name="connsiteX2" fmla="*/ 8815 w 8815"/>
              <a:gd name="connsiteY2" fmla="*/ 0 h 10011"/>
              <a:gd name="connsiteX3" fmla="*/ 8815 w 8815"/>
              <a:gd name="connsiteY3" fmla="*/ 230 h 10011"/>
              <a:gd name="connsiteX4" fmla="*/ 8798 w 8815"/>
              <a:gd name="connsiteY4" fmla="*/ 757 h 10011"/>
              <a:gd name="connsiteX5" fmla="*/ 8787 w 8815"/>
              <a:gd name="connsiteY5" fmla="*/ 1118 h 10011"/>
              <a:gd name="connsiteX6" fmla="*/ 8765 w 8815"/>
              <a:gd name="connsiteY6" fmla="*/ 1546 h 10011"/>
              <a:gd name="connsiteX7" fmla="*/ 8743 w 8815"/>
              <a:gd name="connsiteY7" fmla="*/ 2007 h 10011"/>
              <a:gd name="connsiteX8" fmla="*/ 8710 w 8815"/>
              <a:gd name="connsiteY8" fmla="*/ 2467 h 10011"/>
              <a:gd name="connsiteX9" fmla="*/ 8666 w 8815"/>
              <a:gd name="connsiteY9" fmla="*/ 2928 h 10011"/>
              <a:gd name="connsiteX10" fmla="*/ 8616 w 8815"/>
              <a:gd name="connsiteY10" fmla="*/ 3388 h 10011"/>
              <a:gd name="connsiteX11" fmla="*/ 8550 w 8815"/>
              <a:gd name="connsiteY11" fmla="*/ 3816 h 10011"/>
              <a:gd name="connsiteX12" fmla="*/ 8517 w 8815"/>
              <a:gd name="connsiteY12" fmla="*/ 4046 h 10011"/>
              <a:gd name="connsiteX13" fmla="*/ 8473 w 8815"/>
              <a:gd name="connsiteY13" fmla="*/ 4243 h 10011"/>
              <a:gd name="connsiteX14" fmla="*/ 8434 w 8815"/>
              <a:gd name="connsiteY14" fmla="*/ 4408 h 10011"/>
              <a:gd name="connsiteX15" fmla="*/ 8384 w 8815"/>
              <a:gd name="connsiteY15" fmla="*/ 4605 h 10011"/>
              <a:gd name="connsiteX16" fmla="*/ 8335 w 8815"/>
              <a:gd name="connsiteY16" fmla="*/ 4737 h 10011"/>
              <a:gd name="connsiteX17" fmla="*/ 8285 w 8815"/>
              <a:gd name="connsiteY17" fmla="*/ 4901 h 10011"/>
              <a:gd name="connsiteX18" fmla="*/ 8230 w 8815"/>
              <a:gd name="connsiteY18" fmla="*/ 5000 h 10011"/>
              <a:gd name="connsiteX19" fmla="*/ 8163 w 8815"/>
              <a:gd name="connsiteY19" fmla="*/ 5099 h 10011"/>
              <a:gd name="connsiteX20" fmla="*/ 8103 w 8815"/>
              <a:gd name="connsiteY20" fmla="*/ 5197 h 10011"/>
              <a:gd name="connsiteX21" fmla="*/ 8031 w 8815"/>
              <a:gd name="connsiteY21" fmla="*/ 5230 h 10011"/>
              <a:gd name="connsiteX22" fmla="*/ 8031 w 8815"/>
              <a:gd name="connsiteY22" fmla="*/ 5230 h 10011"/>
              <a:gd name="connsiteX23" fmla="*/ 5 w 8815"/>
              <a:gd name="connsiteY23" fmla="*/ 9414 h 10011"/>
              <a:gd name="connsiteX24" fmla="*/ 0 w 8815"/>
              <a:gd name="connsiteY24" fmla="*/ 10011 h 10011"/>
              <a:gd name="connsiteX25" fmla="*/ 8815 w 8815"/>
              <a:gd name="connsiteY25" fmla="*/ 10000 h 10011"/>
              <a:gd name="connsiteX0" fmla="*/ 9996 w 9996"/>
              <a:gd name="connsiteY0" fmla="*/ 9989 h 10000"/>
              <a:gd name="connsiteX1" fmla="*/ 9996 w 9996"/>
              <a:gd name="connsiteY1" fmla="*/ 0 h 10000"/>
              <a:gd name="connsiteX2" fmla="*/ 9996 w 9996"/>
              <a:gd name="connsiteY2" fmla="*/ 0 h 10000"/>
              <a:gd name="connsiteX3" fmla="*/ 9996 w 9996"/>
              <a:gd name="connsiteY3" fmla="*/ 230 h 10000"/>
              <a:gd name="connsiteX4" fmla="*/ 9977 w 9996"/>
              <a:gd name="connsiteY4" fmla="*/ 756 h 10000"/>
              <a:gd name="connsiteX5" fmla="*/ 9964 w 9996"/>
              <a:gd name="connsiteY5" fmla="*/ 1117 h 10000"/>
              <a:gd name="connsiteX6" fmla="*/ 9939 w 9996"/>
              <a:gd name="connsiteY6" fmla="*/ 1544 h 10000"/>
              <a:gd name="connsiteX7" fmla="*/ 9914 w 9996"/>
              <a:gd name="connsiteY7" fmla="*/ 2005 h 10000"/>
              <a:gd name="connsiteX8" fmla="*/ 9877 w 9996"/>
              <a:gd name="connsiteY8" fmla="*/ 2464 h 10000"/>
              <a:gd name="connsiteX9" fmla="*/ 9827 w 9996"/>
              <a:gd name="connsiteY9" fmla="*/ 2925 h 10000"/>
              <a:gd name="connsiteX10" fmla="*/ 9770 w 9996"/>
              <a:gd name="connsiteY10" fmla="*/ 3384 h 10000"/>
              <a:gd name="connsiteX11" fmla="*/ 9695 w 9996"/>
              <a:gd name="connsiteY11" fmla="*/ 3812 h 10000"/>
              <a:gd name="connsiteX12" fmla="*/ 9658 w 9996"/>
              <a:gd name="connsiteY12" fmla="*/ 4042 h 10000"/>
              <a:gd name="connsiteX13" fmla="*/ 9608 w 9996"/>
              <a:gd name="connsiteY13" fmla="*/ 4238 h 10000"/>
              <a:gd name="connsiteX14" fmla="*/ 9564 w 9996"/>
              <a:gd name="connsiteY14" fmla="*/ 4403 h 10000"/>
              <a:gd name="connsiteX15" fmla="*/ 9507 w 9996"/>
              <a:gd name="connsiteY15" fmla="*/ 4600 h 10000"/>
              <a:gd name="connsiteX16" fmla="*/ 9451 w 9996"/>
              <a:gd name="connsiteY16" fmla="*/ 4732 h 10000"/>
              <a:gd name="connsiteX17" fmla="*/ 9395 w 9996"/>
              <a:gd name="connsiteY17" fmla="*/ 4896 h 10000"/>
              <a:gd name="connsiteX18" fmla="*/ 9332 w 9996"/>
              <a:gd name="connsiteY18" fmla="*/ 4995 h 10000"/>
              <a:gd name="connsiteX19" fmla="*/ 9256 w 9996"/>
              <a:gd name="connsiteY19" fmla="*/ 5093 h 10000"/>
              <a:gd name="connsiteX20" fmla="*/ 9188 w 9996"/>
              <a:gd name="connsiteY20" fmla="*/ 5191 h 10000"/>
              <a:gd name="connsiteX21" fmla="*/ 9107 w 9996"/>
              <a:gd name="connsiteY21" fmla="*/ 5224 h 10000"/>
              <a:gd name="connsiteX22" fmla="*/ 9107 w 9996"/>
              <a:gd name="connsiteY22" fmla="*/ 5224 h 10000"/>
              <a:gd name="connsiteX23" fmla="*/ 2 w 9996"/>
              <a:gd name="connsiteY23" fmla="*/ 9404 h 10000"/>
              <a:gd name="connsiteX24" fmla="*/ 0 w 9996"/>
              <a:gd name="connsiteY24" fmla="*/ 10000 h 10000"/>
              <a:gd name="connsiteX25" fmla="*/ 9996 w 9996"/>
              <a:gd name="connsiteY25" fmla="*/ 9989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9996" h="10000">
                <a:moveTo>
                  <a:pt x="9996" y="9989"/>
                </a:moveTo>
                <a:lnTo>
                  <a:pt x="9996" y="0"/>
                </a:lnTo>
                <a:lnTo>
                  <a:pt x="9996" y="0"/>
                </a:lnTo>
                <a:lnTo>
                  <a:pt x="9996" y="230"/>
                </a:lnTo>
                <a:cubicBezTo>
                  <a:pt x="9989" y="406"/>
                  <a:pt x="9984" y="580"/>
                  <a:pt x="9977" y="756"/>
                </a:cubicBezTo>
                <a:cubicBezTo>
                  <a:pt x="9972" y="876"/>
                  <a:pt x="9969" y="997"/>
                  <a:pt x="9964" y="1117"/>
                </a:cubicBezTo>
                <a:cubicBezTo>
                  <a:pt x="9956" y="1260"/>
                  <a:pt x="9947" y="1401"/>
                  <a:pt x="9939" y="1544"/>
                </a:cubicBezTo>
                <a:cubicBezTo>
                  <a:pt x="9931" y="1698"/>
                  <a:pt x="9922" y="1851"/>
                  <a:pt x="9914" y="2005"/>
                </a:cubicBezTo>
                <a:cubicBezTo>
                  <a:pt x="9902" y="2158"/>
                  <a:pt x="9889" y="2311"/>
                  <a:pt x="9877" y="2464"/>
                </a:cubicBezTo>
                <a:cubicBezTo>
                  <a:pt x="9860" y="2618"/>
                  <a:pt x="9844" y="2771"/>
                  <a:pt x="9827" y="2925"/>
                </a:cubicBezTo>
                <a:cubicBezTo>
                  <a:pt x="9808" y="3078"/>
                  <a:pt x="9790" y="3231"/>
                  <a:pt x="9770" y="3384"/>
                </a:cubicBezTo>
                <a:cubicBezTo>
                  <a:pt x="9745" y="3527"/>
                  <a:pt x="9720" y="3669"/>
                  <a:pt x="9695" y="3812"/>
                </a:cubicBezTo>
                <a:cubicBezTo>
                  <a:pt x="9683" y="3889"/>
                  <a:pt x="9670" y="3965"/>
                  <a:pt x="9658" y="4042"/>
                </a:cubicBezTo>
                <a:cubicBezTo>
                  <a:pt x="9641" y="4107"/>
                  <a:pt x="9625" y="4172"/>
                  <a:pt x="9608" y="4238"/>
                </a:cubicBezTo>
                <a:cubicBezTo>
                  <a:pt x="9593" y="4293"/>
                  <a:pt x="9579" y="4348"/>
                  <a:pt x="9564" y="4403"/>
                </a:cubicBezTo>
                <a:cubicBezTo>
                  <a:pt x="9544" y="4469"/>
                  <a:pt x="9526" y="4534"/>
                  <a:pt x="9507" y="4600"/>
                </a:cubicBezTo>
                <a:cubicBezTo>
                  <a:pt x="9489" y="4644"/>
                  <a:pt x="9470" y="4688"/>
                  <a:pt x="9451" y="4732"/>
                </a:cubicBezTo>
                <a:cubicBezTo>
                  <a:pt x="9432" y="4787"/>
                  <a:pt x="9414" y="4841"/>
                  <a:pt x="9395" y="4896"/>
                </a:cubicBezTo>
                <a:lnTo>
                  <a:pt x="9332" y="4995"/>
                </a:lnTo>
                <a:cubicBezTo>
                  <a:pt x="9307" y="5027"/>
                  <a:pt x="9281" y="5060"/>
                  <a:pt x="9256" y="5093"/>
                </a:cubicBezTo>
                <a:cubicBezTo>
                  <a:pt x="9234" y="5126"/>
                  <a:pt x="9211" y="5158"/>
                  <a:pt x="9188" y="5191"/>
                </a:cubicBezTo>
                <a:lnTo>
                  <a:pt x="9107" y="5224"/>
                </a:lnTo>
                <a:lnTo>
                  <a:pt x="9107" y="5224"/>
                </a:lnTo>
                <a:lnTo>
                  <a:pt x="2" y="9404"/>
                </a:lnTo>
                <a:cubicBezTo>
                  <a:pt x="-1" y="9602"/>
                  <a:pt x="2" y="9801"/>
                  <a:pt x="0" y="10000"/>
                </a:cubicBezTo>
                <a:lnTo>
                  <a:pt x="9996" y="9989"/>
                </a:lnTo>
                <a:close/>
              </a:path>
            </a:pathLst>
          </a:custGeom>
          <a:solidFill>
            <a:schemeClr val="accent6"/>
          </a:solidFill>
          <a:ln>
            <a:noFill/>
          </a:ln>
        </p:spPr>
        <p:txBody>
          <a:bodyPr vert="horz" wrap="square" lIns="133428" tIns="66715" rIns="133428" bIns="66715" numCol="1" anchor="t" anchorCtr="0" compatLnSpc="1">
            <a:prstTxWarp prst="textNoShape">
              <a:avLst/>
            </a:prstTxWarp>
          </a:bodyPr>
          <a:lstStyle/>
          <a:p>
            <a:endParaRPr lang="ja-JP" altLang="en-US" sz="2533"/>
          </a:p>
        </p:txBody>
      </p:sp>
      <p:sp>
        <p:nvSpPr>
          <p:cNvPr id="2" name="タイトル 1"/>
          <p:cNvSpPr>
            <a:spLocks noGrp="1"/>
          </p:cNvSpPr>
          <p:nvPr>
            <p:ph type="title"/>
          </p:nvPr>
        </p:nvSpPr>
        <p:spPr>
          <a:xfrm>
            <a:off x="368549" y="194236"/>
            <a:ext cx="9791452" cy="540000"/>
          </a:xfrm>
          <a:prstGeom prst="rect">
            <a:avLst/>
          </a:prstGeom>
        </p:spPr>
        <p:txBody>
          <a:bodyPr lIns="95767" tIns="47884" rIns="95767" bIns="47884"/>
          <a:lstStyle/>
          <a:p>
            <a:r>
              <a:rPr kumimoji="1" lang="ja-JP" altLang="en-US"/>
              <a:t>マスター タイトルの書式設定</a:t>
            </a:r>
          </a:p>
        </p:txBody>
      </p:sp>
      <p:sp>
        <p:nvSpPr>
          <p:cNvPr id="3" name="コンテンツ プレースホルダー 2"/>
          <p:cNvSpPr>
            <a:spLocks noGrp="1"/>
          </p:cNvSpPr>
          <p:nvPr>
            <p:ph idx="1"/>
          </p:nvPr>
        </p:nvSpPr>
        <p:spPr>
          <a:xfrm>
            <a:off x="368551" y="903600"/>
            <a:ext cx="11583452" cy="5540400"/>
          </a:xfrm>
          <a:prstGeom prst="rect">
            <a:avLst/>
          </a:prstGeom>
        </p:spPr>
        <p:txBody>
          <a:bodyPr lIns="95767" tIns="47884" rIns="95767" bIns="47884"/>
          <a:lstStyle>
            <a:lvl2pPr indent="-236233">
              <a:defRPr/>
            </a:lvl2pPr>
            <a:lvl3pPr indent="-236233">
              <a:defRPr/>
            </a:lvl3pPr>
            <a:lvl4pPr indent="-236233">
              <a:defRPr/>
            </a:lvl4pPr>
            <a:lvl5pPr indent="-236233">
              <a:defRPr/>
            </a:lvl5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6" name="スライド番号プレースホルダー 5"/>
          <p:cNvSpPr>
            <a:spLocks noGrp="1"/>
          </p:cNvSpPr>
          <p:nvPr>
            <p:ph type="sldNum" sz="quarter" idx="12"/>
          </p:nvPr>
        </p:nvSpPr>
        <p:spPr>
          <a:xfrm>
            <a:off x="11524630" y="6468878"/>
            <a:ext cx="555811" cy="289299"/>
          </a:xfrm>
          <a:prstGeom prst="rect">
            <a:avLst/>
          </a:prstGeom>
        </p:spPr>
        <p:txBody>
          <a:bodyPr lIns="95767" tIns="47884" rIns="95767" bIns="47884"/>
          <a:lstStyle>
            <a:lvl1pPr>
              <a:defRPr sz="1333"/>
            </a:lvl1pPr>
          </a:lstStyle>
          <a:p>
            <a:fld id="{2FF5E1DE-7B95-8A44-8552-65323269AE41}" type="slidenum">
              <a:rPr lang="ja-JP" altLang="en-US" smtClean="0"/>
              <a:pPr/>
              <a:t>‹#›</a:t>
            </a:fld>
            <a:endParaRPr lang="ja-JP" altLang="en-US"/>
          </a:p>
        </p:txBody>
      </p:sp>
      <p:cxnSp>
        <p:nvCxnSpPr>
          <p:cNvPr id="8" name="直線コネクタ 7"/>
          <p:cNvCxnSpPr/>
          <p:nvPr userDrawn="1"/>
        </p:nvCxnSpPr>
        <p:spPr>
          <a:xfrm>
            <a:off x="239959" y="817200"/>
            <a:ext cx="11709966" cy="0"/>
          </a:xfrm>
          <a:prstGeom prst="line">
            <a:avLst/>
          </a:prstGeom>
          <a:ln>
            <a:solidFill>
              <a:srgbClr val="92846E"/>
            </a:solidFill>
          </a:ln>
          <a:effectLst/>
        </p:spPr>
        <p:style>
          <a:lnRef idx="2">
            <a:schemeClr val="accent1"/>
          </a:lnRef>
          <a:fillRef idx="0">
            <a:schemeClr val="accent1"/>
          </a:fillRef>
          <a:effectRef idx="1">
            <a:schemeClr val="accent1"/>
          </a:effectRef>
          <a:fontRef idx="minor">
            <a:schemeClr val="tx1"/>
          </a:fontRef>
        </p:style>
      </p:cxnSp>
      <p:pic>
        <p:nvPicPr>
          <p:cNvPr id="10" name="Picture 2" descr="K:\新ロゴ（データ一式）\DLH_3_EN.png"/>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11038066" y="-34312"/>
            <a:ext cx="973128" cy="90043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46692956"/>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type="title" preserve="1">
  <p:cSld name="4_タイトル スライド">
    <p:spTree>
      <p:nvGrpSpPr>
        <p:cNvPr id="1" name=""/>
        <p:cNvGrpSpPr/>
        <p:nvPr/>
      </p:nvGrpSpPr>
      <p:grpSpPr>
        <a:xfrm>
          <a:off x="0" y="0"/>
          <a:ext cx="0" cy="0"/>
          <a:chOff x="0" y="0"/>
          <a:chExt cx="0" cy="0"/>
        </a:xfrm>
      </p:grpSpPr>
      <p:sp>
        <p:nvSpPr>
          <p:cNvPr id="10" name="Freeform 5"/>
          <p:cNvSpPr>
            <a:spLocks/>
          </p:cNvSpPr>
          <p:nvPr userDrawn="1"/>
        </p:nvSpPr>
        <p:spPr bwMode="auto">
          <a:xfrm>
            <a:off x="233538" y="169337"/>
            <a:ext cx="11730712" cy="5207000"/>
          </a:xfrm>
          <a:custGeom>
            <a:avLst/>
            <a:gdLst>
              <a:gd name="T0" fmla="*/ 0 w 1618"/>
              <a:gd name="T1" fmla="*/ 0 h 957"/>
              <a:gd name="T2" fmla="*/ 0 w 1618"/>
              <a:gd name="T3" fmla="*/ 957 h 957"/>
              <a:gd name="T4" fmla="*/ 1279 w 1618"/>
              <a:gd name="T5" fmla="*/ 842 h 957"/>
              <a:gd name="T6" fmla="*/ 1618 w 1618"/>
              <a:gd name="T7" fmla="*/ 472 h 957"/>
              <a:gd name="T8" fmla="*/ 1618 w 1618"/>
              <a:gd name="T9" fmla="*/ 0 h 957"/>
              <a:gd name="T10" fmla="*/ 0 w 1618"/>
              <a:gd name="T11" fmla="*/ 0 h 957"/>
            </a:gdLst>
            <a:ahLst/>
            <a:cxnLst>
              <a:cxn ang="0">
                <a:pos x="T0" y="T1"/>
              </a:cxn>
              <a:cxn ang="0">
                <a:pos x="T2" y="T3"/>
              </a:cxn>
              <a:cxn ang="0">
                <a:pos x="T4" y="T5"/>
              </a:cxn>
              <a:cxn ang="0">
                <a:pos x="T6" y="T7"/>
              </a:cxn>
              <a:cxn ang="0">
                <a:pos x="T8" y="T9"/>
              </a:cxn>
              <a:cxn ang="0">
                <a:pos x="T10" y="T11"/>
              </a:cxn>
            </a:cxnLst>
            <a:rect l="0" t="0" r="r" b="b"/>
            <a:pathLst>
              <a:path w="1618" h="957">
                <a:moveTo>
                  <a:pt x="0" y="0"/>
                </a:moveTo>
                <a:cubicBezTo>
                  <a:pt x="0" y="957"/>
                  <a:pt x="0" y="957"/>
                  <a:pt x="0" y="957"/>
                </a:cubicBezTo>
                <a:cubicBezTo>
                  <a:pt x="1279" y="842"/>
                  <a:pt x="1279" y="842"/>
                  <a:pt x="1279" y="842"/>
                </a:cubicBezTo>
                <a:cubicBezTo>
                  <a:pt x="1465" y="825"/>
                  <a:pt x="1618" y="659"/>
                  <a:pt x="1618" y="472"/>
                </a:cubicBezTo>
                <a:cubicBezTo>
                  <a:pt x="1618" y="0"/>
                  <a:pt x="1618" y="0"/>
                  <a:pt x="1618" y="0"/>
                </a:cubicBezTo>
                <a:lnTo>
                  <a:pt x="0" y="0"/>
                </a:lnTo>
                <a:close/>
              </a:path>
            </a:pathLst>
          </a:custGeom>
          <a:solidFill>
            <a:schemeClr val="accent5"/>
          </a:solidFill>
          <a:ln>
            <a:noFill/>
          </a:ln>
        </p:spPr>
        <p:txBody>
          <a:bodyPr lIns="127667" tIns="63834" rIns="127667" bIns="63834"/>
          <a:lstStyle/>
          <a:p>
            <a:endParaRPr lang="ja-JP" altLang="en-US" sz="2533"/>
          </a:p>
        </p:txBody>
      </p:sp>
      <p:sp>
        <p:nvSpPr>
          <p:cNvPr id="2" name="タイトル 1"/>
          <p:cNvSpPr>
            <a:spLocks noGrp="1"/>
          </p:cNvSpPr>
          <p:nvPr>
            <p:ph type="ctrTitle"/>
          </p:nvPr>
        </p:nvSpPr>
        <p:spPr>
          <a:xfrm>
            <a:off x="914400" y="1416804"/>
            <a:ext cx="10363200" cy="1470025"/>
          </a:xfrm>
          <a:prstGeom prst="rect">
            <a:avLst/>
          </a:prstGeom>
        </p:spPr>
        <p:txBody>
          <a:bodyPr lIns="95767" tIns="47884" rIns="95767" bIns="47884" anchor="b">
            <a:normAutofit/>
          </a:bodyPr>
          <a:lstStyle>
            <a:lvl1pPr algn="l">
              <a:defRPr sz="5199" kern="1200">
                <a:solidFill>
                  <a:schemeClr val="tx1"/>
                </a:solidFill>
              </a:defRPr>
            </a:lvl1pPr>
          </a:lstStyle>
          <a:p>
            <a:r>
              <a:rPr kumimoji="1" lang="ja-JP" altLang="en-US"/>
              <a:t>マスター タイトルの書式設定</a:t>
            </a:r>
          </a:p>
        </p:txBody>
      </p:sp>
      <p:sp>
        <p:nvSpPr>
          <p:cNvPr id="3" name="サブタイトル 2"/>
          <p:cNvSpPr>
            <a:spLocks noGrp="1"/>
          </p:cNvSpPr>
          <p:nvPr>
            <p:ph type="subTitle" idx="1"/>
          </p:nvPr>
        </p:nvSpPr>
        <p:spPr>
          <a:xfrm>
            <a:off x="916801" y="3420000"/>
            <a:ext cx="9691436" cy="977153"/>
          </a:xfrm>
          <a:prstGeom prst="rect">
            <a:avLst/>
          </a:prstGeom>
        </p:spPr>
        <p:txBody>
          <a:bodyPr lIns="95767" tIns="47884" rIns="95767" bIns="47884">
            <a:normAutofit/>
          </a:bodyPr>
          <a:lstStyle>
            <a:lvl1pPr marL="0" indent="0" algn="l">
              <a:buNone/>
              <a:defRPr sz="3333">
                <a:solidFill>
                  <a:schemeClr val="tx1"/>
                </a:solidFill>
              </a:defRPr>
            </a:lvl1pPr>
            <a:lvl2pPr marL="638335" indent="0" algn="ctr">
              <a:buNone/>
              <a:defRPr>
                <a:solidFill>
                  <a:schemeClr val="tx1">
                    <a:tint val="75000"/>
                  </a:schemeClr>
                </a:solidFill>
              </a:defRPr>
            </a:lvl2pPr>
            <a:lvl3pPr marL="1276669" indent="0" algn="ctr">
              <a:buNone/>
              <a:defRPr>
                <a:solidFill>
                  <a:schemeClr val="tx1">
                    <a:tint val="75000"/>
                  </a:schemeClr>
                </a:solidFill>
              </a:defRPr>
            </a:lvl3pPr>
            <a:lvl4pPr marL="1915003" indent="0" algn="ctr">
              <a:buNone/>
              <a:defRPr>
                <a:solidFill>
                  <a:schemeClr val="tx1">
                    <a:tint val="75000"/>
                  </a:schemeClr>
                </a:solidFill>
              </a:defRPr>
            </a:lvl4pPr>
            <a:lvl5pPr marL="2553338" indent="0" algn="ctr">
              <a:buNone/>
              <a:defRPr>
                <a:solidFill>
                  <a:schemeClr val="tx1">
                    <a:tint val="75000"/>
                  </a:schemeClr>
                </a:solidFill>
              </a:defRPr>
            </a:lvl5pPr>
            <a:lvl6pPr marL="3191671" indent="0" algn="ctr">
              <a:buNone/>
              <a:defRPr>
                <a:solidFill>
                  <a:schemeClr val="tx1">
                    <a:tint val="75000"/>
                  </a:schemeClr>
                </a:solidFill>
              </a:defRPr>
            </a:lvl6pPr>
            <a:lvl7pPr marL="3830007" indent="0" algn="ctr">
              <a:buNone/>
              <a:defRPr>
                <a:solidFill>
                  <a:schemeClr val="tx1">
                    <a:tint val="75000"/>
                  </a:schemeClr>
                </a:solidFill>
              </a:defRPr>
            </a:lvl7pPr>
            <a:lvl8pPr marL="4468342" indent="0" algn="ctr">
              <a:buNone/>
              <a:defRPr>
                <a:solidFill>
                  <a:schemeClr val="tx1">
                    <a:tint val="75000"/>
                  </a:schemeClr>
                </a:solidFill>
              </a:defRPr>
            </a:lvl8pPr>
            <a:lvl9pPr marL="5106676" indent="0" algn="ctr">
              <a:buNone/>
              <a:defRPr>
                <a:solidFill>
                  <a:schemeClr val="tx1">
                    <a:tint val="75000"/>
                  </a:schemeClr>
                </a:solidFill>
              </a:defRPr>
            </a:lvl9pPr>
          </a:lstStyle>
          <a:p>
            <a:r>
              <a:rPr kumimoji="1" lang="ja-JP" altLang="en-US"/>
              <a:t>マスター サブタイトルの書式設定</a:t>
            </a:r>
          </a:p>
        </p:txBody>
      </p:sp>
      <p:sp>
        <p:nvSpPr>
          <p:cNvPr id="8" name="フッター プレースホルダー 12"/>
          <p:cNvSpPr>
            <a:spLocks noGrp="1"/>
          </p:cNvSpPr>
          <p:nvPr>
            <p:ph type="ftr" sz="quarter" idx="11"/>
          </p:nvPr>
        </p:nvSpPr>
        <p:spPr>
          <a:xfrm>
            <a:off x="609600" y="6099529"/>
            <a:ext cx="6668998" cy="365125"/>
          </a:xfrm>
          <a:prstGeom prst="rect">
            <a:avLst/>
          </a:prstGeom>
        </p:spPr>
        <p:txBody>
          <a:bodyPr lIns="95767" tIns="47884" rIns="95767" bIns="47884"/>
          <a:lstStyle>
            <a:lvl1pPr algn="l">
              <a:defRPr sz="2266"/>
            </a:lvl1pPr>
          </a:lstStyle>
          <a:p>
            <a:endParaRPr lang="ja-JP" altLang="en-US"/>
          </a:p>
        </p:txBody>
      </p:sp>
      <p:sp>
        <p:nvSpPr>
          <p:cNvPr id="9" name="日付プレースホルダー 11"/>
          <p:cNvSpPr>
            <a:spLocks noGrp="1"/>
          </p:cNvSpPr>
          <p:nvPr>
            <p:ph type="dt" sz="half" idx="10"/>
          </p:nvPr>
        </p:nvSpPr>
        <p:spPr>
          <a:xfrm>
            <a:off x="609600" y="5691768"/>
            <a:ext cx="3860800" cy="365125"/>
          </a:xfrm>
          <a:prstGeom prst="rect">
            <a:avLst/>
          </a:prstGeom>
        </p:spPr>
        <p:txBody>
          <a:bodyPr lIns="95767" tIns="47884" rIns="95767" bIns="47884"/>
          <a:lstStyle>
            <a:lvl1pPr algn="l">
              <a:defRPr sz="2266">
                <a:solidFill>
                  <a:srgbClr val="000000"/>
                </a:solidFill>
              </a:defRPr>
            </a:lvl1pPr>
          </a:lstStyle>
          <a:p>
            <a:endParaRPr lang="ja-JP" altLang="en-US"/>
          </a:p>
        </p:txBody>
      </p:sp>
      <p:pic>
        <p:nvPicPr>
          <p:cNvPr id="11" name="Picture 2" descr="K:\新ロゴ（データ一式）\DLH_3_EN.png"/>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10521597" y="5335811"/>
            <a:ext cx="1644525" cy="152167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94778417"/>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17_タイトルとコンテンツ">
    <p:spTree>
      <p:nvGrpSpPr>
        <p:cNvPr id="1" name=""/>
        <p:cNvGrpSpPr/>
        <p:nvPr/>
      </p:nvGrpSpPr>
      <p:grpSpPr>
        <a:xfrm>
          <a:off x="0" y="0"/>
          <a:ext cx="0" cy="0"/>
          <a:chOff x="0" y="0"/>
          <a:chExt cx="0" cy="0"/>
        </a:xfrm>
      </p:grpSpPr>
      <p:sp>
        <p:nvSpPr>
          <p:cNvPr id="7" name="Freeform 8"/>
          <p:cNvSpPr>
            <a:spLocks/>
          </p:cNvSpPr>
          <p:nvPr userDrawn="1"/>
        </p:nvSpPr>
        <p:spPr bwMode="auto">
          <a:xfrm>
            <a:off x="-2100" y="5505984"/>
            <a:ext cx="12192504" cy="1353504"/>
          </a:xfrm>
          <a:custGeom>
            <a:avLst/>
            <a:gdLst>
              <a:gd name="T0" fmla="*/ 3622 w 3622"/>
              <a:gd name="T1" fmla="*/ 608 h 608"/>
              <a:gd name="T2" fmla="*/ 3622 w 3622"/>
              <a:gd name="T3" fmla="*/ 0 h 608"/>
              <a:gd name="T4" fmla="*/ 3622 w 3622"/>
              <a:gd name="T5" fmla="*/ 0 h 608"/>
              <a:gd name="T6" fmla="*/ 3622 w 3622"/>
              <a:gd name="T7" fmla="*/ 14 h 608"/>
              <a:gd name="T8" fmla="*/ 3616 w 3622"/>
              <a:gd name="T9" fmla="*/ 46 h 608"/>
              <a:gd name="T10" fmla="*/ 3612 w 3622"/>
              <a:gd name="T11" fmla="*/ 68 h 608"/>
              <a:gd name="T12" fmla="*/ 3604 w 3622"/>
              <a:gd name="T13" fmla="*/ 94 h 608"/>
              <a:gd name="T14" fmla="*/ 3596 w 3622"/>
              <a:gd name="T15" fmla="*/ 122 h 608"/>
              <a:gd name="T16" fmla="*/ 3584 w 3622"/>
              <a:gd name="T17" fmla="*/ 150 h 608"/>
              <a:gd name="T18" fmla="*/ 3568 w 3622"/>
              <a:gd name="T19" fmla="*/ 178 h 608"/>
              <a:gd name="T20" fmla="*/ 3550 w 3622"/>
              <a:gd name="T21" fmla="*/ 206 h 608"/>
              <a:gd name="T22" fmla="*/ 3526 w 3622"/>
              <a:gd name="T23" fmla="*/ 232 h 608"/>
              <a:gd name="T24" fmla="*/ 3514 w 3622"/>
              <a:gd name="T25" fmla="*/ 246 h 608"/>
              <a:gd name="T26" fmla="*/ 3498 w 3622"/>
              <a:gd name="T27" fmla="*/ 258 h 608"/>
              <a:gd name="T28" fmla="*/ 3484 w 3622"/>
              <a:gd name="T29" fmla="*/ 268 h 608"/>
              <a:gd name="T30" fmla="*/ 3466 w 3622"/>
              <a:gd name="T31" fmla="*/ 280 h 608"/>
              <a:gd name="T32" fmla="*/ 3448 w 3622"/>
              <a:gd name="T33" fmla="*/ 288 h 608"/>
              <a:gd name="T34" fmla="*/ 3430 w 3622"/>
              <a:gd name="T35" fmla="*/ 298 h 608"/>
              <a:gd name="T36" fmla="*/ 3410 w 3622"/>
              <a:gd name="T37" fmla="*/ 304 h 608"/>
              <a:gd name="T38" fmla="*/ 3386 w 3622"/>
              <a:gd name="T39" fmla="*/ 310 h 608"/>
              <a:gd name="T40" fmla="*/ 3364 w 3622"/>
              <a:gd name="T41" fmla="*/ 316 h 608"/>
              <a:gd name="T42" fmla="*/ 3338 w 3622"/>
              <a:gd name="T43" fmla="*/ 318 h 608"/>
              <a:gd name="T44" fmla="*/ 3338 w 3622"/>
              <a:gd name="T45" fmla="*/ 318 h 608"/>
              <a:gd name="T46" fmla="*/ 0 w 3622"/>
              <a:gd name="T47" fmla="*/ 608 h 608"/>
              <a:gd name="T48" fmla="*/ 3622 w 3622"/>
              <a:gd name="T49" fmla="*/ 608 h 608"/>
              <a:gd name="connsiteX0" fmla="*/ 10000 w 10000"/>
              <a:gd name="connsiteY0" fmla="*/ 10000 h 10000"/>
              <a:gd name="connsiteX1" fmla="*/ 10000 w 10000"/>
              <a:gd name="connsiteY1" fmla="*/ 0 h 10000"/>
              <a:gd name="connsiteX2" fmla="*/ 10000 w 10000"/>
              <a:gd name="connsiteY2" fmla="*/ 0 h 10000"/>
              <a:gd name="connsiteX3" fmla="*/ 10000 w 10000"/>
              <a:gd name="connsiteY3" fmla="*/ 230 h 10000"/>
              <a:gd name="connsiteX4" fmla="*/ 9983 w 10000"/>
              <a:gd name="connsiteY4" fmla="*/ 757 h 10000"/>
              <a:gd name="connsiteX5" fmla="*/ 9972 w 10000"/>
              <a:gd name="connsiteY5" fmla="*/ 1118 h 10000"/>
              <a:gd name="connsiteX6" fmla="*/ 9950 w 10000"/>
              <a:gd name="connsiteY6" fmla="*/ 1546 h 10000"/>
              <a:gd name="connsiteX7" fmla="*/ 9928 w 10000"/>
              <a:gd name="connsiteY7" fmla="*/ 2007 h 10000"/>
              <a:gd name="connsiteX8" fmla="*/ 9895 w 10000"/>
              <a:gd name="connsiteY8" fmla="*/ 2467 h 10000"/>
              <a:gd name="connsiteX9" fmla="*/ 9851 w 10000"/>
              <a:gd name="connsiteY9" fmla="*/ 2928 h 10000"/>
              <a:gd name="connsiteX10" fmla="*/ 9801 w 10000"/>
              <a:gd name="connsiteY10" fmla="*/ 3388 h 10000"/>
              <a:gd name="connsiteX11" fmla="*/ 9735 w 10000"/>
              <a:gd name="connsiteY11" fmla="*/ 3816 h 10000"/>
              <a:gd name="connsiteX12" fmla="*/ 9702 w 10000"/>
              <a:gd name="connsiteY12" fmla="*/ 4046 h 10000"/>
              <a:gd name="connsiteX13" fmla="*/ 9658 w 10000"/>
              <a:gd name="connsiteY13" fmla="*/ 4243 h 10000"/>
              <a:gd name="connsiteX14" fmla="*/ 9619 w 10000"/>
              <a:gd name="connsiteY14" fmla="*/ 4408 h 10000"/>
              <a:gd name="connsiteX15" fmla="*/ 9569 w 10000"/>
              <a:gd name="connsiteY15" fmla="*/ 4605 h 10000"/>
              <a:gd name="connsiteX16" fmla="*/ 9520 w 10000"/>
              <a:gd name="connsiteY16" fmla="*/ 4737 h 10000"/>
              <a:gd name="connsiteX17" fmla="*/ 9470 w 10000"/>
              <a:gd name="connsiteY17" fmla="*/ 4901 h 10000"/>
              <a:gd name="connsiteX18" fmla="*/ 9415 w 10000"/>
              <a:gd name="connsiteY18" fmla="*/ 5000 h 10000"/>
              <a:gd name="connsiteX19" fmla="*/ 9348 w 10000"/>
              <a:gd name="connsiteY19" fmla="*/ 5099 h 10000"/>
              <a:gd name="connsiteX20" fmla="*/ 9288 w 10000"/>
              <a:gd name="connsiteY20" fmla="*/ 5197 h 10000"/>
              <a:gd name="connsiteX21" fmla="*/ 9216 w 10000"/>
              <a:gd name="connsiteY21" fmla="*/ 5230 h 10000"/>
              <a:gd name="connsiteX22" fmla="*/ 9216 w 10000"/>
              <a:gd name="connsiteY22" fmla="*/ 5230 h 10000"/>
              <a:gd name="connsiteX23" fmla="*/ 1190 w 10000"/>
              <a:gd name="connsiteY23" fmla="*/ 9414 h 10000"/>
              <a:gd name="connsiteX24" fmla="*/ 0 w 10000"/>
              <a:gd name="connsiteY24" fmla="*/ 10000 h 10000"/>
              <a:gd name="connsiteX25" fmla="*/ 10000 w 10000"/>
              <a:gd name="connsiteY25" fmla="*/ 10000 h 10000"/>
              <a:gd name="connsiteX0" fmla="*/ 10000 w 10000"/>
              <a:gd name="connsiteY0" fmla="*/ 10000 h 10011"/>
              <a:gd name="connsiteX1" fmla="*/ 10000 w 10000"/>
              <a:gd name="connsiteY1" fmla="*/ 0 h 10011"/>
              <a:gd name="connsiteX2" fmla="*/ 10000 w 10000"/>
              <a:gd name="connsiteY2" fmla="*/ 0 h 10011"/>
              <a:gd name="connsiteX3" fmla="*/ 10000 w 10000"/>
              <a:gd name="connsiteY3" fmla="*/ 230 h 10011"/>
              <a:gd name="connsiteX4" fmla="*/ 9983 w 10000"/>
              <a:gd name="connsiteY4" fmla="*/ 757 h 10011"/>
              <a:gd name="connsiteX5" fmla="*/ 9972 w 10000"/>
              <a:gd name="connsiteY5" fmla="*/ 1118 h 10011"/>
              <a:gd name="connsiteX6" fmla="*/ 9950 w 10000"/>
              <a:gd name="connsiteY6" fmla="*/ 1546 h 10011"/>
              <a:gd name="connsiteX7" fmla="*/ 9928 w 10000"/>
              <a:gd name="connsiteY7" fmla="*/ 2007 h 10011"/>
              <a:gd name="connsiteX8" fmla="*/ 9895 w 10000"/>
              <a:gd name="connsiteY8" fmla="*/ 2467 h 10011"/>
              <a:gd name="connsiteX9" fmla="*/ 9851 w 10000"/>
              <a:gd name="connsiteY9" fmla="*/ 2928 h 10011"/>
              <a:gd name="connsiteX10" fmla="*/ 9801 w 10000"/>
              <a:gd name="connsiteY10" fmla="*/ 3388 h 10011"/>
              <a:gd name="connsiteX11" fmla="*/ 9735 w 10000"/>
              <a:gd name="connsiteY11" fmla="*/ 3816 h 10011"/>
              <a:gd name="connsiteX12" fmla="*/ 9702 w 10000"/>
              <a:gd name="connsiteY12" fmla="*/ 4046 h 10011"/>
              <a:gd name="connsiteX13" fmla="*/ 9658 w 10000"/>
              <a:gd name="connsiteY13" fmla="*/ 4243 h 10011"/>
              <a:gd name="connsiteX14" fmla="*/ 9619 w 10000"/>
              <a:gd name="connsiteY14" fmla="*/ 4408 h 10011"/>
              <a:gd name="connsiteX15" fmla="*/ 9569 w 10000"/>
              <a:gd name="connsiteY15" fmla="*/ 4605 h 10011"/>
              <a:gd name="connsiteX16" fmla="*/ 9520 w 10000"/>
              <a:gd name="connsiteY16" fmla="*/ 4737 h 10011"/>
              <a:gd name="connsiteX17" fmla="*/ 9470 w 10000"/>
              <a:gd name="connsiteY17" fmla="*/ 4901 h 10011"/>
              <a:gd name="connsiteX18" fmla="*/ 9415 w 10000"/>
              <a:gd name="connsiteY18" fmla="*/ 5000 h 10011"/>
              <a:gd name="connsiteX19" fmla="*/ 9348 w 10000"/>
              <a:gd name="connsiteY19" fmla="*/ 5099 h 10011"/>
              <a:gd name="connsiteX20" fmla="*/ 9288 w 10000"/>
              <a:gd name="connsiteY20" fmla="*/ 5197 h 10011"/>
              <a:gd name="connsiteX21" fmla="*/ 9216 w 10000"/>
              <a:gd name="connsiteY21" fmla="*/ 5230 h 10011"/>
              <a:gd name="connsiteX22" fmla="*/ 9216 w 10000"/>
              <a:gd name="connsiteY22" fmla="*/ 5230 h 10011"/>
              <a:gd name="connsiteX23" fmla="*/ 1190 w 10000"/>
              <a:gd name="connsiteY23" fmla="*/ 9414 h 10011"/>
              <a:gd name="connsiteX24" fmla="*/ 0 w 10000"/>
              <a:gd name="connsiteY24" fmla="*/ 10000 h 10011"/>
              <a:gd name="connsiteX25" fmla="*/ 1185 w 10000"/>
              <a:gd name="connsiteY25" fmla="*/ 10011 h 10011"/>
              <a:gd name="connsiteX26" fmla="*/ 10000 w 10000"/>
              <a:gd name="connsiteY26" fmla="*/ 10000 h 10011"/>
              <a:gd name="connsiteX0" fmla="*/ 8815 w 8815"/>
              <a:gd name="connsiteY0" fmla="*/ 10000 h 10011"/>
              <a:gd name="connsiteX1" fmla="*/ 8815 w 8815"/>
              <a:gd name="connsiteY1" fmla="*/ 0 h 10011"/>
              <a:gd name="connsiteX2" fmla="*/ 8815 w 8815"/>
              <a:gd name="connsiteY2" fmla="*/ 0 h 10011"/>
              <a:gd name="connsiteX3" fmla="*/ 8815 w 8815"/>
              <a:gd name="connsiteY3" fmla="*/ 230 h 10011"/>
              <a:gd name="connsiteX4" fmla="*/ 8798 w 8815"/>
              <a:gd name="connsiteY4" fmla="*/ 757 h 10011"/>
              <a:gd name="connsiteX5" fmla="*/ 8787 w 8815"/>
              <a:gd name="connsiteY5" fmla="*/ 1118 h 10011"/>
              <a:gd name="connsiteX6" fmla="*/ 8765 w 8815"/>
              <a:gd name="connsiteY6" fmla="*/ 1546 h 10011"/>
              <a:gd name="connsiteX7" fmla="*/ 8743 w 8815"/>
              <a:gd name="connsiteY7" fmla="*/ 2007 h 10011"/>
              <a:gd name="connsiteX8" fmla="*/ 8710 w 8815"/>
              <a:gd name="connsiteY8" fmla="*/ 2467 h 10011"/>
              <a:gd name="connsiteX9" fmla="*/ 8666 w 8815"/>
              <a:gd name="connsiteY9" fmla="*/ 2928 h 10011"/>
              <a:gd name="connsiteX10" fmla="*/ 8616 w 8815"/>
              <a:gd name="connsiteY10" fmla="*/ 3388 h 10011"/>
              <a:gd name="connsiteX11" fmla="*/ 8550 w 8815"/>
              <a:gd name="connsiteY11" fmla="*/ 3816 h 10011"/>
              <a:gd name="connsiteX12" fmla="*/ 8517 w 8815"/>
              <a:gd name="connsiteY12" fmla="*/ 4046 h 10011"/>
              <a:gd name="connsiteX13" fmla="*/ 8473 w 8815"/>
              <a:gd name="connsiteY13" fmla="*/ 4243 h 10011"/>
              <a:gd name="connsiteX14" fmla="*/ 8434 w 8815"/>
              <a:gd name="connsiteY14" fmla="*/ 4408 h 10011"/>
              <a:gd name="connsiteX15" fmla="*/ 8384 w 8815"/>
              <a:gd name="connsiteY15" fmla="*/ 4605 h 10011"/>
              <a:gd name="connsiteX16" fmla="*/ 8335 w 8815"/>
              <a:gd name="connsiteY16" fmla="*/ 4737 h 10011"/>
              <a:gd name="connsiteX17" fmla="*/ 8285 w 8815"/>
              <a:gd name="connsiteY17" fmla="*/ 4901 h 10011"/>
              <a:gd name="connsiteX18" fmla="*/ 8230 w 8815"/>
              <a:gd name="connsiteY18" fmla="*/ 5000 h 10011"/>
              <a:gd name="connsiteX19" fmla="*/ 8163 w 8815"/>
              <a:gd name="connsiteY19" fmla="*/ 5099 h 10011"/>
              <a:gd name="connsiteX20" fmla="*/ 8103 w 8815"/>
              <a:gd name="connsiteY20" fmla="*/ 5197 h 10011"/>
              <a:gd name="connsiteX21" fmla="*/ 8031 w 8815"/>
              <a:gd name="connsiteY21" fmla="*/ 5230 h 10011"/>
              <a:gd name="connsiteX22" fmla="*/ 8031 w 8815"/>
              <a:gd name="connsiteY22" fmla="*/ 5230 h 10011"/>
              <a:gd name="connsiteX23" fmla="*/ 5 w 8815"/>
              <a:gd name="connsiteY23" fmla="*/ 9414 h 10011"/>
              <a:gd name="connsiteX24" fmla="*/ 0 w 8815"/>
              <a:gd name="connsiteY24" fmla="*/ 10011 h 10011"/>
              <a:gd name="connsiteX25" fmla="*/ 8815 w 8815"/>
              <a:gd name="connsiteY25" fmla="*/ 10000 h 10011"/>
              <a:gd name="connsiteX0" fmla="*/ 9996 w 9996"/>
              <a:gd name="connsiteY0" fmla="*/ 9989 h 10000"/>
              <a:gd name="connsiteX1" fmla="*/ 9996 w 9996"/>
              <a:gd name="connsiteY1" fmla="*/ 0 h 10000"/>
              <a:gd name="connsiteX2" fmla="*/ 9996 w 9996"/>
              <a:gd name="connsiteY2" fmla="*/ 0 h 10000"/>
              <a:gd name="connsiteX3" fmla="*/ 9996 w 9996"/>
              <a:gd name="connsiteY3" fmla="*/ 230 h 10000"/>
              <a:gd name="connsiteX4" fmla="*/ 9977 w 9996"/>
              <a:gd name="connsiteY4" fmla="*/ 756 h 10000"/>
              <a:gd name="connsiteX5" fmla="*/ 9964 w 9996"/>
              <a:gd name="connsiteY5" fmla="*/ 1117 h 10000"/>
              <a:gd name="connsiteX6" fmla="*/ 9939 w 9996"/>
              <a:gd name="connsiteY6" fmla="*/ 1544 h 10000"/>
              <a:gd name="connsiteX7" fmla="*/ 9914 w 9996"/>
              <a:gd name="connsiteY7" fmla="*/ 2005 h 10000"/>
              <a:gd name="connsiteX8" fmla="*/ 9877 w 9996"/>
              <a:gd name="connsiteY8" fmla="*/ 2464 h 10000"/>
              <a:gd name="connsiteX9" fmla="*/ 9827 w 9996"/>
              <a:gd name="connsiteY9" fmla="*/ 2925 h 10000"/>
              <a:gd name="connsiteX10" fmla="*/ 9770 w 9996"/>
              <a:gd name="connsiteY10" fmla="*/ 3384 h 10000"/>
              <a:gd name="connsiteX11" fmla="*/ 9695 w 9996"/>
              <a:gd name="connsiteY11" fmla="*/ 3812 h 10000"/>
              <a:gd name="connsiteX12" fmla="*/ 9658 w 9996"/>
              <a:gd name="connsiteY12" fmla="*/ 4042 h 10000"/>
              <a:gd name="connsiteX13" fmla="*/ 9608 w 9996"/>
              <a:gd name="connsiteY13" fmla="*/ 4238 h 10000"/>
              <a:gd name="connsiteX14" fmla="*/ 9564 w 9996"/>
              <a:gd name="connsiteY14" fmla="*/ 4403 h 10000"/>
              <a:gd name="connsiteX15" fmla="*/ 9507 w 9996"/>
              <a:gd name="connsiteY15" fmla="*/ 4600 h 10000"/>
              <a:gd name="connsiteX16" fmla="*/ 9451 w 9996"/>
              <a:gd name="connsiteY16" fmla="*/ 4732 h 10000"/>
              <a:gd name="connsiteX17" fmla="*/ 9395 w 9996"/>
              <a:gd name="connsiteY17" fmla="*/ 4896 h 10000"/>
              <a:gd name="connsiteX18" fmla="*/ 9332 w 9996"/>
              <a:gd name="connsiteY18" fmla="*/ 4995 h 10000"/>
              <a:gd name="connsiteX19" fmla="*/ 9256 w 9996"/>
              <a:gd name="connsiteY19" fmla="*/ 5093 h 10000"/>
              <a:gd name="connsiteX20" fmla="*/ 9188 w 9996"/>
              <a:gd name="connsiteY20" fmla="*/ 5191 h 10000"/>
              <a:gd name="connsiteX21" fmla="*/ 9107 w 9996"/>
              <a:gd name="connsiteY21" fmla="*/ 5224 h 10000"/>
              <a:gd name="connsiteX22" fmla="*/ 9107 w 9996"/>
              <a:gd name="connsiteY22" fmla="*/ 5224 h 10000"/>
              <a:gd name="connsiteX23" fmla="*/ 2 w 9996"/>
              <a:gd name="connsiteY23" fmla="*/ 9404 h 10000"/>
              <a:gd name="connsiteX24" fmla="*/ 0 w 9996"/>
              <a:gd name="connsiteY24" fmla="*/ 10000 h 10000"/>
              <a:gd name="connsiteX25" fmla="*/ 9996 w 9996"/>
              <a:gd name="connsiteY25" fmla="*/ 9989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9996" h="10000">
                <a:moveTo>
                  <a:pt x="9996" y="9989"/>
                </a:moveTo>
                <a:lnTo>
                  <a:pt x="9996" y="0"/>
                </a:lnTo>
                <a:lnTo>
                  <a:pt x="9996" y="0"/>
                </a:lnTo>
                <a:lnTo>
                  <a:pt x="9996" y="230"/>
                </a:lnTo>
                <a:cubicBezTo>
                  <a:pt x="9989" y="406"/>
                  <a:pt x="9984" y="580"/>
                  <a:pt x="9977" y="756"/>
                </a:cubicBezTo>
                <a:cubicBezTo>
                  <a:pt x="9972" y="876"/>
                  <a:pt x="9969" y="997"/>
                  <a:pt x="9964" y="1117"/>
                </a:cubicBezTo>
                <a:cubicBezTo>
                  <a:pt x="9956" y="1260"/>
                  <a:pt x="9947" y="1401"/>
                  <a:pt x="9939" y="1544"/>
                </a:cubicBezTo>
                <a:cubicBezTo>
                  <a:pt x="9931" y="1698"/>
                  <a:pt x="9922" y="1851"/>
                  <a:pt x="9914" y="2005"/>
                </a:cubicBezTo>
                <a:cubicBezTo>
                  <a:pt x="9902" y="2158"/>
                  <a:pt x="9889" y="2311"/>
                  <a:pt x="9877" y="2464"/>
                </a:cubicBezTo>
                <a:cubicBezTo>
                  <a:pt x="9860" y="2618"/>
                  <a:pt x="9844" y="2771"/>
                  <a:pt x="9827" y="2925"/>
                </a:cubicBezTo>
                <a:cubicBezTo>
                  <a:pt x="9808" y="3078"/>
                  <a:pt x="9790" y="3231"/>
                  <a:pt x="9770" y="3384"/>
                </a:cubicBezTo>
                <a:cubicBezTo>
                  <a:pt x="9745" y="3527"/>
                  <a:pt x="9720" y="3669"/>
                  <a:pt x="9695" y="3812"/>
                </a:cubicBezTo>
                <a:cubicBezTo>
                  <a:pt x="9683" y="3889"/>
                  <a:pt x="9670" y="3965"/>
                  <a:pt x="9658" y="4042"/>
                </a:cubicBezTo>
                <a:cubicBezTo>
                  <a:pt x="9641" y="4107"/>
                  <a:pt x="9625" y="4172"/>
                  <a:pt x="9608" y="4238"/>
                </a:cubicBezTo>
                <a:cubicBezTo>
                  <a:pt x="9593" y="4293"/>
                  <a:pt x="9579" y="4348"/>
                  <a:pt x="9564" y="4403"/>
                </a:cubicBezTo>
                <a:cubicBezTo>
                  <a:pt x="9544" y="4469"/>
                  <a:pt x="9526" y="4534"/>
                  <a:pt x="9507" y="4600"/>
                </a:cubicBezTo>
                <a:cubicBezTo>
                  <a:pt x="9489" y="4644"/>
                  <a:pt x="9470" y="4688"/>
                  <a:pt x="9451" y="4732"/>
                </a:cubicBezTo>
                <a:cubicBezTo>
                  <a:pt x="9432" y="4787"/>
                  <a:pt x="9414" y="4841"/>
                  <a:pt x="9395" y="4896"/>
                </a:cubicBezTo>
                <a:lnTo>
                  <a:pt x="9332" y="4995"/>
                </a:lnTo>
                <a:cubicBezTo>
                  <a:pt x="9307" y="5027"/>
                  <a:pt x="9281" y="5060"/>
                  <a:pt x="9256" y="5093"/>
                </a:cubicBezTo>
                <a:cubicBezTo>
                  <a:pt x="9234" y="5126"/>
                  <a:pt x="9211" y="5158"/>
                  <a:pt x="9188" y="5191"/>
                </a:cubicBezTo>
                <a:lnTo>
                  <a:pt x="9107" y="5224"/>
                </a:lnTo>
                <a:lnTo>
                  <a:pt x="9107" y="5224"/>
                </a:lnTo>
                <a:lnTo>
                  <a:pt x="2" y="9404"/>
                </a:lnTo>
                <a:cubicBezTo>
                  <a:pt x="-1" y="9602"/>
                  <a:pt x="2" y="9801"/>
                  <a:pt x="0" y="10000"/>
                </a:cubicBezTo>
                <a:lnTo>
                  <a:pt x="9996" y="9989"/>
                </a:lnTo>
                <a:close/>
              </a:path>
            </a:pathLst>
          </a:custGeom>
          <a:solidFill>
            <a:schemeClr val="accent6"/>
          </a:solidFill>
          <a:ln>
            <a:noFill/>
          </a:ln>
        </p:spPr>
        <p:txBody>
          <a:bodyPr vert="horz" wrap="square" lIns="133428" tIns="66715" rIns="133428" bIns="66715" numCol="1" anchor="t" anchorCtr="0" compatLnSpc="1">
            <a:prstTxWarp prst="textNoShape">
              <a:avLst/>
            </a:prstTxWarp>
          </a:bodyPr>
          <a:lstStyle/>
          <a:p>
            <a:endParaRPr lang="ja-JP" altLang="en-US" sz="2533"/>
          </a:p>
        </p:txBody>
      </p:sp>
      <p:sp>
        <p:nvSpPr>
          <p:cNvPr id="2" name="タイトル 1"/>
          <p:cNvSpPr>
            <a:spLocks noGrp="1"/>
          </p:cNvSpPr>
          <p:nvPr>
            <p:ph type="title"/>
          </p:nvPr>
        </p:nvSpPr>
        <p:spPr>
          <a:xfrm>
            <a:off x="368550" y="1959102"/>
            <a:ext cx="11451591" cy="540000"/>
          </a:xfrm>
          <a:prstGeom prst="rect">
            <a:avLst/>
          </a:prstGeom>
        </p:spPr>
        <p:txBody>
          <a:bodyPr lIns="95767" tIns="47884" rIns="95767" bIns="47884"/>
          <a:lstStyle/>
          <a:p>
            <a:r>
              <a:rPr kumimoji="1" lang="ja-JP" altLang="en-US"/>
              <a:t>マスター タイトルの書式設定</a:t>
            </a:r>
          </a:p>
        </p:txBody>
      </p:sp>
      <p:sp>
        <p:nvSpPr>
          <p:cNvPr id="6" name="スライド番号プレースホルダー 5"/>
          <p:cNvSpPr>
            <a:spLocks noGrp="1"/>
          </p:cNvSpPr>
          <p:nvPr>
            <p:ph type="sldNum" sz="quarter" idx="12"/>
          </p:nvPr>
        </p:nvSpPr>
        <p:spPr>
          <a:xfrm>
            <a:off x="11524630" y="6468878"/>
            <a:ext cx="555811" cy="289299"/>
          </a:xfrm>
          <a:prstGeom prst="rect">
            <a:avLst/>
          </a:prstGeom>
        </p:spPr>
        <p:txBody>
          <a:bodyPr lIns="95767" tIns="47884" rIns="95767" bIns="47884"/>
          <a:lstStyle>
            <a:lvl1pPr>
              <a:defRPr sz="1333"/>
            </a:lvl1pPr>
          </a:lstStyle>
          <a:p>
            <a:fld id="{2FF5E1DE-7B95-8A44-8552-65323269AE41}" type="slidenum">
              <a:rPr lang="ja-JP" altLang="en-US" smtClean="0"/>
              <a:pPr/>
              <a:t>‹#›</a:t>
            </a:fld>
            <a:endParaRPr lang="ja-JP" altLang="en-US"/>
          </a:p>
        </p:txBody>
      </p:sp>
      <p:pic>
        <p:nvPicPr>
          <p:cNvPr id="8" name="Picture 2" descr="K:\新ロゴ（データ一式）\DLH_3_EN.png"/>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11038066" y="-34312"/>
            <a:ext cx="973128" cy="90043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87894513"/>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obj" preserve="1">
  <p:cSld name="18_タイトルとコンテンツ">
    <p:spTree>
      <p:nvGrpSpPr>
        <p:cNvPr id="1" name=""/>
        <p:cNvGrpSpPr/>
        <p:nvPr/>
      </p:nvGrpSpPr>
      <p:grpSpPr>
        <a:xfrm>
          <a:off x="0" y="0"/>
          <a:ext cx="0" cy="0"/>
          <a:chOff x="0" y="0"/>
          <a:chExt cx="0" cy="0"/>
        </a:xfrm>
      </p:grpSpPr>
      <p:sp>
        <p:nvSpPr>
          <p:cNvPr id="9" name="Freeform 8"/>
          <p:cNvSpPr>
            <a:spLocks/>
          </p:cNvSpPr>
          <p:nvPr userDrawn="1"/>
        </p:nvSpPr>
        <p:spPr bwMode="auto">
          <a:xfrm>
            <a:off x="-2100" y="5505984"/>
            <a:ext cx="12192504" cy="1353504"/>
          </a:xfrm>
          <a:custGeom>
            <a:avLst/>
            <a:gdLst>
              <a:gd name="T0" fmla="*/ 3622 w 3622"/>
              <a:gd name="T1" fmla="*/ 608 h 608"/>
              <a:gd name="T2" fmla="*/ 3622 w 3622"/>
              <a:gd name="T3" fmla="*/ 0 h 608"/>
              <a:gd name="T4" fmla="*/ 3622 w 3622"/>
              <a:gd name="T5" fmla="*/ 0 h 608"/>
              <a:gd name="T6" fmla="*/ 3622 w 3622"/>
              <a:gd name="T7" fmla="*/ 14 h 608"/>
              <a:gd name="T8" fmla="*/ 3616 w 3622"/>
              <a:gd name="T9" fmla="*/ 46 h 608"/>
              <a:gd name="T10" fmla="*/ 3612 w 3622"/>
              <a:gd name="T11" fmla="*/ 68 h 608"/>
              <a:gd name="T12" fmla="*/ 3604 w 3622"/>
              <a:gd name="T13" fmla="*/ 94 h 608"/>
              <a:gd name="T14" fmla="*/ 3596 w 3622"/>
              <a:gd name="T15" fmla="*/ 122 h 608"/>
              <a:gd name="T16" fmla="*/ 3584 w 3622"/>
              <a:gd name="T17" fmla="*/ 150 h 608"/>
              <a:gd name="T18" fmla="*/ 3568 w 3622"/>
              <a:gd name="T19" fmla="*/ 178 h 608"/>
              <a:gd name="T20" fmla="*/ 3550 w 3622"/>
              <a:gd name="T21" fmla="*/ 206 h 608"/>
              <a:gd name="T22" fmla="*/ 3526 w 3622"/>
              <a:gd name="T23" fmla="*/ 232 h 608"/>
              <a:gd name="T24" fmla="*/ 3514 w 3622"/>
              <a:gd name="T25" fmla="*/ 246 h 608"/>
              <a:gd name="T26" fmla="*/ 3498 w 3622"/>
              <a:gd name="T27" fmla="*/ 258 h 608"/>
              <a:gd name="T28" fmla="*/ 3484 w 3622"/>
              <a:gd name="T29" fmla="*/ 268 h 608"/>
              <a:gd name="T30" fmla="*/ 3466 w 3622"/>
              <a:gd name="T31" fmla="*/ 280 h 608"/>
              <a:gd name="T32" fmla="*/ 3448 w 3622"/>
              <a:gd name="T33" fmla="*/ 288 h 608"/>
              <a:gd name="T34" fmla="*/ 3430 w 3622"/>
              <a:gd name="T35" fmla="*/ 298 h 608"/>
              <a:gd name="T36" fmla="*/ 3410 w 3622"/>
              <a:gd name="T37" fmla="*/ 304 h 608"/>
              <a:gd name="T38" fmla="*/ 3386 w 3622"/>
              <a:gd name="T39" fmla="*/ 310 h 608"/>
              <a:gd name="T40" fmla="*/ 3364 w 3622"/>
              <a:gd name="T41" fmla="*/ 316 h 608"/>
              <a:gd name="T42" fmla="*/ 3338 w 3622"/>
              <a:gd name="T43" fmla="*/ 318 h 608"/>
              <a:gd name="T44" fmla="*/ 3338 w 3622"/>
              <a:gd name="T45" fmla="*/ 318 h 608"/>
              <a:gd name="T46" fmla="*/ 0 w 3622"/>
              <a:gd name="T47" fmla="*/ 608 h 608"/>
              <a:gd name="T48" fmla="*/ 3622 w 3622"/>
              <a:gd name="T49" fmla="*/ 608 h 608"/>
              <a:gd name="connsiteX0" fmla="*/ 10000 w 10000"/>
              <a:gd name="connsiteY0" fmla="*/ 10000 h 10000"/>
              <a:gd name="connsiteX1" fmla="*/ 10000 w 10000"/>
              <a:gd name="connsiteY1" fmla="*/ 0 h 10000"/>
              <a:gd name="connsiteX2" fmla="*/ 10000 w 10000"/>
              <a:gd name="connsiteY2" fmla="*/ 0 h 10000"/>
              <a:gd name="connsiteX3" fmla="*/ 10000 w 10000"/>
              <a:gd name="connsiteY3" fmla="*/ 230 h 10000"/>
              <a:gd name="connsiteX4" fmla="*/ 9983 w 10000"/>
              <a:gd name="connsiteY4" fmla="*/ 757 h 10000"/>
              <a:gd name="connsiteX5" fmla="*/ 9972 w 10000"/>
              <a:gd name="connsiteY5" fmla="*/ 1118 h 10000"/>
              <a:gd name="connsiteX6" fmla="*/ 9950 w 10000"/>
              <a:gd name="connsiteY6" fmla="*/ 1546 h 10000"/>
              <a:gd name="connsiteX7" fmla="*/ 9928 w 10000"/>
              <a:gd name="connsiteY7" fmla="*/ 2007 h 10000"/>
              <a:gd name="connsiteX8" fmla="*/ 9895 w 10000"/>
              <a:gd name="connsiteY8" fmla="*/ 2467 h 10000"/>
              <a:gd name="connsiteX9" fmla="*/ 9851 w 10000"/>
              <a:gd name="connsiteY9" fmla="*/ 2928 h 10000"/>
              <a:gd name="connsiteX10" fmla="*/ 9801 w 10000"/>
              <a:gd name="connsiteY10" fmla="*/ 3388 h 10000"/>
              <a:gd name="connsiteX11" fmla="*/ 9735 w 10000"/>
              <a:gd name="connsiteY11" fmla="*/ 3816 h 10000"/>
              <a:gd name="connsiteX12" fmla="*/ 9702 w 10000"/>
              <a:gd name="connsiteY12" fmla="*/ 4046 h 10000"/>
              <a:gd name="connsiteX13" fmla="*/ 9658 w 10000"/>
              <a:gd name="connsiteY13" fmla="*/ 4243 h 10000"/>
              <a:gd name="connsiteX14" fmla="*/ 9619 w 10000"/>
              <a:gd name="connsiteY14" fmla="*/ 4408 h 10000"/>
              <a:gd name="connsiteX15" fmla="*/ 9569 w 10000"/>
              <a:gd name="connsiteY15" fmla="*/ 4605 h 10000"/>
              <a:gd name="connsiteX16" fmla="*/ 9520 w 10000"/>
              <a:gd name="connsiteY16" fmla="*/ 4737 h 10000"/>
              <a:gd name="connsiteX17" fmla="*/ 9470 w 10000"/>
              <a:gd name="connsiteY17" fmla="*/ 4901 h 10000"/>
              <a:gd name="connsiteX18" fmla="*/ 9415 w 10000"/>
              <a:gd name="connsiteY18" fmla="*/ 5000 h 10000"/>
              <a:gd name="connsiteX19" fmla="*/ 9348 w 10000"/>
              <a:gd name="connsiteY19" fmla="*/ 5099 h 10000"/>
              <a:gd name="connsiteX20" fmla="*/ 9288 w 10000"/>
              <a:gd name="connsiteY20" fmla="*/ 5197 h 10000"/>
              <a:gd name="connsiteX21" fmla="*/ 9216 w 10000"/>
              <a:gd name="connsiteY21" fmla="*/ 5230 h 10000"/>
              <a:gd name="connsiteX22" fmla="*/ 9216 w 10000"/>
              <a:gd name="connsiteY22" fmla="*/ 5230 h 10000"/>
              <a:gd name="connsiteX23" fmla="*/ 1190 w 10000"/>
              <a:gd name="connsiteY23" fmla="*/ 9414 h 10000"/>
              <a:gd name="connsiteX24" fmla="*/ 0 w 10000"/>
              <a:gd name="connsiteY24" fmla="*/ 10000 h 10000"/>
              <a:gd name="connsiteX25" fmla="*/ 10000 w 10000"/>
              <a:gd name="connsiteY25" fmla="*/ 10000 h 10000"/>
              <a:gd name="connsiteX0" fmla="*/ 10000 w 10000"/>
              <a:gd name="connsiteY0" fmla="*/ 10000 h 10011"/>
              <a:gd name="connsiteX1" fmla="*/ 10000 w 10000"/>
              <a:gd name="connsiteY1" fmla="*/ 0 h 10011"/>
              <a:gd name="connsiteX2" fmla="*/ 10000 w 10000"/>
              <a:gd name="connsiteY2" fmla="*/ 0 h 10011"/>
              <a:gd name="connsiteX3" fmla="*/ 10000 w 10000"/>
              <a:gd name="connsiteY3" fmla="*/ 230 h 10011"/>
              <a:gd name="connsiteX4" fmla="*/ 9983 w 10000"/>
              <a:gd name="connsiteY4" fmla="*/ 757 h 10011"/>
              <a:gd name="connsiteX5" fmla="*/ 9972 w 10000"/>
              <a:gd name="connsiteY5" fmla="*/ 1118 h 10011"/>
              <a:gd name="connsiteX6" fmla="*/ 9950 w 10000"/>
              <a:gd name="connsiteY6" fmla="*/ 1546 h 10011"/>
              <a:gd name="connsiteX7" fmla="*/ 9928 w 10000"/>
              <a:gd name="connsiteY7" fmla="*/ 2007 h 10011"/>
              <a:gd name="connsiteX8" fmla="*/ 9895 w 10000"/>
              <a:gd name="connsiteY8" fmla="*/ 2467 h 10011"/>
              <a:gd name="connsiteX9" fmla="*/ 9851 w 10000"/>
              <a:gd name="connsiteY9" fmla="*/ 2928 h 10011"/>
              <a:gd name="connsiteX10" fmla="*/ 9801 w 10000"/>
              <a:gd name="connsiteY10" fmla="*/ 3388 h 10011"/>
              <a:gd name="connsiteX11" fmla="*/ 9735 w 10000"/>
              <a:gd name="connsiteY11" fmla="*/ 3816 h 10011"/>
              <a:gd name="connsiteX12" fmla="*/ 9702 w 10000"/>
              <a:gd name="connsiteY12" fmla="*/ 4046 h 10011"/>
              <a:gd name="connsiteX13" fmla="*/ 9658 w 10000"/>
              <a:gd name="connsiteY13" fmla="*/ 4243 h 10011"/>
              <a:gd name="connsiteX14" fmla="*/ 9619 w 10000"/>
              <a:gd name="connsiteY14" fmla="*/ 4408 h 10011"/>
              <a:gd name="connsiteX15" fmla="*/ 9569 w 10000"/>
              <a:gd name="connsiteY15" fmla="*/ 4605 h 10011"/>
              <a:gd name="connsiteX16" fmla="*/ 9520 w 10000"/>
              <a:gd name="connsiteY16" fmla="*/ 4737 h 10011"/>
              <a:gd name="connsiteX17" fmla="*/ 9470 w 10000"/>
              <a:gd name="connsiteY17" fmla="*/ 4901 h 10011"/>
              <a:gd name="connsiteX18" fmla="*/ 9415 w 10000"/>
              <a:gd name="connsiteY18" fmla="*/ 5000 h 10011"/>
              <a:gd name="connsiteX19" fmla="*/ 9348 w 10000"/>
              <a:gd name="connsiteY19" fmla="*/ 5099 h 10011"/>
              <a:gd name="connsiteX20" fmla="*/ 9288 w 10000"/>
              <a:gd name="connsiteY20" fmla="*/ 5197 h 10011"/>
              <a:gd name="connsiteX21" fmla="*/ 9216 w 10000"/>
              <a:gd name="connsiteY21" fmla="*/ 5230 h 10011"/>
              <a:gd name="connsiteX22" fmla="*/ 9216 w 10000"/>
              <a:gd name="connsiteY22" fmla="*/ 5230 h 10011"/>
              <a:gd name="connsiteX23" fmla="*/ 1190 w 10000"/>
              <a:gd name="connsiteY23" fmla="*/ 9414 h 10011"/>
              <a:gd name="connsiteX24" fmla="*/ 0 w 10000"/>
              <a:gd name="connsiteY24" fmla="*/ 10000 h 10011"/>
              <a:gd name="connsiteX25" fmla="*/ 1185 w 10000"/>
              <a:gd name="connsiteY25" fmla="*/ 10011 h 10011"/>
              <a:gd name="connsiteX26" fmla="*/ 10000 w 10000"/>
              <a:gd name="connsiteY26" fmla="*/ 10000 h 10011"/>
              <a:gd name="connsiteX0" fmla="*/ 8815 w 8815"/>
              <a:gd name="connsiteY0" fmla="*/ 10000 h 10011"/>
              <a:gd name="connsiteX1" fmla="*/ 8815 w 8815"/>
              <a:gd name="connsiteY1" fmla="*/ 0 h 10011"/>
              <a:gd name="connsiteX2" fmla="*/ 8815 w 8815"/>
              <a:gd name="connsiteY2" fmla="*/ 0 h 10011"/>
              <a:gd name="connsiteX3" fmla="*/ 8815 w 8815"/>
              <a:gd name="connsiteY3" fmla="*/ 230 h 10011"/>
              <a:gd name="connsiteX4" fmla="*/ 8798 w 8815"/>
              <a:gd name="connsiteY4" fmla="*/ 757 h 10011"/>
              <a:gd name="connsiteX5" fmla="*/ 8787 w 8815"/>
              <a:gd name="connsiteY5" fmla="*/ 1118 h 10011"/>
              <a:gd name="connsiteX6" fmla="*/ 8765 w 8815"/>
              <a:gd name="connsiteY6" fmla="*/ 1546 h 10011"/>
              <a:gd name="connsiteX7" fmla="*/ 8743 w 8815"/>
              <a:gd name="connsiteY7" fmla="*/ 2007 h 10011"/>
              <a:gd name="connsiteX8" fmla="*/ 8710 w 8815"/>
              <a:gd name="connsiteY8" fmla="*/ 2467 h 10011"/>
              <a:gd name="connsiteX9" fmla="*/ 8666 w 8815"/>
              <a:gd name="connsiteY9" fmla="*/ 2928 h 10011"/>
              <a:gd name="connsiteX10" fmla="*/ 8616 w 8815"/>
              <a:gd name="connsiteY10" fmla="*/ 3388 h 10011"/>
              <a:gd name="connsiteX11" fmla="*/ 8550 w 8815"/>
              <a:gd name="connsiteY11" fmla="*/ 3816 h 10011"/>
              <a:gd name="connsiteX12" fmla="*/ 8517 w 8815"/>
              <a:gd name="connsiteY12" fmla="*/ 4046 h 10011"/>
              <a:gd name="connsiteX13" fmla="*/ 8473 w 8815"/>
              <a:gd name="connsiteY13" fmla="*/ 4243 h 10011"/>
              <a:gd name="connsiteX14" fmla="*/ 8434 w 8815"/>
              <a:gd name="connsiteY14" fmla="*/ 4408 h 10011"/>
              <a:gd name="connsiteX15" fmla="*/ 8384 w 8815"/>
              <a:gd name="connsiteY15" fmla="*/ 4605 h 10011"/>
              <a:gd name="connsiteX16" fmla="*/ 8335 w 8815"/>
              <a:gd name="connsiteY16" fmla="*/ 4737 h 10011"/>
              <a:gd name="connsiteX17" fmla="*/ 8285 w 8815"/>
              <a:gd name="connsiteY17" fmla="*/ 4901 h 10011"/>
              <a:gd name="connsiteX18" fmla="*/ 8230 w 8815"/>
              <a:gd name="connsiteY18" fmla="*/ 5000 h 10011"/>
              <a:gd name="connsiteX19" fmla="*/ 8163 w 8815"/>
              <a:gd name="connsiteY19" fmla="*/ 5099 h 10011"/>
              <a:gd name="connsiteX20" fmla="*/ 8103 w 8815"/>
              <a:gd name="connsiteY20" fmla="*/ 5197 h 10011"/>
              <a:gd name="connsiteX21" fmla="*/ 8031 w 8815"/>
              <a:gd name="connsiteY21" fmla="*/ 5230 h 10011"/>
              <a:gd name="connsiteX22" fmla="*/ 8031 w 8815"/>
              <a:gd name="connsiteY22" fmla="*/ 5230 h 10011"/>
              <a:gd name="connsiteX23" fmla="*/ 5 w 8815"/>
              <a:gd name="connsiteY23" fmla="*/ 9414 h 10011"/>
              <a:gd name="connsiteX24" fmla="*/ 0 w 8815"/>
              <a:gd name="connsiteY24" fmla="*/ 10011 h 10011"/>
              <a:gd name="connsiteX25" fmla="*/ 8815 w 8815"/>
              <a:gd name="connsiteY25" fmla="*/ 10000 h 10011"/>
              <a:gd name="connsiteX0" fmla="*/ 9996 w 9996"/>
              <a:gd name="connsiteY0" fmla="*/ 9989 h 10000"/>
              <a:gd name="connsiteX1" fmla="*/ 9996 w 9996"/>
              <a:gd name="connsiteY1" fmla="*/ 0 h 10000"/>
              <a:gd name="connsiteX2" fmla="*/ 9996 w 9996"/>
              <a:gd name="connsiteY2" fmla="*/ 0 h 10000"/>
              <a:gd name="connsiteX3" fmla="*/ 9996 w 9996"/>
              <a:gd name="connsiteY3" fmla="*/ 230 h 10000"/>
              <a:gd name="connsiteX4" fmla="*/ 9977 w 9996"/>
              <a:gd name="connsiteY4" fmla="*/ 756 h 10000"/>
              <a:gd name="connsiteX5" fmla="*/ 9964 w 9996"/>
              <a:gd name="connsiteY5" fmla="*/ 1117 h 10000"/>
              <a:gd name="connsiteX6" fmla="*/ 9939 w 9996"/>
              <a:gd name="connsiteY6" fmla="*/ 1544 h 10000"/>
              <a:gd name="connsiteX7" fmla="*/ 9914 w 9996"/>
              <a:gd name="connsiteY7" fmla="*/ 2005 h 10000"/>
              <a:gd name="connsiteX8" fmla="*/ 9877 w 9996"/>
              <a:gd name="connsiteY8" fmla="*/ 2464 h 10000"/>
              <a:gd name="connsiteX9" fmla="*/ 9827 w 9996"/>
              <a:gd name="connsiteY9" fmla="*/ 2925 h 10000"/>
              <a:gd name="connsiteX10" fmla="*/ 9770 w 9996"/>
              <a:gd name="connsiteY10" fmla="*/ 3384 h 10000"/>
              <a:gd name="connsiteX11" fmla="*/ 9695 w 9996"/>
              <a:gd name="connsiteY11" fmla="*/ 3812 h 10000"/>
              <a:gd name="connsiteX12" fmla="*/ 9658 w 9996"/>
              <a:gd name="connsiteY12" fmla="*/ 4042 h 10000"/>
              <a:gd name="connsiteX13" fmla="*/ 9608 w 9996"/>
              <a:gd name="connsiteY13" fmla="*/ 4238 h 10000"/>
              <a:gd name="connsiteX14" fmla="*/ 9564 w 9996"/>
              <a:gd name="connsiteY14" fmla="*/ 4403 h 10000"/>
              <a:gd name="connsiteX15" fmla="*/ 9507 w 9996"/>
              <a:gd name="connsiteY15" fmla="*/ 4600 h 10000"/>
              <a:gd name="connsiteX16" fmla="*/ 9451 w 9996"/>
              <a:gd name="connsiteY16" fmla="*/ 4732 h 10000"/>
              <a:gd name="connsiteX17" fmla="*/ 9395 w 9996"/>
              <a:gd name="connsiteY17" fmla="*/ 4896 h 10000"/>
              <a:gd name="connsiteX18" fmla="*/ 9332 w 9996"/>
              <a:gd name="connsiteY18" fmla="*/ 4995 h 10000"/>
              <a:gd name="connsiteX19" fmla="*/ 9256 w 9996"/>
              <a:gd name="connsiteY19" fmla="*/ 5093 h 10000"/>
              <a:gd name="connsiteX20" fmla="*/ 9188 w 9996"/>
              <a:gd name="connsiteY20" fmla="*/ 5191 h 10000"/>
              <a:gd name="connsiteX21" fmla="*/ 9107 w 9996"/>
              <a:gd name="connsiteY21" fmla="*/ 5224 h 10000"/>
              <a:gd name="connsiteX22" fmla="*/ 9107 w 9996"/>
              <a:gd name="connsiteY22" fmla="*/ 5224 h 10000"/>
              <a:gd name="connsiteX23" fmla="*/ 2 w 9996"/>
              <a:gd name="connsiteY23" fmla="*/ 9404 h 10000"/>
              <a:gd name="connsiteX24" fmla="*/ 0 w 9996"/>
              <a:gd name="connsiteY24" fmla="*/ 10000 h 10000"/>
              <a:gd name="connsiteX25" fmla="*/ 9996 w 9996"/>
              <a:gd name="connsiteY25" fmla="*/ 9989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9996" h="10000">
                <a:moveTo>
                  <a:pt x="9996" y="9989"/>
                </a:moveTo>
                <a:lnTo>
                  <a:pt x="9996" y="0"/>
                </a:lnTo>
                <a:lnTo>
                  <a:pt x="9996" y="0"/>
                </a:lnTo>
                <a:lnTo>
                  <a:pt x="9996" y="230"/>
                </a:lnTo>
                <a:cubicBezTo>
                  <a:pt x="9989" y="406"/>
                  <a:pt x="9984" y="580"/>
                  <a:pt x="9977" y="756"/>
                </a:cubicBezTo>
                <a:cubicBezTo>
                  <a:pt x="9972" y="876"/>
                  <a:pt x="9969" y="997"/>
                  <a:pt x="9964" y="1117"/>
                </a:cubicBezTo>
                <a:cubicBezTo>
                  <a:pt x="9956" y="1260"/>
                  <a:pt x="9947" y="1401"/>
                  <a:pt x="9939" y="1544"/>
                </a:cubicBezTo>
                <a:cubicBezTo>
                  <a:pt x="9931" y="1698"/>
                  <a:pt x="9922" y="1851"/>
                  <a:pt x="9914" y="2005"/>
                </a:cubicBezTo>
                <a:cubicBezTo>
                  <a:pt x="9902" y="2158"/>
                  <a:pt x="9889" y="2311"/>
                  <a:pt x="9877" y="2464"/>
                </a:cubicBezTo>
                <a:cubicBezTo>
                  <a:pt x="9860" y="2618"/>
                  <a:pt x="9844" y="2771"/>
                  <a:pt x="9827" y="2925"/>
                </a:cubicBezTo>
                <a:cubicBezTo>
                  <a:pt x="9808" y="3078"/>
                  <a:pt x="9790" y="3231"/>
                  <a:pt x="9770" y="3384"/>
                </a:cubicBezTo>
                <a:cubicBezTo>
                  <a:pt x="9745" y="3527"/>
                  <a:pt x="9720" y="3669"/>
                  <a:pt x="9695" y="3812"/>
                </a:cubicBezTo>
                <a:cubicBezTo>
                  <a:pt x="9683" y="3889"/>
                  <a:pt x="9670" y="3965"/>
                  <a:pt x="9658" y="4042"/>
                </a:cubicBezTo>
                <a:cubicBezTo>
                  <a:pt x="9641" y="4107"/>
                  <a:pt x="9625" y="4172"/>
                  <a:pt x="9608" y="4238"/>
                </a:cubicBezTo>
                <a:cubicBezTo>
                  <a:pt x="9593" y="4293"/>
                  <a:pt x="9579" y="4348"/>
                  <a:pt x="9564" y="4403"/>
                </a:cubicBezTo>
                <a:cubicBezTo>
                  <a:pt x="9544" y="4469"/>
                  <a:pt x="9526" y="4534"/>
                  <a:pt x="9507" y="4600"/>
                </a:cubicBezTo>
                <a:cubicBezTo>
                  <a:pt x="9489" y="4644"/>
                  <a:pt x="9470" y="4688"/>
                  <a:pt x="9451" y="4732"/>
                </a:cubicBezTo>
                <a:cubicBezTo>
                  <a:pt x="9432" y="4787"/>
                  <a:pt x="9414" y="4841"/>
                  <a:pt x="9395" y="4896"/>
                </a:cubicBezTo>
                <a:lnTo>
                  <a:pt x="9332" y="4995"/>
                </a:lnTo>
                <a:cubicBezTo>
                  <a:pt x="9307" y="5027"/>
                  <a:pt x="9281" y="5060"/>
                  <a:pt x="9256" y="5093"/>
                </a:cubicBezTo>
                <a:cubicBezTo>
                  <a:pt x="9234" y="5126"/>
                  <a:pt x="9211" y="5158"/>
                  <a:pt x="9188" y="5191"/>
                </a:cubicBezTo>
                <a:lnTo>
                  <a:pt x="9107" y="5224"/>
                </a:lnTo>
                <a:lnTo>
                  <a:pt x="9107" y="5224"/>
                </a:lnTo>
                <a:lnTo>
                  <a:pt x="2" y="9404"/>
                </a:lnTo>
                <a:cubicBezTo>
                  <a:pt x="-1" y="9602"/>
                  <a:pt x="2" y="9801"/>
                  <a:pt x="0" y="10000"/>
                </a:cubicBezTo>
                <a:lnTo>
                  <a:pt x="9996" y="9989"/>
                </a:lnTo>
                <a:close/>
              </a:path>
            </a:pathLst>
          </a:custGeom>
          <a:solidFill>
            <a:schemeClr val="accent6"/>
          </a:solidFill>
          <a:ln>
            <a:noFill/>
          </a:ln>
        </p:spPr>
        <p:txBody>
          <a:bodyPr vert="horz" wrap="square" lIns="133428" tIns="66715" rIns="133428" bIns="66715" numCol="1" anchor="t" anchorCtr="0" compatLnSpc="1">
            <a:prstTxWarp prst="textNoShape">
              <a:avLst/>
            </a:prstTxWarp>
          </a:bodyPr>
          <a:lstStyle/>
          <a:p>
            <a:endParaRPr lang="ja-JP" altLang="en-US" sz="2533"/>
          </a:p>
        </p:txBody>
      </p:sp>
      <p:sp>
        <p:nvSpPr>
          <p:cNvPr id="2" name="タイトル 1"/>
          <p:cNvSpPr>
            <a:spLocks noGrp="1"/>
          </p:cNvSpPr>
          <p:nvPr>
            <p:ph type="title"/>
          </p:nvPr>
        </p:nvSpPr>
        <p:spPr>
          <a:xfrm>
            <a:off x="368549" y="194236"/>
            <a:ext cx="9791452" cy="540000"/>
          </a:xfrm>
          <a:prstGeom prst="rect">
            <a:avLst/>
          </a:prstGeom>
        </p:spPr>
        <p:txBody>
          <a:bodyPr lIns="95767" tIns="47884" rIns="95767" bIns="47884"/>
          <a:lstStyle/>
          <a:p>
            <a:r>
              <a:rPr kumimoji="1" lang="ja-JP" altLang="en-US"/>
              <a:t>マスター タイトルの書式設定</a:t>
            </a:r>
          </a:p>
        </p:txBody>
      </p:sp>
      <p:sp>
        <p:nvSpPr>
          <p:cNvPr id="3" name="コンテンツ プレースホルダー 2"/>
          <p:cNvSpPr>
            <a:spLocks noGrp="1"/>
          </p:cNvSpPr>
          <p:nvPr>
            <p:ph idx="1"/>
          </p:nvPr>
        </p:nvSpPr>
        <p:spPr>
          <a:xfrm>
            <a:off x="368551" y="903600"/>
            <a:ext cx="11583452" cy="5540400"/>
          </a:xfrm>
          <a:prstGeom prst="rect">
            <a:avLst/>
          </a:prstGeom>
        </p:spPr>
        <p:txBody>
          <a:bodyPr lIns="95767" tIns="47884" rIns="95767" bIns="47884"/>
          <a:lstStyle>
            <a:lvl2pPr indent="-236233">
              <a:defRPr/>
            </a:lvl2pPr>
            <a:lvl3pPr indent="-236233">
              <a:defRPr/>
            </a:lvl3pPr>
            <a:lvl4pPr indent="-236233">
              <a:defRPr/>
            </a:lvl4pPr>
            <a:lvl5pPr indent="-236233">
              <a:defRPr/>
            </a:lvl5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6" name="スライド番号プレースホルダー 5"/>
          <p:cNvSpPr>
            <a:spLocks noGrp="1"/>
          </p:cNvSpPr>
          <p:nvPr>
            <p:ph type="sldNum" sz="quarter" idx="12"/>
          </p:nvPr>
        </p:nvSpPr>
        <p:spPr>
          <a:xfrm>
            <a:off x="11524630" y="6468878"/>
            <a:ext cx="555811" cy="289299"/>
          </a:xfrm>
          <a:prstGeom prst="rect">
            <a:avLst/>
          </a:prstGeom>
        </p:spPr>
        <p:txBody>
          <a:bodyPr lIns="95767" tIns="47884" rIns="95767" bIns="47884"/>
          <a:lstStyle>
            <a:lvl1pPr>
              <a:defRPr sz="1333"/>
            </a:lvl1pPr>
          </a:lstStyle>
          <a:p>
            <a:fld id="{2FF5E1DE-7B95-8A44-8552-65323269AE41}" type="slidenum">
              <a:rPr lang="ja-JP" altLang="en-US" smtClean="0"/>
              <a:pPr/>
              <a:t>‹#›</a:t>
            </a:fld>
            <a:endParaRPr lang="ja-JP" altLang="en-US"/>
          </a:p>
        </p:txBody>
      </p:sp>
      <p:cxnSp>
        <p:nvCxnSpPr>
          <p:cNvPr id="8" name="直線コネクタ 7"/>
          <p:cNvCxnSpPr/>
          <p:nvPr userDrawn="1"/>
        </p:nvCxnSpPr>
        <p:spPr>
          <a:xfrm>
            <a:off x="239959" y="817200"/>
            <a:ext cx="11709966" cy="0"/>
          </a:xfrm>
          <a:prstGeom prst="line">
            <a:avLst/>
          </a:prstGeom>
          <a:ln>
            <a:solidFill>
              <a:srgbClr val="92846E"/>
            </a:solidFill>
          </a:ln>
          <a:effectLst/>
        </p:spPr>
        <p:style>
          <a:lnRef idx="2">
            <a:schemeClr val="accent1"/>
          </a:lnRef>
          <a:fillRef idx="0">
            <a:schemeClr val="accent1"/>
          </a:fillRef>
          <a:effectRef idx="1">
            <a:schemeClr val="accent1"/>
          </a:effectRef>
          <a:fontRef idx="minor">
            <a:schemeClr val="tx1"/>
          </a:fontRef>
        </p:style>
      </p:cxnSp>
      <p:pic>
        <p:nvPicPr>
          <p:cNvPr id="10" name="Picture 2" descr="K:\新ロゴ（データ一式）\DLH_3_EN.png"/>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11038066" y="-34312"/>
            <a:ext cx="973128" cy="90043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13734535"/>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type="title" preserve="1">
  <p:cSld name="6_タイトル スライド">
    <p:spTree>
      <p:nvGrpSpPr>
        <p:cNvPr id="1" name=""/>
        <p:cNvGrpSpPr/>
        <p:nvPr/>
      </p:nvGrpSpPr>
      <p:grpSpPr>
        <a:xfrm>
          <a:off x="0" y="0"/>
          <a:ext cx="0" cy="0"/>
          <a:chOff x="0" y="0"/>
          <a:chExt cx="0" cy="0"/>
        </a:xfrm>
      </p:grpSpPr>
      <p:sp>
        <p:nvSpPr>
          <p:cNvPr id="10" name="Freeform 5"/>
          <p:cNvSpPr>
            <a:spLocks/>
          </p:cNvSpPr>
          <p:nvPr userDrawn="1"/>
        </p:nvSpPr>
        <p:spPr bwMode="auto">
          <a:xfrm>
            <a:off x="233538" y="169337"/>
            <a:ext cx="11730712" cy="5207000"/>
          </a:xfrm>
          <a:custGeom>
            <a:avLst/>
            <a:gdLst>
              <a:gd name="T0" fmla="*/ 0 w 1618"/>
              <a:gd name="T1" fmla="*/ 0 h 957"/>
              <a:gd name="T2" fmla="*/ 0 w 1618"/>
              <a:gd name="T3" fmla="*/ 957 h 957"/>
              <a:gd name="T4" fmla="*/ 1279 w 1618"/>
              <a:gd name="T5" fmla="*/ 842 h 957"/>
              <a:gd name="T6" fmla="*/ 1618 w 1618"/>
              <a:gd name="T7" fmla="*/ 472 h 957"/>
              <a:gd name="T8" fmla="*/ 1618 w 1618"/>
              <a:gd name="T9" fmla="*/ 0 h 957"/>
              <a:gd name="T10" fmla="*/ 0 w 1618"/>
              <a:gd name="T11" fmla="*/ 0 h 957"/>
            </a:gdLst>
            <a:ahLst/>
            <a:cxnLst>
              <a:cxn ang="0">
                <a:pos x="T0" y="T1"/>
              </a:cxn>
              <a:cxn ang="0">
                <a:pos x="T2" y="T3"/>
              </a:cxn>
              <a:cxn ang="0">
                <a:pos x="T4" y="T5"/>
              </a:cxn>
              <a:cxn ang="0">
                <a:pos x="T6" y="T7"/>
              </a:cxn>
              <a:cxn ang="0">
                <a:pos x="T8" y="T9"/>
              </a:cxn>
              <a:cxn ang="0">
                <a:pos x="T10" y="T11"/>
              </a:cxn>
            </a:cxnLst>
            <a:rect l="0" t="0" r="r" b="b"/>
            <a:pathLst>
              <a:path w="1618" h="957">
                <a:moveTo>
                  <a:pt x="0" y="0"/>
                </a:moveTo>
                <a:cubicBezTo>
                  <a:pt x="0" y="957"/>
                  <a:pt x="0" y="957"/>
                  <a:pt x="0" y="957"/>
                </a:cubicBezTo>
                <a:cubicBezTo>
                  <a:pt x="1279" y="842"/>
                  <a:pt x="1279" y="842"/>
                  <a:pt x="1279" y="842"/>
                </a:cubicBezTo>
                <a:cubicBezTo>
                  <a:pt x="1465" y="825"/>
                  <a:pt x="1618" y="659"/>
                  <a:pt x="1618" y="472"/>
                </a:cubicBezTo>
                <a:cubicBezTo>
                  <a:pt x="1618" y="0"/>
                  <a:pt x="1618" y="0"/>
                  <a:pt x="1618" y="0"/>
                </a:cubicBezTo>
                <a:lnTo>
                  <a:pt x="0" y="0"/>
                </a:lnTo>
                <a:close/>
              </a:path>
            </a:pathLst>
          </a:custGeom>
          <a:solidFill>
            <a:schemeClr val="accent6"/>
          </a:solidFill>
          <a:ln>
            <a:noFill/>
          </a:ln>
        </p:spPr>
        <p:txBody>
          <a:bodyPr lIns="127667" tIns="63834" rIns="127667" bIns="63834"/>
          <a:lstStyle/>
          <a:p>
            <a:endParaRPr lang="ja-JP" altLang="en-US" sz="2533"/>
          </a:p>
        </p:txBody>
      </p:sp>
      <p:sp>
        <p:nvSpPr>
          <p:cNvPr id="2" name="タイトル 1"/>
          <p:cNvSpPr>
            <a:spLocks noGrp="1"/>
          </p:cNvSpPr>
          <p:nvPr>
            <p:ph type="ctrTitle"/>
          </p:nvPr>
        </p:nvSpPr>
        <p:spPr>
          <a:xfrm>
            <a:off x="914400" y="1416804"/>
            <a:ext cx="10363200" cy="1470025"/>
          </a:xfrm>
          <a:prstGeom prst="rect">
            <a:avLst/>
          </a:prstGeom>
        </p:spPr>
        <p:txBody>
          <a:bodyPr lIns="95767" tIns="47884" rIns="95767" bIns="47884" anchor="b">
            <a:normAutofit/>
          </a:bodyPr>
          <a:lstStyle>
            <a:lvl1pPr algn="l">
              <a:defRPr sz="5199" kern="1200">
                <a:solidFill>
                  <a:schemeClr val="tx1"/>
                </a:solidFill>
              </a:defRPr>
            </a:lvl1pPr>
          </a:lstStyle>
          <a:p>
            <a:r>
              <a:rPr kumimoji="1" lang="ja-JP" altLang="en-US"/>
              <a:t>マスター タイトルの書式設定</a:t>
            </a:r>
          </a:p>
        </p:txBody>
      </p:sp>
      <p:sp>
        <p:nvSpPr>
          <p:cNvPr id="3" name="サブタイトル 2"/>
          <p:cNvSpPr>
            <a:spLocks noGrp="1"/>
          </p:cNvSpPr>
          <p:nvPr>
            <p:ph type="subTitle" idx="1"/>
          </p:nvPr>
        </p:nvSpPr>
        <p:spPr>
          <a:xfrm>
            <a:off x="916801" y="3420000"/>
            <a:ext cx="9691436" cy="977153"/>
          </a:xfrm>
          <a:prstGeom prst="rect">
            <a:avLst/>
          </a:prstGeom>
        </p:spPr>
        <p:txBody>
          <a:bodyPr lIns="95767" tIns="47884" rIns="95767" bIns="47884">
            <a:normAutofit/>
          </a:bodyPr>
          <a:lstStyle>
            <a:lvl1pPr marL="0" indent="0" algn="l">
              <a:buNone/>
              <a:defRPr sz="3333">
                <a:solidFill>
                  <a:schemeClr val="tx1"/>
                </a:solidFill>
              </a:defRPr>
            </a:lvl1pPr>
            <a:lvl2pPr marL="638335" indent="0" algn="ctr">
              <a:buNone/>
              <a:defRPr>
                <a:solidFill>
                  <a:schemeClr val="tx1">
                    <a:tint val="75000"/>
                  </a:schemeClr>
                </a:solidFill>
              </a:defRPr>
            </a:lvl2pPr>
            <a:lvl3pPr marL="1276669" indent="0" algn="ctr">
              <a:buNone/>
              <a:defRPr>
                <a:solidFill>
                  <a:schemeClr val="tx1">
                    <a:tint val="75000"/>
                  </a:schemeClr>
                </a:solidFill>
              </a:defRPr>
            </a:lvl3pPr>
            <a:lvl4pPr marL="1915003" indent="0" algn="ctr">
              <a:buNone/>
              <a:defRPr>
                <a:solidFill>
                  <a:schemeClr val="tx1">
                    <a:tint val="75000"/>
                  </a:schemeClr>
                </a:solidFill>
              </a:defRPr>
            </a:lvl4pPr>
            <a:lvl5pPr marL="2553338" indent="0" algn="ctr">
              <a:buNone/>
              <a:defRPr>
                <a:solidFill>
                  <a:schemeClr val="tx1">
                    <a:tint val="75000"/>
                  </a:schemeClr>
                </a:solidFill>
              </a:defRPr>
            </a:lvl5pPr>
            <a:lvl6pPr marL="3191671" indent="0" algn="ctr">
              <a:buNone/>
              <a:defRPr>
                <a:solidFill>
                  <a:schemeClr val="tx1">
                    <a:tint val="75000"/>
                  </a:schemeClr>
                </a:solidFill>
              </a:defRPr>
            </a:lvl6pPr>
            <a:lvl7pPr marL="3830007" indent="0" algn="ctr">
              <a:buNone/>
              <a:defRPr>
                <a:solidFill>
                  <a:schemeClr val="tx1">
                    <a:tint val="75000"/>
                  </a:schemeClr>
                </a:solidFill>
              </a:defRPr>
            </a:lvl7pPr>
            <a:lvl8pPr marL="4468342" indent="0" algn="ctr">
              <a:buNone/>
              <a:defRPr>
                <a:solidFill>
                  <a:schemeClr val="tx1">
                    <a:tint val="75000"/>
                  </a:schemeClr>
                </a:solidFill>
              </a:defRPr>
            </a:lvl8pPr>
            <a:lvl9pPr marL="5106676" indent="0" algn="ctr">
              <a:buNone/>
              <a:defRPr>
                <a:solidFill>
                  <a:schemeClr val="tx1">
                    <a:tint val="75000"/>
                  </a:schemeClr>
                </a:solidFill>
              </a:defRPr>
            </a:lvl9pPr>
          </a:lstStyle>
          <a:p>
            <a:r>
              <a:rPr kumimoji="1" lang="ja-JP" altLang="en-US"/>
              <a:t>マスター サブタイトルの書式設定</a:t>
            </a:r>
          </a:p>
        </p:txBody>
      </p:sp>
      <p:sp>
        <p:nvSpPr>
          <p:cNvPr id="16" name="日付プレースホルダー 11"/>
          <p:cNvSpPr>
            <a:spLocks noGrp="1"/>
          </p:cNvSpPr>
          <p:nvPr>
            <p:ph type="dt" sz="half" idx="10"/>
          </p:nvPr>
        </p:nvSpPr>
        <p:spPr>
          <a:xfrm>
            <a:off x="609600" y="5691768"/>
            <a:ext cx="3860800" cy="365125"/>
          </a:xfrm>
          <a:prstGeom prst="rect">
            <a:avLst/>
          </a:prstGeom>
        </p:spPr>
        <p:txBody>
          <a:bodyPr lIns="95767" tIns="47884" rIns="95767" bIns="47884"/>
          <a:lstStyle>
            <a:lvl1pPr algn="l">
              <a:defRPr sz="2266">
                <a:solidFill>
                  <a:srgbClr val="000000"/>
                </a:solidFill>
              </a:defRPr>
            </a:lvl1pPr>
          </a:lstStyle>
          <a:p>
            <a:endParaRPr lang="ja-JP" altLang="en-US"/>
          </a:p>
        </p:txBody>
      </p:sp>
      <p:sp>
        <p:nvSpPr>
          <p:cNvPr id="8" name="フッター プレースホルダー 12"/>
          <p:cNvSpPr>
            <a:spLocks noGrp="1"/>
          </p:cNvSpPr>
          <p:nvPr>
            <p:ph type="ftr" sz="quarter" idx="11"/>
          </p:nvPr>
        </p:nvSpPr>
        <p:spPr>
          <a:xfrm>
            <a:off x="609600" y="6099529"/>
            <a:ext cx="6668998" cy="365125"/>
          </a:xfrm>
          <a:prstGeom prst="rect">
            <a:avLst/>
          </a:prstGeom>
        </p:spPr>
        <p:txBody>
          <a:bodyPr lIns="95767" tIns="47884" rIns="95767" bIns="47884"/>
          <a:lstStyle>
            <a:lvl1pPr algn="l">
              <a:defRPr sz="2266"/>
            </a:lvl1pPr>
          </a:lstStyle>
          <a:p>
            <a:endParaRPr lang="ja-JP" altLang="en-US"/>
          </a:p>
        </p:txBody>
      </p:sp>
      <p:pic>
        <p:nvPicPr>
          <p:cNvPr id="11" name="Picture 2" descr="K:\新ロゴ（データ一式）\DLH_3_EN.png"/>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10521597" y="5335811"/>
            <a:ext cx="1644525" cy="152167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872461113"/>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25_タイトルとコンテンツ">
    <p:spTree>
      <p:nvGrpSpPr>
        <p:cNvPr id="1" name=""/>
        <p:cNvGrpSpPr/>
        <p:nvPr/>
      </p:nvGrpSpPr>
      <p:grpSpPr>
        <a:xfrm>
          <a:off x="0" y="0"/>
          <a:ext cx="0" cy="0"/>
          <a:chOff x="0" y="0"/>
          <a:chExt cx="0" cy="0"/>
        </a:xfrm>
      </p:grpSpPr>
      <p:sp>
        <p:nvSpPr>
          <p:cNvPr id="7" name="Freeform 8"/>
          <p:cNvSpPr>
            <a:spLocks/>
          </p:cNvSpPr>
          <p:nvPr userDrawn="1"/>
        </p:nvSpPr>
        <p:spPr bwMode="auto">
          <a:xfrm>
            <a:off x="-2100" y="5505984"/>
            <a:ext cx="12192504" cy="1353504"/>
          </a:xfrm>
          <a:custGeom>
            <a:avLst/>
            <a:gdLst>
              <a:gd name="T0" fmla="*/ 3622 w 3622"/>
              <a:gd name="T1" fmla="*/ 608 h 608"/>
              <a:gd name="T2" fmla="*/ 3622 w 3622"/>
              <a:gd name="T3" fmla="*/ 0 h 608"/>
              <a:gd name="T4" fmla="*/ 3622 w 3622"/>
              <a:gd name="T5" fmla="*/ 0 h 608"/>
              <a:gd name="T6" fmla="*/ 3622 w 3622"/>
              <a:gd name="T7" fmla="*/ 14 h 608"/>
              <a:gd name="T8" fmla="*/ 3616 w 3622"/>
              <a:gd name="T9" fmla="*/ 46 h 608"/>
              <a:gd name="T10" fmla="*/ 3612 w 3622"/>
              <a:gd name="T11" fmla="*/ 68 h 608"/>
              <a:gd name="T12" fmla="*/ 3604 w 3622"/>
              <a:gd name="T13" fmla="*/ 94 h 608"/>
              <a:gd name="T14" fmla="*/ 3596 w 3622"/>
              <a:gd name="T15" fmla="*/ 122 h 608"/>
              <a:gd name="T16" fmla="*/ 3584 w 3622"/>
              <a:gd name="T17" fmla="*/ 150 h 608"/>
              <a:gd name="T18" fmla="*/ 3568 w 3622"/>
              <a:gd name="T19" fmla="*/ 178 h 608"/>
              <a:gd name="T20" fmla="*/ 3550 w 3622"/>
              <a:gd name="T21" fmla="*/ 206 h 608"/>
              <a:gd name="T22" fmla="*/ 3526 w 3622"/>
              <a:gd name="T23" fmla="*/ 232 h 608"/>
              <a:gd name="T24" fmla="*/ 3514 w 3622"/>
              <a:gd name="T25" fmla="*/ 246 h 608"/>
              <a:gd name="T26" fmla="*/ 3498 w 3622"/>
              <a:gd name="T27" fmla="*/ 258 h 608"/>
              <a:gd name="T28" fmla="*/ 3484 w 3622"/>
              <a:gd name="T29" fmla="*/ 268 h 608"/>
              <a:gd name="T30" fmla="*/ 3466 w 3622"/>
              <a:gd name="T31" fmla="*/ 280 h 608"/>
              <a:gd name="T32" fmla="*/ 3448 w 3622"/>
              <a:gd name="T33" fmla="*/ 288 h 608"/>
              <a:gd name="T34" fmla="*/ 3430 w 3622"/>
              <a:gd name="T35" fmla="*/ 298 h 608"/>
              <a:gd name="T36" fmla="*/ 3410 w 3622"/>
              <a:gd name="T37" fmla="*/ 304 h 608"/>
              <a:gd name="T38" fmla="*/ 3386 w 3622"/>
              <a:gd name="T39" fmla="*/ 310 h 608"/>
              <a:gd name="T40" fmla="*/ 3364 w 3622"/>
              <a:gd name="T41" fmla="*/ 316 h 608"/>
              <a:gd name="T42" fmla="*/ 3338 w 3622"/>
              <a:gd name="T43" fmla="*/ 318 h 608"/>
              <a:gd name="T44" fmla="*/ 3338 w 3622"/>
              <a:gd name="T45" fmla="*/ 318 h 608"/>
              <a:gd name="T46" fmla="*/ 0 w 3622"/>
              <a:gd name="T47" fmla="*/ 608 h 608"/>
              <a:gd name="T48" fmla="*/ 3622 w 3622"/>
              <a:gd name="T49" fmla="*/ 608 h 608"/>
              <a:gd name="connsiteX0" fmla="*/ 10000 w 10000"/>
              <a:gd name="connsiteY0" fmla="*/ 10000 h 10000"/>
              <a:gd name="connsiteX1" fmla="*/ 10000 w 10000"/>
              <a:gd name="connsiteY1" fmla="*/ 0 h 10000"/>
              <a:gd name="connsiteX2" fmla="*/ 10000 w 10000"/>
              <a:gd name="connsiteY2" fmla="*/ 0 h 10000"/>
              <a:gd name="connsiteX3" fmla="*/ 10000 w 10000"/>
              <a:gd name="connsiteY3" fmla="*/ 230 h 10000"/>
              <a:gd name="connsiteX4" fmla="*/ 9983 w 10000"/>
              <a:gd name="connsiteY4" fmla="*/ 757 h 10000"/>
              <a:gd name="connsiteX5" fmla="*/ 9972 w 10000"/>
              <a:gd name="connsiteY5" fmla="*/ 1118 h 10000"/>
              <a:gd name="connsiteX6" fmla="*/ 9950 w 10000"/>
              <a:gd name="connsiteY6" fmla="*/ 1546 h 10000"/>
              <a:gd name="connsiteX7" fmla="*/ 9928 w 10000"/>
              <a:gd name="connsiteY7" fmla="*/ 2007 h 10000"/>
              <a:gd name="connsiteX8" fmla="*/ 9895 w 10000"/>
              <a:gd name="connsiteY8" fmla="*/ 2467 h 10000"/>
              <a:gd name="connsiteX9" fmla="*/ 9851 w 10000"/>
              <a:gd name="connsiteY9" fmla="*/ 2928 h 10000"/>
              <a:gd name="connsiteX10" fmla="*/ 9801 w 10000"/>
              <a:gd name="connsiteY10" fmla="*/ 3388 h 10000"/>
              <a:gd name="connsiteX11" fmla="*/ 9735 w 10000"/>
              <a:gd name="connsiteY11" fmla="*/ 3816 h 10000"/>
              <a:gd name="connsiteX12" fmla="*/ 9702 w 10000"/>
              <a:gd name="connsiteY12" fmla="*/ 4046 h 10000"/>
              <a:gd name="connsiteX13" fmla="*/ 9658 w 10000"/>
              <a:gd name="connsiteY13" fmla="*/ 4243 h 10000"/>
              <a:gd name="connsiteX14" fmla="*/ 9619 w 10000"/>
              <a:gd name="connsiteY14" fmla="*/ 4408 h 10000"/>
              <a:gd name="connsiteX15" fmla="*/ 9569 w 10000"/>
              <a:gd name="connsiteY15" fmla="*/ 4605 h 10000"/>
              <a:gd name="connsiteX16" fmla="*/ 9520 w 10000"/>
              <a:gd name="connsiteY16" fmla="*/ 4737 h 10000"/>
              <a:gd name="connsiteX17" fmla="*/ 9470 w 10000"/>
              <a:gd name="connsiteY17" fmla="*/ 4901 h 10000"/>
              <a:gd name="connsiteX18" fmla="*/ 9415 w 10000"/>
              <a:gd name="connsiteY18" fmla="*/ 5000 h 10000"/>
              <a:gd name="connsiteX19" fmla="*/ 9348 w 10000"/>
              <a:gd name="connsiteY19" fmla="*/ 5099 h 10000"/>
              <a:gd name="connsiteX20" fmla="*/ 9288 w 10000"/>
              <a:gd name="connsiteY20" fmla="*/ 5197 h 10000"/>
              <a:gd name="connsiteX21" fmla="*/ 9216 w 10000"/>
              <a:gd name="connsiteY21" fmla="*/ 5230 h 10000"/>
              <a:gd name="connsiteX22" fmla="*/ 9216 w 10000"/>
              <a:gd name="connsiteY22" fmla="*/ 5230 h 10000"/>
              <a:gd name="connsiteX23" fmla="*/ 1190 w 10000"/>
              <a:gd name="connsiteY23" fmla="*/ 9414 h 10000"/>
              <a:gd name="connsiteX24" fmla="*/ 0 w 10000"/>
              <a:gd name="connsiteY24" fmla="*/ 10000 h 10000"/>
              <a:gd name="connsiteX25" fmla="*/ 10000 w 10000"/>
              <a:gd name="connsiteY25" fmla="*/ 10000 h 10000"/>
              <a:gd name="connsiteX0" fmla="*/ 10000 w 10000"/>
              <a:gd name="connsiteY0" fmla="*/ 10000 h 10011"/>
              <a:gd name="connsiteX1" fmla="*/ 10000 w 10000"/>
              <a:gd name="connsiteY1" fmla="*/ 0 h 10011"/>
              <a:gd name="connsiteX2" fmla="*/ 10000 w 10000"/>
              <a:gd name="connsiteY2" fmla="*/ 0 h 10011"/>
              <a:gd name="connsiteX3" fmla="*/ 10000 w 10000"/>
              <a:gd name="connsiteY3" fmla="*/ 230 h 10011"/>
              <a:gd name="connsiteX4" fmla="*/ 9983 w 10000"/>
              <a:gd name="connsiteY4" fmla="*/ 757 h 10011"/>
              <a:gd name="connsiteX5" fmla="*/ 9972 w 10000"/>
              <a:gd name="connsiteY5" fmla="*/ 1118 h 10011"/>
              <a:gd name="connsiteX6" fmla="*/ 9950 w 10000"/>
              <a:gd name="connsiteY6" fmla="*/ 1546 h 10011"/>
              <a:gd name="connsiteX7" fmla="*/ 9928 w 10000"/>
              <a:gd name="connsiteY7" fmla="*/ 2007 h 10011"/>
              <a:gd name="connsiteX8" fmla="*/ 9895 w 10000"/>
              <a:gd name="connsiteY8" fmla="*/ 2467 h 10011"/>
              <a:gd name="connsiteX9" fmla="*/ 9851 w 10000"/>
              <a:gd name="connsiteY9" fmla="*/ 2928 h 10011"/>
              <a:gd name="connsiteX10" fmla="*/ 9801 w 10000"/>
              <a:gd name="connsiteY10" fmla="*/ 3388 h 10011"/>
              <a:gd name="connsiteX11" fmla="*/ 9735 w 10000"/>
              <a:gd name="connsiteY11" fmla="*/ 3816 h 10011"/>
              <a:gd name="connsiteX12" fmla="*/ 9702 w 10000"/>
              <a:gd name="connsiteY12" fmla="*/ 4046 h 10011"/>
              <a:gd name="connsiteX13" fmla="*/ 9658 w 10000"/>
              <a:gd name="connsiteY13" fmla="*/ 4243 h 10011"/>
              <a:gd name="connsiteX14" fmla="*/ 9619 w 10000"/>
              <a:gd name="connsiteY14" fmla="*/ 4408 h 10011"/>
              <a:gd name="connsiteX15" fmla="*/ 9569 w 10000"/>
              <a:gd name="connsiteY15" fmla="*/ 4605 h 10011"/>
              <a:gd name="connsiteX16" fmla="*/ 9520 w 10000"/>
              <a:gd name="connsiteY16" fmla="*/ 4737 h 10011"/>
              <a:gd name="connsiteX17" fmla="*/ 9470 w 10000"/>
              <a:gd name="connsiteY17" fmla="*/ 4901 h 10011"/>
              <a:gd name="connsiteX18" fmla="*/ 9415 w 10000"/>
              <a:gd name="connsiteY18" fmla="*/ 5000 h 10011"/>
              <a:gd name="connsiteX19" fmla="*/ 9348 w 10000"/>
              <a:gd name="connsiteY19" fmla="*/ 5099 h 10011"/>
              <a:gd name="connsiteX20" fmla="*/ 9288 w 10000"/>
              <a:gd name="connsiteY20" fmla="*/ 5197 h 10011"/>
              <a:gd name="connsiteX21" fmla="*/ 9216 w 10000"/>
              <a:gd name="connsiteY21" fmla="*/ 5230 h 10011"/>
              <a:gd name="connsiteX22" fmla="*/ 9216 w 10000"/>
              <a:gd name="connsiteY22" fmla="*/ 5230 h 10011"/>
              <a:gd name="connsiteX23" fmla="*/ 1190 w 10000"/>
              <a:gd name="connsiteY23" fmla="*/ 9414 h 10011"/>
              <a:gd name="connsiteX24" fmla="*/ 0 w 10000"/>
              <a:gd name="connsiteY24" fmla="*/ 10000 h 10011"/>
              <a:gd name="connsiteX25" fmla="*/ 1185 w 10000"/>
              <a:gd name="connsiteY25" fmla="*/ 10011 h 10011"/>
              <a:gd name="connsiteX26" fmla="*/ 10000 w 10000"/>
              <a:gd name="connsiteY26" fmla="*/ 10000 h 10011"/>
              <a:gd name="connsiteX0" fmla="*/ 8815 w 8815"/>
              <a:gd name="connsiteY0" fmla="*/ 10000 h 10011"/>
              <a:gd name="connsiteX1" fmla="*/ 8815 w 8815"/>
              <a:gd name="connsiteY1" fmla="*/ 0 h 10011"/>
              <a:gd name="connsiteX2" fmla="*/ 8815 w 8815"/>
              <a:gd name="connsiteY2" fmla="*/ 0 h 10011"/>
              <a:gd name="connsiteX3" fmla="*/ 8815 w 8815"/>
              <a:gd name="connsiteY3" fmla="*/ 230 h 10011"/>
              <a:gd name="connsiteX4" fmla="*/ 8798 w 8815"/>
              <a:gd name="connsiteY4" fmla="*/ 757 h 10011"/>
              <a:gd name="connsiteX5" fmla="*/ 8787 w 8815"/>
              <a:gd name="connsiteY5" fmla="*/ 1118 h 10011"/>
              <a:gd name="connsiteX6" fmla="*/ 8765 w 8815"/>
              <a:gd name="connsiteY6" fmla="*/ 1546 h 10011"/>
              <a:gd name="connsiteX7" fmla="*/ 8743 w 8815"/>
              <a:gd name="connsiteY7" fmla="*/ 2007 h 10011"/>
              <a:gd name="connsiteX8" fmla="*/ 8710 w 8815"/>
              <a:gd name="connsiteY8" fmla="*/ 2467 h 10011"/>
              <a:gd name="connsiteX9" fmla="*/ 8666 w 8815"/>
              <a:gd name="connsiteY9" fmla="*/ 2928 h 10011"/>
              <a:gd name="connsiteX10" fmla="*/ 8616 w 8815"/>
              <a:gd name="connsiteY10" fmla="*/ 3388 h 10011"/>
              <a:gd name="connsiteX11" fmla="*/ 8550 w 8815"/>
              <a:gd name="connsiteY11" fmla="*/ 3816 h 10011"/>
              <a:gd name="connsiteX12" fmla="*/ 8517 w 8815"/>
              <a:gd name="connsiteY12" fmla="*/ 4046 h 10011"/>
              <a:gd name="connsiteX13" fmla="*/ 8473 w 8815"/>
              <a:gd name="connsiteY13" fmla="*/ 4243 h 10011"/>
              <a:gd name="connsiteX14" fmla="*/ 8434 w 8815"/>
              <a:gd name="connsiteY14" fmla="*/ 4408 h 10011"/>
              <a:gd name="connsiteX15" fmla="*/ 8384 w 8815"/>
              <a:gd name="connsiteY15" fmla="*/ 4605 h 10011"/>
              <a:gd name="connsiteX16" fmla="*/ 8335 w 8815"/>
              <a:gd name="connsiteY16" fmla="*/ 4737 h 10011"/>
              <a:gd name="connsiteX17" fmla="*/ 8285 w 8815"/>
              <a:gd name="connsiteY17" fmla="*/ 4901 h 10011"/>
              <a:gd name="connsiteX18" fmla="*/ 8230 w 8815"/>
              <a:gd name="connsiteY18" fmla="*/ 5000 h 10011"/>
              <a:gd name="connsiteX19" fmla="*/ 8163 w 8815"/>
              <a:gd name="connsiteY19" fmla="*/ 5099 h 10011"/>
              <a:gd name="connsiteX20" fmla="*/ 8103 w 8815"/>
              <a:gd name="connsiteY20" fmla="*/ 5197 h 10011"/>
              <a:gd name="connsiteX21" fmla="*/ 8031 w 8815"/>
              <a:gd name="connsiteY21" fmla="*/ 5230 h 10011"/>
              <a:gd name="connsiteX22" fmla="*/ 8031 w 8815"/>
              <a:gd name="connsiteY22" fmla="*/ 5230 h 10011"/>
              <a:gd name="connsiteX23" fmla="*/ 5 w 8815"/>
              <a:gd name="connsiteY23" fmla="*/ 9414 h 10011"/>
              <a:gd name="connsiteX24" fmla="*/ 0 w 8815"/>
              <a:gd name="connsiteY24" fmla="*/ 10011 h 10011"/>
              <a:gd name="connsiteX25" fmla="*/ 8815 w 8815"/>
              <a:gd name="connsiteY25" fmla="*/ 10000 h 10011"/>
              <a:gd name="connsiteX0" fmla="*/ 9996 w 9996"/>
              <a:gd name="connsiteY0" fmla="*/ 9989 h 10000"/>
              <a:gd name="connsiteX1" fmla="*/ 9996 w 9996"/>
              <a:gd name="connsiteY1" fmla="*/ 0 h 10000"/>
              <a:gd name="connsiteX2" fmla="*/ 9996 w 9996"/>
              <a:gd name="connsiteY2" fmla="*/ 0 h 10000"/>
              <a:gd name="connsiteX3" fmla="*/ 9996 w 9996"/>
              <a:gd name="connsiteY3" fmla="*/ 230 h 10000"/>
              <a:gd name="connsiteX4" fmla="*/ 9977 w 9996"/>
              <a:gd name="connsiteY4" fmla="*/ 756 h 10000"/>
              <a:gd name="connsiteX5" fmla="*/ 9964 w 9996"/>
              <a:gd name="connsiteY5" fmla="*/ 1117 h 10000"/>
              <a:gd name="connsiteX6" fmla="*/ 9939 w 9996"/>
              <a:gd name="connsiteY6" fmla="*/ 1544 h 10000"/>
              <a:gd name="connsiteX7" fmla="*/ 9914 w 9996"/>
              <a:gd name="connsiteY7" fmla="*/ 2005 h 10000"/>
              <a:gd name="connsiteX8" fmla="*/ 9877 w 9996"/>
              <a:gd name="connsiteY8" fmla="*/ 2464 h 10000"/>
              <a:gd name="connsiteX9" fmla="*/ 9827 w 9996"/>
              <a:gd name="connsiteY9" fmla="*/ 2925 h 10000"/>
              <a:gd name="connsiteX10" fmla="*/ 9770 w 9996"/>
              <a:gd name="connsiteY10" fmla="*/ 3384 h 10000"/>
              <a:gd name="connsiteX11" fmla="*/ 9695 w 9996"/>
              <a:gd name="connsiteY11" fmla="*/ 3812 h 10000"/>
              <a:gd name="connsiteX12" fmla="*/ 9658 w 9996"/>
              <a:gd name="connsiteY12" fmla="*/ 4042 h 10000"/>
              <a:gd name="connsiteX13" fmla="*/ 9608 w 9996"/>
              <a:gd name="connsiteY13" fmla="*/ 4238 h 10000"/>
              <a:gd name="connsiteX14" fmla="*/ 9564 w 9996"/>
              <a:gd name="connsiteY14" fmla="*/ 4403 h 10000"/>
              <a:gd name="connsiteX15" fmla="*/ 9507 w 9996"/>
              <a:gd name="connsiteY15" fmla="*/ 4600 h 10000"/>
              <a:gd name="connsiteX16" fmla="*/ 9451 w 9996"/>
              <a:gd name="connsiteY16" fmla="*/ 4732 h 10000"/>
              <a:gd name="connsiteX17" fmla="*/ 9395 w 9996"/>
              <a:gd name="connsiteY17" fmla="*/ 4896 h 10000"/>
              <a:gd name="connsiteX18" fmla="*/ 9332 w 9996"/>
              <a:gd name="connsiteY18" fmla="*/ 4995 h 10000"/>
              <a:gd name="connsiteX19" fmla="*/ 9256 w 9996"/>
              <a:gd name="connsiteY19" fmla="*/ 5093 h 10000"/>
              <a:gd name="connsiteX20" fmla="*/ 9188 w 9996"/>
              <a:gd name="connsiteY20" fmla="*/ 5191 h 10000"/>
              <a:gd name="connsiteX21" fmla="*/ 9107 w 9996"/>
              <a:gd name="connsiteY21" fmla="*/ 5224 h 10000"/>
              <a:gd name="connsiteX22" fmla="*/ 9107 w 9996"/>
              <a:gd name="connsiteY22" fmla="*/ 5224 h 10000"/>
              <a:gd name="connsiteX23" fmla="*/ 2 w 9996"/>
              <a:gd name="connsiteY23" fmla="*/ 9404 h 10000"/>
              <a:gd name="connsiteX24" fmla="*/ 0 w 9996"/>
              <a:gd name="connsiteY24" fmla="*/ 10000 h 10000"/>
              <a:gd name="connsiteX25" fmla="*/ 9996 w 9996"/>
              <a:gd name="connsiteY25" fmla="*/ 9989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9996" h="10000">
                <a:moveTo>
                  <a:pt x="9996" y="9989"/>
                </a:moveTo>
                <a:lnTo>
                  <a:pt x="9996" y="0"/>
                </a:lnTo>
                <a:lnTo>
                  <a:pt x="9996" y="0"/>
                </a:lnTo>
                <a:lnTo>
                  <a:pt x="9996" y="230"/>
                </a:lnTo>
                <a:cubicBezTo>
                  <a:pt x="9989" y="406"/>
                  <a:pt x="9984" y="580"/>
                  <a:pt x="9977" y="756"/>
                </a:cubicBezTo>
                <a:cubicBezTo>
                  <a:pt x="9972" y="876"/>
                  <a:pt x="9969" y="997"/>
                  <a:pt x="9964" y="1117"/>
                </a:cubicBezTo>
                <a:cubicBezTo>
                  <a:pt x="9956" y="1260"/>
                  <a:pt x="9947" y="1401"/>
                  <a:pt x="9939" y="1544"/>
                </a:cubicBezTo>
                <a:cubicBezTo>
                  <a:pt x="9931" y="1698"/>
                  <a:pt x="9922" y="1851"/>
                  <a:pt x="9914" y="2005"/>
                </a:cubicBezTo>
                <a:cubicBezTo>
                  <a:pt x="9902" y="2158"/>
                  <a:pt x="9889" y="2311"/>
                  <a:pt x="9877" y="2464"/>
                </a:cubicBezTo>
                <a:cubicBezTo>
                  <a:pt x="9860" y="2618"/>
                  <a:pt x="9844" y="2771"/>
                  <a:pt x="9827" y="2925"/>
                </a:cubicBezTo>
                <a:cubicBezTo>
                  <a:pt x="9808" y="3078"/>
                  <a:pt x="9790" y="3231"/>
                  <a:pt x="9770" y="3384"/>
                </a:cubicBezTo>
                <a:cubicBezTo>
                  <a:pt x="9745" y="3527"/>
                  <a:pt x="9720" y="3669"/>
                  <a:pt x="9695" y="3812"/>
                </a:cubicBezTo>
                <a:cubicBezTo>
                  <a:pt x="9683" y="3889"/>
                  <a:pt x="9670" y="3965"/>
                  <a:pt x="9658" y="4042"/>
                </a:cubicBezTo>
                <a:cubicBezTo>
                  <a:pt x="9641" y="4107"/>
                  <a:pt x="9625" y="4172"/>
                  <a:pt x="9608" y="4238"/>
                </a:cubicBezTo>
                <a:cubicBezTo>
                  <a:pt x="9593" y="4293"/>
                  <a:pt x="9579" y="4348"/>
                  <a:pt x="9564" y="4403"/>
                </a:cubicBezTo>
                <a:cubicBezTo>
                  <a:pt x="9544" y="4469"/>
                  <a:pt x="9526" y="4534"/>
                  <a:pt x="9507" y="4600"/>
                </a:cubicBezTo>
                <a:cubicBezTo>
                  <a:pt x="9489" y="4644"/>
                  <a:pt x="9470" y="4688"/>
                  <a:pt x="9451" y="4732"/>
                </a:cubicBezTo>
                <a:cubicBezTo>
                  <a:pt x="9432" y="4787"/>
                  <a:pt x="9414" y="4841"/>
                  <a:pt x="9395" y="4896"/>
                </a:cubicBezTo>
                <a:lnTo>
                  <a:pt x="9332" y="4995"/>
                </a:lnTo>
                <a:cubicBezTo>
                  <a:pt x="9307" y="5027"/>
                  <a:pt x="9281" y="5060"/>
                  <a:pt x="9256" y="5093"/>
                </a:cubicBezTo>
                <a:cubicBezTo>
                  <a:pt x="9234" y="5126"/>
                  <a:pt x="9211" y="5158"/>
                  <a:pt x="9188" y="5191"/>
                </a:cubicBezTo>
                <a:lnTo>
                  <a:pt x="9107" y="5224"/>
                </a:lnTo>
                <a:lnTo>
                  <a:pt x="9107" y="5224"/>
                </a:lnTo>
                <a:lnTo>
                  <a:pt x="2" y="9404"/>
                </a:lnTo>
                <a:cubicBezTo>
                  <a:pt x="-1" y="9602"/>
                  <a:pt x="2" y="9801"/>
                  <a:pt x="0" y="10000"/>
                </a:cubicBezTo>
                <a:lnTo>
                  <a:pt x="9996" y="9989"/>
                </a:lnTo>
                <a:close/>
              </a:path>
            </a:pathLst>
          </a:custGeom>
          <a:solidFill>
            <a:schemeClr val="accent6"/>
          </a:solidFill>
          <a:ln>
            <a:noFill/>
          </a:ln>
        </p:spPr>
        <p:txBody>
          <a:bodyPr vert="horz" wrap="square" lIns="133428" tIns="66715" rIns="133428" bIns="66715" numCol="1" anchor="t" anchorCtr="0" compatLnSpc="1">
            <a:prstTxWarp prst="textNoShape">
              <a:avLst/>
            </a:prstTxWarp>
          </a:bodyPr>
          <a:lstStyle/>
          <a:p>
            <a:endParaRPr lang="ja-JP" altLang="en-US" sz="2533"/>
          </a:p>
        </p:txBody>
      </p:sp>
      <p:sp>
        <p:nvSpPr>
          <p:cNvPr id="2" name="タイトル 1"/>
          <p:cNvSpPr>
            <a:spLocks noGrp="1"/>
          </p:cNvSpPr>
          <p:nvPr>
            <p:ph type="title"/>
          </p:nvPr>
        </p:nvSpPr>
        <p:spPr>
          <a:xfrm>
            <a:off x="368550" y="1959102"/>
            <a:ext cx="11451591" cy="540000"/>
          </a:xfrm>
          <a:prstGeom prst="rect">
            <a:avLst/>
          </a:prstGeom>
        </p:spPr>
        <p:txBody>
          <a:bodyPr lIns="95767" tIns="47884" rIns="95767" bIns="47884"/>
          <a:lstStyle/>
          <a:p>
            <a:r>
              <a:rPr kumimoji="1" lang="ja-JP" altLang="en-US"/>
              <a:t>マスター タイトルの書式設定</a:t>
            </a:r>
          </a:p>
        </p:txBody>
      </p:sp>
      <p:sp>
        <p:nvSpPr>
          <p:cNvPr id="6" name="スライド番号プレースホルダー 5"/>
          <p:cNvSpPr>
            <a:spLocks noGrp="1"/>
          </p:cNvSpPr>
          <p:nvPr>
            <p:ph type="sldNum" sz="quarter" idx="12"/>
          </p:nvPr>
        </p:nvSpPr>
        <p:spPr>
          <a:xfrm>
            <a:off x="11524630" y="6468878"/>
            <a:ext cx="555811" cy="289299"/>
          </a:xfrm>
          <a:prstGeom prst="rect">
            <a:avLst/>
          </a:prstGeom>
        </p:spPr>
        <p:txBody>
          <a:bodyPr lIns="95767" tIns="47884" rIns="95767" bIns="47884"/>
          <a:lstStyle>
            <a:lvl1pPr>
              <a:defRPr sz="1333"/>
            </a:lvl1pPr>
          </a:lstStyle>
          <a:p>
            <a:fld id="{2FF5E1DE-7B95-8A44-8552-65323269AE41}" type="slidenum">
              <a:rPr lang="ja-JP" altLang="en-US" smtClean="0"/>
              <a:pPr/>
              <a:t>‹#›</a:t>
            </a:fld>
            <a:endParaRPr lang="ja-JP" altLang="en-US"/>
          </a:p>
        </p:txBody>
      </p:sp>
      <p:pic>
        <p:nvPicPr>
          <p:cNvPr id="8" name="Picture 2" descr="K:\新ロゴ（データ一式）\DLH_3_EN.png"/>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11038066" y="-34312"/>
            <a:ext cx="973128" cy="90043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55330067"/>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obj" preserve="1">
  <p:cSld name="26_タイトルとコンテンツ">
    <p:spTree>
      <p:nvGrpSpPr>
        <p:cNvPr id="1" name=""/>
        <p:cNvGrpSpPr/>
        <p:nvPr/>
      </p:nvGrpSpPr>
      <p:grpSpPr>
        <a:xfrm>
          <a:off x="0" y="0"/>
          <a:ext cx="0" cy="0"/>
          <a:chOff x="0" y="0"/>
          <a:chExt cx="0" cy="0"/>
        </a:xfrm>
      </p:grpSpPr>
      <p:sp>
        <p:nvSpPr>
          <p:cNvPr id="9" name="Freeform 8"/>
          <p:cNvSpPr>
            <a:spLocks/>
          </p:cNvSpPr>
          <p:nvPr userDrawn="1"/>
        </p:nvSpPr>
        <p:spPr bwMode="auto">
          <a:xfrm>
            <a:off x="-2100" y="5505984"/>
            <a:ext cx="12192504" cy="1353504"/>
          </a:xfrm>
          <a:custGeom>
            <a:avLst/>
            <a:gdLst>
              <a:gd name="T0" fmla="*/ 3622 w 3622"/>
              <a:gd name="T1" fmla="*/ 608 h 608"/>
              <a:gd name="T2" fmla="*/ 3622 w 3622"/>
              <a:gd name="T3" fmla="*/ 0 h 608"/>
              <a:gd name="T4" fmla="*/ 3622 w 3622"/>
              <a:gd name="T5" fmla="*/ 0 h 608"/>
              <a:gd name="T6" fmla="*/ 3622 w 3622"/>
              <a:gd name="T7" fmla="*/ 14 h 608"/>
              <a:gd name="T8" fmla="*/ 3616 w 3622"/>
              <a:gd name="T9" fmla="*/ 46 h 608"/>
              <a:gd name="T10" fmla="*/ 3612 w 3622"/>
              <a:gd name="T11" fmla="*/ 68 h 608"/>
              <a:gd name="T12" fmla="*/ 3604 w 3622"/>
              <a:gd name="T13" fmla="*/ 94 h 608"/>
              <a:gd name="T14" fmla="*/ 3596 w 3622"/>
              <a:gd name="T15" fmla="*/ 122 h 608"/>
              <a:gd name="T16" fmla="*/ 3584 w 3622"/>
              <a:gd name="T17" fmla="*/ 150 h 608"/>
              <a:gd name="T18" fmla="*/ 3568 w 3622"/>
              <a:gd name="T19" fmla="*/ 178 h 608"/>
              <a:gd name="T20" fmla="*/ 3550 w 3622"/>
              <a:gd name="T21" fmla="*/ 206 h 608"/>
              <a:gd name="T22" fmla="*/ 3526 w 3622"/>
              <a:gd name="T23" fmla="*/ 232 h 608"/>
              <a:gd name="T24" fmla="*/ 3514 w 3622"/>
              <a:gd name="T25" fmla="*/ 246 h 608"/>
              <a:gd name="T26" fmla="*/ 3498 w 3622"/>
              <a:gd name="T27" fmla="*/ 258 h 608"/>
              <a:gd name="T28" fmla="*/ 3484 w 3622"/>
              <a:gd name="T29" fmla="*/ 268 h 608"/>
              <a:gd name="T30" fmla="*/ 3466 w 3622"/>
              <a:gd name="T31" fmla="*/ 280 h 608"/>
              <a:gd name="T32" fmla="*/ 3448 w 3622"/>
              <a:gd name="T33" fmla="*/ 288 h 608"/>
              <a:gd name="T34" fmla="*/ 3430 w 3622"/>
              <a:gd name="T35" fmla="*/ 298 h 608"/>
              <a:gd name="T36" fmla="*/ 3410 w 3622"/>
              <a:gd name="T37" fmla="*/ 304 h 608"/>
              <a:gd name="T38" fmla="*/ 3386 w 3622"/>
              <a:gd name="T39" fmla="*/ 310 h 608"/>
              <a:gd name="T40" fmla="*/ 3364 w 3622"/>
              <a:gd name="T41" fmla="*/ 316 h 608"/>
              <a:gd name="T42" fmla="*/ 3338 w 3622"/>
              <a:gd name="T43" fmla="*/ 318 h 608"/>
              <a:gd name="T44" fmla="*/ 3338 w 3622"/>
              <a:gd name="T45" fmla="*/ 318 h 608"/>
              <a:gd name="T46" fmla="*/ 0 w 3622"/>
              <a:gd name="T47" fmla="*/ 608 h 608"/>
              <a:gd name="T48" fmla="*/ 3622 w 3622"/>
              <a:gd name="T49" fmla="*/ 608 h 608"/>
              <a:gd name="connsiteX0" fmla="*/ 10000 w 10000"/>
              <a:gd name="connsiteY0" fmla="*/ 10000 h 10000"/>
              <a:gd name="connsiteX1" fmla="*/ 10000 w 10000"/>
              <a:gd name="connsiteY1" fmla="*/ 0 h 10000"/>
              <a:gd name="connsiteX2" fmla="*/ 10000 w 10000"/>
              <a:gd name="connsiteY2" fmla="*/ 0 h 10000"/>
              <a:gd name="connsiteX3" fmla="*/ 10000 w 10000"/>
              <a:gd name="connsiteY3" fmla="*/ 230 h 10000"/>
              <a:gd name="connsiteX4" fmla="*/ 9983 w 10000"/>
              <a:gd name="connsiteY4" fmla="*/ 757 h 10000"/>
              <a:gd name="connsiteX5" fmla="*/ 9972 w 10000"/>
              <a:gd name="connsiteY5" fmla="*/ 1118 h 10000"/>
              <a:gd name="connsiteX6" fmla="*/ 9950 w 10000"/>
              <a:gd name="connsiteY6" fmla="*/ 1546 h 10000"/>
              <a:gd name="connsiteX7" fmla="*/ 9928 w 10000"/>
              <a:gd name="connsiteY7" fmla="*/ 2007 h 10000"/>
              <a:gd name="connsiteX8" fmla="*/ 9895 w 10000"/>
              <a:gd name="connsiteY8" fmla="*/ 2467 h 10000"/>
              <a:gd name="connsiteX9" fmla="*/ 9851 w 10000"/>
              <a:gd name="connsiteY9" fmla="*/ 2928 h 10000"/>
              <a:gd name="connsiteX10" fmla="*/ 9801 w 10000"/>
              <a:gd name="connsiteY10" fmla="*/ 3388 h 10000"/>
              <a:gd name="connsiteX11" fmla="*/ 9735 w 10000"/>
              <a:gd name="connsiteY11" fmla="*/ 3816 h 10000"/>
              <a:gd name="connsiteX12" fmla="*/ 9702 w 10000"/>
              <a:gd name="connsiteY12" fmla="*/ 4046 h 10000"/>
              <a:gd name="connsiteX13" fmla="*/ 9658 w 10000"/>
              <a:gd name="connsiteY13" fmla="*/ 4243 h 10000"/>
              <a:gd name="connsiteX14" fmla="*/ 9619 w 10000"/>
              <a:gd name="connsiteY14" fmla="*/ 4408 h 10000"/>
              <a:gd name="connsiteX15" fmla="*/ 9569 w 10000"/>
              <a:gd name="connsiteY15" fmla="*/ 4605 h 10000"/>
              <a:gd name="connsiteX16" fmla="*/ 9520 w 10000"/>
              <a:gd name="connsiteY16" fmla="*/ 4737 h 10000"/>
              <a:gd name="connsiteX17" fmla="*/ 9470 w 10000"/>
              <a:gd name="connsiteY17" fmla="*/ 4901 h 10000"/>
              <a:gd name="connsiteX18" fmla="*/ 9415 w 10000"/>
              <a:gd name="connsiteY18" fmla="*/ 5000 h 10000"/>
              <a:gd name="connsiteX19" fmla="*/ 9348 w 10000"/>
              <a:gd name="connsiteY19" fmla="*/ 5099 h 10000"/>
              <a:gd name="connsiteX20" fmla="*/ 9288 w 10000"/>
              <a:gd name="connsiteY20" fmla="*/ 5197 h 10000"/>
              <a:gd name="connsiteX21" fmla="*/ 9216 w 10000"/>
              <a:gd name="connsiteY21" fmla="*/ 5230 h 10000"/>
              <a:gd name="connsiteX22" fmla="*/ 9216 w 10000"/>
              <a:gd name="connsiteY22" fmla="*/ 5230 h 10000"/>
              <a:gd name="connsiteX23" fmla="*/ 1190 w 10000"/>
              <a:gd name="connsiteY23" fmla="*/ 9414 h 10000"/>
              <a:gd name="connsiteX24" fmla="*/ 0 w 10000"/>
              <a:gd name="connsiteY24" fmla="*/ 10000 h 10000"/>
              <a:gd name="connsiteX25" fmla="*/ 10000 w 10000"/>
              <a:gd name="connsiteY25" fmla="*/ 10000 h 10000"/>
              <a:gd name="connsiteX0" fmla="*/ 10000 w 10000"/>
              <a:gd name="connsiteY0" fmla="*/ 10000 h 10011"/>
              <a:gd name="connsiteX1" fmla="*/ 10000 w 10000"/>
              <a:gd name="connsiteY1" fmla="*/ 0 h 10011"/>
              <a:gd name="connsiteX2" fmla="*/ 10000 w 10000"/>
              <a:gd name="connsiteY2" fmla="*/ 0 h 10011"/>
              <a:gd name="connsiteX3" fmla="*/ 10000 w 10000"/>
              <a:gd name="connsiteY3" fmla="*/ 230 h 10011"/>
              <a:gd name="connsiteX4" fmla="*/ 9983 w 10000"/>
              <a:gd name="connsiteY4" fmla="*/ 757 h 10011"/>
              <a:gd name="connsiteX5" fmla="*/ 9972 w 10000"/>
              <a:gd name="connsiteY5" fmla="*/ 1118 h 10011"/>
              <a:gd name="connsiteX6" fmla="*/ 9950 w 10000"/>
              <a:gd name="connsiteY6" fmla="*/ 1546 h 10011"/>
              <a:gd name="connsiteX7" fmla="*/ 9928 w 10000"/>
              <a:gd name="connsiteY7" fmla="*/ 2007 h 10011"/>
              <a:gd name="connsiteX8" fmla="*/ 9895 w 10000"/>
              <a:gd name="connsiteY8" fmla="*/ 2467 h 10011"/>
              <a:gd name="connsiteX9" fmla="*/ 9851 w 10000"/>
              <a:gd name="connsiteY9" fmla="*/ 2928 h 10011"/>
              <a:gd name="connsiteX10" fmla="*/ 9801 w 10000"/>
              <a:gd name="connsiteY10" fmla="*/ 3388 h 10011"/>
              <a:gd name="connsiteX11" fmla="*/ 9735 w 10000"/>
              <a:gd name="connsiteY11" fmla="*/ 3816 h 10011"/>
              <a:gd name="connsiteX12" fmla="*/ 9702 w 10000"/>
              <a:gd name="connsiteY12" fmla="*/ 4046 h 10011"/>
              <a:gd name="connsiteX13" fmla="*/ 9658 w 10000"/>
              <a:gd name="connsiteY13" fmla="*/ 4243 h 10011"/>
              <a:gd name="connsiteX14" fmla="*/ 9619 w 10000"/>
              <a:gd name="connsiteY14" fmla="*/ 4408 h 10011"/>
              <a:gd name="connsiteX15" fmla="*/ 9569 w 10000"/>
              <a:gd name="connsiteY15" fmla="*/ 4605 h 10011"/>
              <a:gd name="connsiteX16" fmla="*/ 9520 w 10000"/>
              <a:gd name="connsiteY16" fmla="*/ 4737 h 10011"/>
              <a:gd name="connsiteX17" fmla="*/ 9470 w 10000"/>
              <a:gd name="connsiteY17" fmla="*/ 4901 h 10011"/>
              <a:gd name="connsiteX18" fmla="*/ 9415 w 10000"/>
              <a:gd name="connsiteY18" fmla="*/ 5000 h 10011"/>
              <a:gd name="connsiteX19" fmla="*/ 9348 w 10000"/>
              <a:gd name="connsiteY19" fmla="*/ 5099 h 10011"/>
              <a:gd name="connsiteX20" fmla="*/ 9288 w 10000"/>
              <a:gd name="connsiteY20" fmla="*/ 5197 h 10011"/>
              <a:gd name="connsiteX21" fmla="*/ 9216 w 10000"/>
              <a:gd name="connsiteY21" fmla="*/ 5230 h 10011"/>
              <a:gd name="connsiteX22" fmla="*/ 9216 w 10000"/>
              <a:gd name="connsiteY22" fmla="*/ 5230 h 10011"/>
              <a:gd name="connsiteX23" fmla="*/ 1190 w 10000"/>
              <a:gd name="connsiteY23" fmla="*/ 9414 h 10011"/>
              <a:gd name="connsiteX24" fmla="*/ 0 w 10000"/>
              <a:gd name="connsiteY24" fmla="*/ 10000 h 10011"/>
              <a:gd name="connsiteX25" fmla="*/ 1185 w 10000"/>
              <a:gd name="connsiteY25" fmla="*/ 10011 h 10011"/>
              <a:gd name="connsiteX26" fmla="*/ 10000 w 10000"/>
              <a:gd name="connsiteY26" fmla="*/ 10000 h 10011"/>
              <a:gd name="connsiteX0" fmla="*/ 8815 w 8815"/>
              <a:gd name="connsiteY0" fmla="*/ 10000 h 10011"/>
              <a:gd name="connsiteX1" fmla="*/ 8815 w 8815"/>
              <a:gd name="connsiteY1" fmla="*/ 0 h 10011"/>
              <a:gd name="connsiteX2" fmla="*/ 8815 w 8815"/>
              <a:gd name="connsiteY2" fmla="*/ 0 h 10011"/>
              <a:gd name="connsiteX3" fmla="*/ 8815 w 8815"/>
              <a:gd name="connsiteY3" fmla="*/ 230 h 10011"/>
              <a:gd name="connsiteX4" fmla="*/ 8798 w 8815"/>
              <a:gd name="connsiteY4" fmla="*/ 757 h 10011"/>
              <a:gd name="connsiteX5" fmla="*/ 8787 w 8815"/>
              <a:gd name="connsiteY5" fmla="*/ 1118 h 10011"/>
              <a:gd name="connsiteX6" fmla="*/ 8765 w 8815"/>
              <a:gd name="connsiteY6" fmla="*/ 1546 h 10011"/>
              <a:gd name="connsiteX7" fmla="*/ 8743 w 8815"/>
              <a:gd name="connsiteY7" fmla="*/ 2007 h 10011"/>
              <a:gd name="connsiteX8" fmla="*/ 8710 w 8815"/>
              <a:gd name="connsiteY8" fmla="*/ 2467 h 10011"/>
              <a:gd name="connsiteX9" fmla="*/ 8666 w 8815"/>
              <a:gd name="connsiteY9" fmla="*/ 2928 h 10011"/>
              <a:gd name="connsiteX10" fmla="*/ 8616 w 8815"/>
              <a:gd name="connsiteY10" fmla="*/ 3388 h 10011"/>
              <a:gd name="connsiteX11" fmla="*/ 8550 w 8815"/>
              <a:gd name="connsiteY11" fmla="*/ 3816 h 10011"/>
              <a:gd name="connsiteX12" fmla="*/ 8517 w 8815"/>
              <a:gd name="connsiteY12" fmla="*/ 4046 h 10011"/>
              <a:gd name="connsiteX13" fmla="*/ 8473 w 8815"/>
              <a:gd name="connsiteY13" fmla="*/ 4243 h 10011"/>
              <a:gd name="connsiteX14" fmla="*/ 8434 w 8815"/>
              <a:gd name="connsiteY14" fmla="*/ 4408 h 10011"/>
              <a:gd name="connsiteX15" fmla="*/ 8384 w 8815"/>
              <a:gd name="connsiteY15" fmla="*/ 4605 h 10011"/>
              <a:gd name="connsiteX16" fmla="*/ 8335 w 8815"/>
              <a:gd name="connsiteY16" fmla="*/ 4737 h 10011"/>
              <a:gd name="connsiteX17" fmla="*/ 8285 w 8815"/>
              <a:gd name="connsiteY17" fmla="*/ 4901 h 10011"/>
              <a:gd name="connsiteX18" fmla="*/ 8230 w 8815"/>
              <a:gd name="connsiteY18" fmla="*/ 5000 h 10011"/>
              <a:gd name="connsiteX19" fmla="*/ 8163 w 8815"/>
              <a:gd name="connsiteY19" fmla="*/ 5099 h 10011"/>
              <a:gd name="connsiteX20" fmla="*/ 8103 w 8815"/>
              <a:gd name="connsiteY20" fmla="*/ 5197 h 10011"/>
              <a:gd name="connsiteX21" fmla="*/ 8031 w 8815"/>
              <a:gd name="connsiteY21" fmla="*/ 5230 h 10011"/>
              <a:gd name="connsiteX22" fmla="*/ 8031 w 8815"/>
              <a:gd name="connsiteY22" fmla="*/ 5230 h 10011"/>
              <a:gd name="connsiteX23" fmla="*/ 5 w 8815"/>
              <a:gd name="connsiteY23" fmla="*/ 9414 h 10011"/>
              <a:gd name="connsiteX24" fmla="*/ 0 w 8815"/>
              <a:gd name="connsiteY24" fmla="*/ 10011 h 10011"/>
              <a:gd name="connsiteX25" fmla="*/ 8815 w 8815"/>
              <a:gd name="connsiteY25" fmla="*/ 10000 h 10011"/>
              <a:gd name="connsiteX0" fmla="*/ 9996 w 9996"/>
              <a:gd name="connsiteY0" fmla="*/ 9989 h 10000"/>
              <a:gd name="connsiteX1" fmla="*/ 9996 w 9996"/>
              <a:gd name="connsiteY1" fmla="*/ 0 h 10000"/>
              <a:gd name="connsiteX2" fmla="*/ 9996 w 9996"/>
              <a:gd name="connsiteY2" fmla="*/ 0 h 10000"/>
              <a:gd name="connsiteX3" fmla="*/ 9996 w 9996"/>
              <a:gd name="connsiteY3" fmla="*/ 230 h 10000"/>
              <a:gd name="connsiteX4" fmla="*/ 9977 w 9996"/>
              <a:gd name="connsiteY4" fmla="*/ 756 h 10000"/>
              <a:gd name="connsiteX5" fmla="*/ 9964 w 9996"/>
              <a:gd name="connsiteY5" fmla="*/ 1117 h 10000"/>
              <a:gd name="connsiteX6" fmla="*/ 9939 w 9996"/>
              <a:gd name="connsiteY6" fmla="*/ 1544 h 10000"/>
              <a:gd name="connsiteX7" fmla="*/ 9914 w 9996"/>
              <a:gd name="connsiteY7" fmla="*/ 2005 h 10000"/>
              <a:gd name="connsiteX8" fmla="*/ 9877 w 9996"/>
              <a:gd name="connsiteY8" fmla="*/ 2464 h 10000"/>
              <a:gd name="connsiteX9" fmla="*/ 9827 w 9996"/>
              <a:gd name="connsiteY9" fmla="*/ 2925 h 10000"/>
              <a:gd name="connsiteX10" fmla="*/ 9770 w 9996"/>
              <a:gd name="connsiteY10" fmla="*/ 3384 h 10000"/>
              <a:gd name="connsiteX11" fmla="*/ 9695 w 9996"/>
              <a:gd name="connsiteY11" fmla="*/ 3812 h 10000"/>
              <a:gd name="connsiteX12" fmla="*/ 9658 w 9996"/>
              <a:gd name="connsiteY12" fmla="*/ 4042 h 10000"/>
              <a:gd name="connsiteX13" fmla="*/ 9608 w 9996"/>
              <a:gd name="connsiteY13" fmla="*/ 4238 h 10000"/>
              <a:gd name="connsiteX14" fmla="*/ 9564 w 9996"/>
              <a:gd name="connsiteY14" fmla="*/ 4403 h 10000"/>
              <a:gd name="connsiteX15" fmla="*/ 9507 w 9996"/>
              <a:gd name="connsiteY15" fmla="*/ 4600 h 10000"/>
              <a:gd name="connsiteX16" fmla="*/ 9451 w 9996"/>
              <a:gd name="connsiteY16" fmla="*/ 4732 h 10000"/>
              <a:gd name="connsiteX17" fmla="*/ 9395 w 9996"/>
              <a:gd name="connsiteY17" fmla="*/ 4896 h 10000"/>
              <a:gd name="connsiteX18" fmla="*/ 9332 w 9996"/>
              <a:gd name="connsiteY18" fmla="*/ 4995 h 10000"/>
              <a:gd name="connsiteX19" fmla="*/ 9256 w 9996"/>
              <a:gd name="connsiteY19" fmla="*/ 5093 h 10000"/>
              <a:gd name="connsiteX20" fmla="*/ 9188 w 9996"/>
              <a:gd name="connsiteY20" fmla="*/ 5191 h 10000"/>
              <a:gd name="connsiteX21" fmla="*/ 9107 w 9996"/>
              <a:gd name="connsiteY21" fmla="*/ 5224 h 10000"/>
              <a:gd name="connsiteX22" fmla="*/ 9107 w 9996"/>
              <a:gd name="connsiteY22" fmla="*/ 5224 h 10000"/>
              <a:gd name="connsiteX23" fmla="*/ 2 w 9996"/>
              <a:gd name="connsiteY23" fmla="*/ 9404 h 10000"/>
              <a:gd name="connsiteX24" fmla="*/ 0 w 9996"/>
              <a:gd name="connsiteY24" fmla="*/ 10000 h 10000"/>
              <a:gd name="connsiteX25" fmla="*/ 9996 w 9996"/>
              <a:gd name="connsiteY25" fmla="*/ 9989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9996" h="10000">
                <a:moveTo>
                  <a:pt x="9996" y="9989"/>
                </a:moveTo>
                <a:lnTo>
                  <a:pt x="9996" y="0"/>
                </a:lnTo>
                <a:lnTo>
                  <a:pt x="9996" y="0"/>
                </a:lnTo>
                <a:lnTo>
                  <a:pt x="9996" y="230"/>
                </a:lnTo>
                <a:cubicBezTo>
                  <a:pt x="9989" y="406"/>
                  <a:pt x="9984" y="580"/>
                  <a:pt x="9977" y="756"/>
                </a:cubicBezTo>
                <a:cubicBezTo>
                  <a:pt x="9972" y="876"/>
                  <a:pt x="9969" y="997"/>
                  <a:pt x="9964" y="1117"/>
                </a:cubicBezTo>
                <a:cubicBezTo>
                  <a:pt x="9956" y="1260"/>
                  <a:pt x="9947" y="1401"/>
                  <a:pt x="9939" y="1544"/>
                </a:cubicBezTo>
                <a:cubicBezTo>
                  <a:pt x="9931" y="1698"/>
                  <a:pt x="9922" y="1851"/>
                  <a:pt x="9914" y="2005"/>
                </a:cubicBezTo>
                <a:cubicBezTo>
                  <a:pt x="9902" y="2158"/>
                  <a:pt x="9889" y="2311"/>
                  <a:pt x="9877" y="2464"/>
                </a:cubicBezTo>
                <a:cubicBezTo>
                  <a:pt x="9860" y="2618"/>
                  <a:pt x="9844" y="2771"/>
                  <a:pt x="9827" y="2925"/>
                </a:cubicBezTo>
                <a:cubicBezTo>
                  <a:pt x="9808" y="3078"/>
                  <a:pt x="9790" y="3231"/>
                  <a:pt x="9770" y="3384"/>
                </a:cubicBezTo>
                <a:cubicBezTo>
                  <a:pt x="9745" y="3527"/>
                  <a:pt x="9720" y="3669"/>
                  <a:pt x="9695" y="3812"/>
                </a:cubicBezTo>
                <a:cubicBezTo>
                  <a:pt x="9683" y="3889"/>
                  <a:pt x="9670" y="3965"/>
                  <a:pt x="9658" y="4042"/>
                </a:cubicBezTo>
                <a:cubicBezTo>
                  <a:pt x="9641" y="4107"/>
                  <a:pt x="9625" y="4172"/>
                  <a:pt x="9608" y="4238"/>
                </a:cubicBezTo>
                <a:cubicBezTo>
                  <a:pt x="9593" y="4293"/>
                  <a:pt x="9579" y="4348"/>
                  <a:pt x="9564" y="4403"/>
                </a:cubicBezTo>
                <a:cubicBezTo>
                  <a:pt x="9544" y="4469"/>
                  <a:pt x="9526" y="4534"/>
                  <a:pt x="9507" y="4600"/>
                </a:cubicBezTo>
                <a:cubicBezTo>
                  <a:pt x="9489" y="4644"/>
                  <a:pt x="9470" y="4688"/>
                  <a:pt x="9451" y="4732"/>
                </a:cubicBezTo>
                <a:cubicBezTo>
                  <a:pt x="9432" y="4787"/>
                  <a:pt x="9414" y="4841"/>
                  <a:pt x="9395" y="4896"/>
                </a:cubicBezTo>
                <a:lnTo>
                  <a:pt x="9332" y="4995"/>
                </a:lnTo>
                <a:cubicBezTo>
                  <a:pt x="9307" y="5027"/>
                  <a:pt x="9281" y="5060"/>
                  <a:pt x="9256" y="5093"/>
                </a:cubicBezTo>
                <a:cubicBezTo>
                  <a:pt x="9234" y="5126"/>
                  <a:pt x="9211" y="5158"/>
                  <a:pt x="9188" y="5191"/>
                </a:cubicBezTo>
                <a:lnTo>
                  <a:pt x="9107" y="5224"/>
                </a:lnTo>
                <a:lnTo>
                  <a:pt x="9107" y="5224"/>
                </a:lnTo>
                <a:lnTo>
                  <a:pt x="2" y="9404"/>
                </a:lnTo>
                <a:cubicBezTo>
                  <a:pt x="-1" y="9602"/>
                  <a:pt x="2" y="9801"/>
                  <a:pt x="0" y="10000"/>
                </a:cubicBezTo>
                <a:lnTo>
                  <a:pt x="9996" y="9989"/>
                </a:lnTo>
                <a:close/>
              </a:path>
            </a:pathLst>
          </a:custGeom>
          <a:solidFill>
            <a:schemeClr val="accent6"/>
          </a:solidFill>
          <a:ln>
            <a:noFill/>
          </a:ln>
        </p:spPr>
        <p:txBody>
          <a:bodyPr vert="horz" wrap="square" lIns="133428" tIns="66715" rIns="133428" bIns="66715" numCol="1" anchor="t" anchorCtr="0" compatLnSpc="1">
            <a:prstTxWarp prst="textNoShape">
              <a:avLst/>
            </a:prstTxWarp>
          </a:bodyPr>
          <a:lstStyle/>
          <a:p>
            <a:endParaRPr lang="ja-JP" altLang="en-US" sz="2533"/>
          </a:p>
        </p:txBody>
      </p:sp>
      <p:sp>
        <p:nvSpPr>
          <p:cNvPr id="2" name="タイトル 1"/>
          <p:cNvSpPr>
            <a:spLocks noGrp="1"/>
          </p:cNvSpPr>
          <p:nvPr>
            <p:ph type="title"/>
          </p:nvPr>
        </p:nvSpPr>
        <p:spPr>
          <a:xfrm>
            <a:off x="368549" y="194236"/>
            <a:ext cx="9791452" cy="540000"/>
          </a:xfrm>
          <a:prstGeom prst="rect">
            <a:avLst/>
          </a:prstGeom>
        </p:spPr>
        <p:txBody>
          <a:bodyPr lIns="95767" tIns="47884" rIns="95767" bIns="47884"/>
          <a:lstStyle/>
          <a:p>
            <a:r>
              <a:rPr kumimoji="1" lang="ja-JP" altLang="en-US"/>
              <a:t>マスター タイトルの書式設定</a:t>
            </a:r>
          </a:p>
        </p:txBody>
      </p:sp>
      <p:sp>
        <p:nvSpPr>
          <p:cNvPr id="3" name="コンテンツ プレースホルダー 2"/>
          <p:cNvSpPr>
            <a:spLocks noGrp="1"/>
          </p:cNvSpPr>
          <p:nvPr>
            <p:ph idx="1"/>
          </p:nvPr>
        </p:nvSpPr>
        <p:spPr>
          <a:xfrm>
            <a:off x="368551" y="903600"/>
            <a:ext cx="11583452" cy="5540400"/>
          </a:xfrm>
          <a:prstGeom prst="rect">
            <a:avLst/>
          </a:prstGeom>
        </p:spPr>
        <p:txBody>
          <a:bodyPr lIns="95767" tIns="47884" rIns="95767" bIns="47884"/>
          <a:lstStyle>
            <a:lvl2pPr indent="-236233">
              <a:defRPr/>
            </a:lvl2pPr>
            <a:lvl3pPr indent="-236233">
              <a:defRPr/>
            </a:lvl3pPr>
            <a:lvl4pPr indent="-236233">
              <a:defRPr/>
            </a:lvl4pPr>
            <a:lvl5pPr indent="-236233">
              <a:defRPr/>
            </a:lvl5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6" name="スライド番号プレースホルダー 5"/>
          <p:cNvSpPr>
            <a:spLocks noGrp="1"/>
          </p:cNvSpPr>
          <p:nvPr>
            <p:ph type="sldNum" sz="quarter" idx="12"/>
          </p:nvPr>
        </p:nvSpPr>
        <p:spPr>
          <a:xfrm>
            <a:off x="11524630" y="6468878"/>
            <a:ext cx="555811" cy="289299"/>
          </a:xfrm>
          <a:prstGeom prst="rect">
            <a:avLst/>
          </a:prstGeom>
        </p:spPr>
        <p:txBody>
          <a:bodyPr lIns="95767" tIns="47884" rIns="95767" bIns="47884"/>
          <a:lstStyle>
            <a:lvl1pPr>
              <a:defRPr sz="1333"/>
            </a:lvl1pPr>
          </a:lstStyle>
          <a:p>
            <a:fld id="{2FF5E1DE-7B95-8A44-8552-65323269AE41}" type="slidenum">
              <a:rPr lang="ja-JP" altLang="en-US" smtClean="0"/>
              <a:pPr/>
              <a:t>‹#›</a:t>
            </a:fld>
            <a:endParaRPr lang="ja-JP" altLang="en-US"/>
          </a:p>
        </p:txBody>
      </p:sp>
      <p:cxnSp>
        <p:nvCxnSpPr>
          <p:cNvPr id="8" name="直線コネクタ 7"/>
          <p:cNvCxnSpPr/>
          <p:nvPr userDrawn="1"/>
        </p:nvCxnSpPr>
        <p:spPr>
          <a:xfrm>
            <a:off x="239959" y="817200"/>
            <a:ext cx="11709966" cy="0"/>
          </a:xfrm>
          <a:prstGeom prst="line">
            <a:avLst/>
          </a:prstGeom>
          <a:ln>
            <a:solidFill>
              <a:srgbClr val="92846E"/>
            </a:solidFill>
          </a:ln>
          <a:effectLst/>
        </p:spPr>
        <p:style>
          <a:lnRef idx="2">
            <a:schemeClr val="accent1"/>
          </a:lnRef>
          <a:fillRef idx="0">
            <a:schemeClr val="accent1"/>
          </a:fillRef>
          <a:effectRef idx="1">
            <a:schemeClr val="accent1"/>
          </a:effectRef>
          <a:fontRef idx="minor">
            <a:schemeClr val="tx1"/>
          </a:fontRef>
        </p:style>
      </p:cxnSp>
      <p:pic>
        <p:nvPicPr>
          <p:cNvPr id="10" name="Picture 2" descr="K:\新ロゴ（データ一式）\DLH_3_EN.png"/>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11038066" y="-34312"/>
            <a:ext cx="973128" cy="90043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86824410"/>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type="title" preserve="1">
  <p:cSld name="3_タイトル スライド">
    <p:spTree>
      <p:nvGrpSpPr>
        <p:cNvPr id="1" name=""/>
        <p:cNvGrpSpPr/>
        <p:nvPr/>
      </p:nvGrpSpPr>
      <p:grpSpPr>
        <a:xfrm>
          <a:off x="0" y="0"/>
          <a:ext cx="0" cy="0"/>
          <a:chOff x="0" y="0"/>
          <a:chExt cx="0" cy="0"/>
        </a:xfrm>
      </p:grpSpPr>
      <p:sp>
        <p:nvSpPr>
          <p:cNvPr id="10" name="Freeform 5"/>
          <p:cNvSpPr>
            <a:spLocks/>
          </p:cNvSpPr>
          <p:nvPr userDrawn="1"/>
        </p:nvSpPr>
        <p:spPr bwMode="auto">
          <a:xfrm>
            <a:off x="233538" y="169337"/>
            <a:ext cx="11730712" cy="5207000"/>
          </a:xfrm>
          <a:custGeom>
            <a:avLst/>
            <a:gdLst>
              <a:gd name="T0" fmla="*/ 0 w 1618"/>
              <a:gd name="T1" fmla="*/ 0 h 957"/>
              <a:gd name="T2" fmla="*/ 0 w 1618"/>
              <a:gd name="T3" fmla="*/ 957 h 957"/>
              <a:gd name="T4" fmla="*/ 1279 w 1618"/>
              <a:gd name="T5" fmla="*/ 842 h 957"/>
              <a:gd name="T6" fmla="*/ 1618 w 1618"/>
              <a:gd name="T7" fmla="*/ 472 h 957"/>
              <a:gd name="T8" fmla="*/ 1618 w 1618"/>
              <a:gd name="T9" fmla="*/ 0 h 957"/>
              <a:gd name="T10" fmla="*/ 0 w 1618"/>
              <a:gd name="T11" fmla="*/ 0 h 957"/>
            </a:gdLst>
            <a:ahLst/>
            <a:cxnLst>
              <a:cxn ang="0">
                <a:pos x="T0" y="T1"/>
              </a:cxn>
              <a:cxn ang="0">
                <a:pos x="T2" y="T3"/>
              </a:cxn>
              <a:cxn ang="0">
                <a:pos x="T4" y="T5"/>
              </a:cxn>
              <a:cxn ang="0">
                <a:pos x="T6" y="T7"/>
              </a:cxn>
              <a:cxn ang="0">
                <a:pos x="T8" y="T9"/>
              </a:cxn>
              <a:cxn ang="0">
                <a:pos x="T10" y="T11"/>
              </a:cxn>
            </a:cxnLst>
            <a:rect l="0" t="0" r="r" b="b"/>
            <a:pathLst>
              <a:path w="1618" h="957">
                <a:moveTo>
                  <a:pt x="0" y="0"/>
                </a:moveTo>
                <a:cubicBezTo>
                  <a:pt x="0" y="957"/>
                  <a:pt x="0" y="957"/>
                  <a:pt x="0" y="957"/>
                </a:cubicBezTo>
                <a:cubicBezTo>
                  <a:pt x="1279" y="842"/>
                  <a:pt x="1279" y="842"/>
                  <a:pt x="1279" y="842"/>
                </a:cubicBezTo>
                <a:cubicBezTo>
                  <a:pt x="1465" y="825"/>
                  <a:pt x="1618" y="659"/>
                  <a:pt x="1618" y="472"/>
                </a:cubicBezTo>
                <a:cubicBezTo>
                  <a:pt x="1618" y="0"/>
                  <a:pt x="1618" y="0"/>
                  <a:pt x="1618" y="0"/>
                </a:cubicBezTo>
                <a:lnTo>
                  <a:pt x="0" y="0"/>
                </a:lnTo>
                <a:close/>
              </a:path>
            </a:pathLst>
          </a:custGeom>
          <a:solidFill>
            <a:schemeClr val="accent4"/>
          </a:solidFill>
          <a:ln>
            <a:noFill/>
          </a:ln>
        </p:spPr>
        <p:txBody>
          <a:bodyPr lIns="127667" tIns="63834" rIns="127667" bIns="63834"/>
          <a:lstStyle/>
          <a:p>
            <a:pPr marL="0" marR="0" lvl="0" indent="0" algn="l" defTabSz="478835" rtl="0" eaLnBrk="1" fontAlgn="auto" latinLnBrk="0" hangingPunct="1">
              <a:lnSpc>
                <a:spcPct val="100000"/>
              </a:lnSpc>
              <a:spcBef>
                <a:spcPts val="0"/>
              </a:spcBef>
              <a:spcAft>
                <a:spcPts val="0"/>
              </a:spcAft>
              <a:buClrTx/>
              <a:buSzTx/>
              <a:buFontTx/>
              <a:buNone/>
              <a:tabLst/>
              <a:defRPr/>
            </a:pPr>
            <a:endParaRPr kumimoji="1" lang="ja-JP" altLang="en-US" sz="2533"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endParaRPr>
          </a:p>
        </p:txBody>
      </p:sp>
      <p:sp>
        <p:nvSpPr>
          <p:cNvPr id="2" name="タイトル 1"/>
          <p:cNvSpPr>
            <a:spLocks noGrp="1"/>
          </p:cNvSpPr>
          <p:nvPr>
            <p:ph type="ctrTitle"/>
          </p:nvPr>
        </p:nvSpPr>
        <p:spPr>
          <a:xfrm>
            <a:off x="914400" y="1416804"/>
            <a:ext cx="10363200" cy="1470025"/>
          </a:xfrm>
          <a:prstGeom prst="rect">
            <a:avLst/>
          </a:prstGeom>
        </p:spPr>
        <p:txBody>
          <a:bodyPr lIns="95767" tIns="47884" rIns="95767" bIns="47884" anchor="b">
            <a:normAutofit/>
          </a:bodyPr>
          <a:lstStyle>
            <a:lvl1pPr algn="l">
              <a:defRPr sz="4000" kern="1200">
                <a:solidFill>
                  <a:schemeClr val="bg1"/>
                </a:solidFill>
                <a:latin typeface="Meiryo UI" panose="020B0604030504040204" pitchFamily="50" charset="-128"/>
                <a:ea typeface="Meiryo UI" panose="020B0604030504040204" pitchFamily="50" charset="-128"/>
              </a:defRPr>
            </a:lvl1pPr>
          </a:lstStyle>
          <a:p>
            <a:r>
              <a:rPr kumimoji="1" lang="ja-JP" altLang="en-US"/>
              <a:t>マスター タイトルの書式設定</a:t>
            </a:r>
          </a:p>
        </p:txBody>
      </p:sp>
      <p:sp>
        <p:nvSpPr>
          <p:cNvPr id="3" name="サブタイトル 2"/>
          <p:cNvSpPr>
            <a:spLocks noGrp="1"/>
          </p:cNvSpPr>
          <p:nvPr>
            <p:ph type="subTitle" idx="1"/>
          </p:nvPr>
        </p:nvSpPr>
        <p:spPr>
          <a:xfrm>
            <a:off x="916801" y="3420000"/>
            <a:ext cx="9691436" cy="977153"/>
          </a:xfrm>
          <a:prstGeom prst="rect">
            <a:avLst/>
          </a:prstGeom>
        </p:spPr>
        <p:txBody>
          <a:bodyPr lIns="95767" tIns="47884" rIns="95767" bIns="47884">
            <a:normAutofit/>
          </a:bodyPr>
          <a:lstStyle>
            <a:lvl1pPr marL="0" indent="0" algn="l">
              <a:buNone/>
              <a:defRPr sz="2800">
                <a:solidFill>
                  <a:schemeClr val="bg1"/>
                </a:solidFill>
                <a:latin typeface="Meiryo UI" panose="020B0604030504040204" pitchFamily="50" charset="-128"/>
                <a:ea typeface="Meiryo UI" panose="020B0604030504040204" pitchFamily="50" charset="-128"/>
              </a:defRPr>
            </a:lvl1pPr>
            <a:lvl2pPr marL="638335" indent="0" algn="ctr">
              <a:buNone/>
              <a:defRPr>
                <a:solidFill>
                  <a:schemeClr val="tx1">
                    <a:tint val="75000"/>
                  </a:schemeClr>
                </a:solidFill>
              </a:defRPr>
            </a:lvl2pPr>
            <a:lvl3pPr marL="1276669" indent="0" algn="ctr">
              <a:buNone/>
              <a:defRPr>
                <a:solidFill>
                  <a:schemeClr val="tx1">
                    <a:tint val="75000"/>
                  </a:schemeClr>
                </a:solidFill>
              </a:defRPr>
            </a:lvl3pPr>
            <a:lvl4pPr marL="1915003" indent="0" algn="ctr">
              <a:buNone/>
              <a:defRPr>
                <a:solidFill>
                  <a:schemeClr val="tx1">
                    <a:tint val="75000"/>
                  </a:schemeClr>
                </a:solidFill>
              </a:defRPr>
            </a:lvl4pPr>
            <a:lvl5pPr marL="2553338" indent="0" algn="ctr">
              <a:buNone/>
              <a:defRPr>
                <a:solidFill>
                  <a:schemeClr val="tx1">
                    <a:tint val="75000"/>
                  </a:schemeClr>
                </a:solidFill>
              </a:defRPr>
            </a:lvl5pPr>
            <a:lvl6pPr marL="3191671" indent="0" algn="ctr">
              <a:buNone/>
              <a:defRPr>
                <a:solidFill>
                  <a:schemeClr val="tx1">
                    <a:tint val="75000"/>
                  </a:schemeClr>
                </a:solidFill>
              </a:defRPr>
            </a:lvl6pPr>
            <a:lvl7pPr marL="3830007" indent="0" algn="ctr">
              <a:buNone/>
              <a:defRPr>
                <a:solidFill>
                  <a:schemeClr val="tx1">
                    <a:tint val="75000"/>
                  </a:schemeClr>
                </a:solidFill>
              </a:defRPr>
            </a:lvl7pPr>
            <a:lvl8pPr marL="4468342" indent="0" algn="ctr">
              <a:buNone/>
              <a:defRPr>
                <a:solidFill>
                  <a:schemeClr val="tx1">
                    <a:tint val="75000"/>
                  </a:schemeClr>
                </a:solidFill>
              </a:defRPr>
            </a:lvl8pPr>
            <a:lvl9pPr marL="5106676" indent="0" algn="ctr">
              <a:buNone/>
              <a:defRPr>
                <a:solidFill>
                  <a:schemeClr val="tx1">
                    <a:tint val="75000"/>
                  </a:schemeClr>
                </a:solidFill>
              </a:defRPr>
            </a:lvl9pPr>
          </a:lstStyle>
          <a:p>
            <a:r>
              <a:rPr kumimoji="1" lang="ja-JP" altLang="en-US"/>
              <a:t>マスター サブタイトルの書式設定</a:t>
            </a:r>
          </a:p>
        </p:txBody>
      </p:sp>
      <p:sp>
        <p:nvSpPr>
          <p:cNvPr id="9" name="フッター プレースホルダー 12"/>
          <p:cNvSpPr>
            <a:spLocks noGrp="1"/>
          </p:cNvSpPr>
          <p:nvPr>
            <p:ph type="ftr" sz="quarter" idx="11"/>
          </p:nvPr>
        </p:nvSpPr>
        <p:spPr>
          <a:xfrm>
            <a:off x="609599" y="6099529"/>
            <a:ext cx="7057660" cy="365125"/>
          </a:xfrm>
          <a:prstGeom prst="rect">
            <a:avLst/>
          </a:prstGeom>
        </p:spPr>
        <p:txBody>
          <a:bodyPr lIns="95767" tIns="47884" rIns="95767" bIns="47884"/>
          <a:lstStyle>
            <a:lvl1pPr algn="l">
              <a:defRPr sz="1800">
                <a:latin typeface="Meiryo UI" panose="020B0604030504040204" pitchFamily="50" charset="-128"/>
                <a:ea typeface="Meiryo UI" panose="020B0604030504040204" pitchFamily="50" charset="-128"/>
              </a:defRPr>
            </a:lvl1pPr>
          </a:lstStyle>
          <a:p>
            <a:pPr marL="0" marR="0" lvl="0" indent="0" algn="l" defTabSz="478835"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endParaRPr>
          </a:p>
        </p:txBody>
      </p:sp>
      <p:sp>
        <p:nvSpPr>
          <p:cNvPr id="12" name="日付プレースホルダー 11"/>
          <p:cNvSpPr>
            <a:spLocks noGrp="1"/>
          </p:cNvSpPr>
          <p:nvPr>
            <p:ph type="dt" sz="half" idx="10"/>
          </p:nvPr>
        </p:nvSpPr>
        <p:spPr>
          <a:xfrm>
            <a:off x="609600" y="5691768"/>
            <a:ext cx="3860800" cy="365125"/>
          </a:xfrm>
          <a:prstGeom prst="rect">
            <a:avLst/>
          </a:prstGeom>
        </p:spPr>
        <p:txBody>
          <a:bodyPr lIns="95767" tIns="47884" rIns="95767" bIns="47884"/>
          <a:lstStyle>
            <a:lvl1pPr algn="l">
              <a:defRPr sz="1800">
                <a:solidFill>
                  <a:srgbClr val="000000"/>
                </a:solidFill>
                <a:latin typeface="Meiryo UI" panose="020B0604030504040204" pitchFamily="50" charset="-128"/>
                <a:ea typeface="Meiryo UI" panose="020B0604030504040204" pitchFamily="50" charset="-128"/>
              </a:defRPr>
            </a:lvl1pPr>
          </a:lstStyle>
          <a:p>
            <a:pPr marL="0" marR="0" lvl="0" indent="0" algn="l" defTabSz="478835"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endParaRPr>
          </a:p>
        </p:txBody>
      </p:sp>
      <p:pic>
        <p:nvPicPr>
          <p:cNvPr id="8" name="Picture 2" descr="K:\新ロゴ（データ一式）\DLH_3_EN.png"/>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10521597" y="5335811"/>
            <a:ext cx="1644525" cy="152167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60855272"/>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13_タイトルとコンテンツ">
    <p:spTree>
      <p:nvGrpSpPr>
        <p:cNvPr id="1" name=""/>
        <p:cNvGrpSpPr/>
        <p:nvPr/>
      </p:nvGrpSpPr>
      <p:grpSpPr>
        <a:xfrm>
          <a:off x="0" y="0"/>
          <a:ext cx="0" cy="0"/>
          <a:chOff x="0" y="0"/>
          <a:chExt cx="0" cy="0"/>
        </a:xfrm>
      </p:grpSpPr>
      <p:sp>
        <p:nvSpPr>
          <p:cNvPr id="9" name="Freeform 8"/>
          <p:cNvSpPr>
            <a:spLocks/>
          </p:cNvSpPr>
          <p:nvPr userDrawn="1"/>
        </p:nvSpPr>
        <p:spPr bwMode="auto">
          <a:xfrm>
            <a:off x="-2100" y="5505984"/>
            <a:ext cx="12192504" cy="1353504"/>
          </a:xfrm>
          <a:custGeom>
            <a:avLst/>
            <a:gdLst>
              <a:gd name="T0" fmla="*/ 3622 w 3622"/>
              <a:gd name="T1" fmla="*/ 608 h 608"/>
              <a:gd name="T2" fmla="*/ 3622 w 3622"/>
              <a:gd name="T3" fmla="*/ 0 h 608"/>
              <a:gd name="T4" fmla="*/ 3622 w 3622"/>
              <a:gd name="T5" fmla="*/ 0 h 608"/>
              <a:gd name="T6" fmla="*/ 3622 w 3622"/>
              <a:gd name="T7" fmla="*/ 14 h 608"/>
              <a:gd name="T8" fmla="*/ 3616 w 3622"/>
              <a:gd name="T9" fmla="*/ 46 h 608"/>
              <a:gd name="T10" fmla="*/ 3612 w 3622"/>
              <a:gd name="T11" fmla="*/ 68 h 608"/>
              <a:gd name="T12" fmla="*/ 3604 w 3622"/>
              <a:gd name="T13" fmla="*/ 94 h 608"/>
              <a:gd name="T14" fmla="*/ 3596 w 3622"/>
              <a:gd name="T15" fmla="*/ 122 h 608"/>
              <a:gd name="T16" fmla="*/ 3584 w 3622"/>
              <a:gd name="T17" fmla="*/ 150 h 608"/>
              <a:gd name="T18" fmla="*/ 3568 w 3622"/>
              <a:gd name="T19" fmla="*/ 178 h 608"/>
              <a:gd name="T20" fmla="*/ 3550 w 3622"/>
              <a:gd name="T21" fmla="*/ 206 h 608"/>
              <a:gd name="T22" fmla="*/ 3526 w 3622"/>
              <a:gd name="T23" fmla="*/ 232 h 608"/>
              <a:gd name="T24" fmla="*/ 3514 w 3622"/>
              <a:gd name="T25" fmla="*/ 246 h 608"/>
              <a:gd name="T26" fmla="*/ 3498 w 3622"/>
              <a:gd name="T27" fmla="*/ 258 h 608"/>
              <a:gd name="T28" fmla="*/ 3484 w 3622"/>
              <a:gd name="T29" fmla="*/ 268 h 608"/>
              <a:gd name="T30" fmla="*/ 3466 w 3622"/>
              <a:gd name="T31" fmla="*/ 280 h 608"/>
              <a:gd name="T32" fmla="*/ 3448 w 3622"/>
              <a:gd name="T33" fmla="*/ 288 h 608"/>
              <a:gd name="T34" fmla="*/ 3430 w 3622"/>
              <a:gd name="T35" fmla="*/ 298 h 608"/>
              <a:gd name="T36" fmla="*/ 3410 w 3622"/>
              <a:gd name="T37" fmla="*/ 304 h 608"/>
              <a:gd name="T38" fmla="*/ 3386 w 3622"/>
              <a:gd name="T39" fmla="*/ 310 h 608"/>
              <a:gd name="T40" fmla="*/ 3364 w 3622"/>
              <a:gd name="T41" fmla="*/ 316 h 608"/>
              <a:gd name="T42" fmla="*/ 3338 w 3622"/>
              <a:gd name="T43" fmla="*/ 318 h 608"/>
              <a:gd name="T44" fmla="*/ 3338 w 3622"/>
              <a:gd name="T45" fmla="*/ 318 h 608"/>
              <a:gd name="T46" fmla="*/ 0 w 3622"/>
              <a:gd name="T47" fmla="*/ 608 h 608"/>
              <a:gd name="T48" fmla="*/ 3622 w 3622"/>
              <a:gd name="T49" fmla="*/ 608 h 608"/>
              <a:gd name="connsiteX0" fmla="*/ 10000 w 10000"/>
              <a:gd name="connsiteY0" fmla="*/ 10000 h 10000"/>
              <a:gd name="connsiteX1" fmla="*/ 10000 w 10000"/>
              <a:gd name="connsiteY1" fmla="*/ 0 h 10000"/>
              <a:gd name="connsiteX2" fmla="*/ 10000 w 10000"/>
              <a:gd name="connsiteY2" fmla="*/ 0 h 10000"/>
              <a:gd name="connsiteX3" fmla="*/ 10000 w 10000"/>
              <a:gd name="connsiteY3" fmla="*/ 230 h 10000"/>
              <a:gd name="connsiteX4" fmla="*/ 9983 w 10000"/>
              <a:gd name="connsiteY4" fmla="*/ 757 h 10000"/>
              <a:gd name="connsiteX5" fmla="*/ 9972 w 10000"/>
              <a:gd name="connsiteY5" fmla="*/ 1118 h 10000"/>
              <a:gd name="connsiteX6" fmla="*/ 9950 w 10000"/>
              <a:gd name="connsiteY6" fmla="*/ 1546 h 10000"/>
              <a:gd name="connsiteX7" fmla="*/ 9928 w 10000"/>
              <a:gd name="connsiteY7" fmla="*/ 2007 h 10000"/>
              <a:gd name="connsiteX8" fmla="*/ 9895 w 10000"/>
              <a:gd name="connsiteY8" fmla="*/ 2467 h 10000"/>
              <a:gd name="connsiteX9" fmla="*/ 9851 w 10000"/>
              <a:gd name="connsiteY9" fmla="*/ 2928 h 10000"/>
              <a:gd name="connsiteX10" fmla="*/ 9801 w 10000"/>
              <a:gd name="connsiteY10" fmla="*/ 3388 h 10000"/>
              <a:gd name="connsiteX11" fmla="*/ 9735 w 10000"/>
              <a:gd name="connsiteY11" fmla="*/ 3816 h 10000"/>
              <a:gd name="connsiteX12" fmla="*/ 9702 w 10000"/>
              <a:gd name="connsiteY12" fmla="*/ 4046 h 10000"/>
              <a:gd name="connsiteX13" fmla="*/ 9658 w 10000"/>
              <a:gd name="connsiteY13" fmla="*/ 4243 h 10000"/>
              <a:gd name="connsiteX14" fmla="*/ 9619 w 10000"/>
              <a:gd name="connsiteY14" fmla="*/ 4408 h 10000"/>
              <a:gd name="connsiteX15" fmla="*/ 9569 w 10000"/>
              <a:gd name="connsiteY15" fmla="*/ 4605 h 10000"/>
              <a:gd name="connsiteX16" fmla="*/ 9520 w 10000"/>
              <a:gd name="connsiteY16" fmla="*/ 4737 h 10000"/>
              <a:gd name="connsiteX17" fmla="*/ 9470 w 10000"/>
              <a:gd name="connsiteY17" fmla="*/ 4901 h 10000"/>
              <a:gd name="connsiteX18" fmla="*/ 9415 w 10000"/>
              <a:gd name="connsiteY18" fmla="*/ 5000 h 10000"/>
              <a:gd name="connsiteX19" fmla="*/ 9348 w 10000"/>
              <a:gd name="connsiteY19" fmla="*/ 5099 h 10000"/>
              <a:gd name="connsiteX20" fmla="*/ 9288 w 10000"/>
              <a:gd name="connsiteY20" fmla="*/ 5197 h 10000"/>
              <a:gd name="connsiteX21" fmla="*/ 9216 w 10000"/>
              <a:gd name="connsiteY21" fmla="*/ 5230 h 10000"/>
              <a:gd name="connsiteX22" fmla="*/ 9216 w 10000"/>
              <a:gd name="connsiteY22" fmla="*/ 5230 h 10000"/>
              <a:gd name="connsiteX23" fmla="*/ 1190 w 10000"/>
              <a:gd name="connsiteY23" fmla="*/ 9414 h 10000"/>
              <a:gd name="connsiteX24" fmla="*/ 0 w 10000"/>
              <a:gd name="connsiteY24" fmla="*/ 10000 h 10000"/>
              <a:gd name="connsiteX25" fmla="*/ 10000 w 10000"/>
              <a:gd name="connsiteY25" fmla="*/ 10000 h 10000"/>
              <a:gd name="connsiteX0" fmla="*/ 10000 w 10000"/>
              <a:gd name="connsiteY0" fmla="*/ 10000 h 10011"/>
              <a:gd name="connsiteX1" fmla="*/ 10000 w 10000"/>
              <a:gd name="connsiteY1" fmla="*/ 0 h 10011"/>
              <a:gd name="connsiteX2" fmla="*/ 10000 w 10000"/>
              <a:gd name="connsiteY2" fmla="*/ 0 h 10011"/>
              <a:gd name="connsiteX3" fmla="*/ 10000 w 10000"/>
              <a:gd name="connsiteY3" fmla="*/ 230 h 10011"/>
              <a:gd name="connsiteX4" fmla="*/ 9983 w 10000"/>
              <a:gd name="connsiteY4" fmla="*/ 757 h 10011"/>
              <a:gd name="connsiteX5" fmla="*/ 9972 w 10000"/>
              <a:gd name="connsiteY5" fmla="*/ 1118 h 10011"/>
              <a:gd name="connsiteX6" fmla="*/ 9950 w 10000"/>
              <a:gd name="connsiteY6" fmla="*/ 1546 h 10011"/>
              <a:gd name="connsiteX7" fmla="*/ 9928 w 10000"/>
              <a:gd name="connsiteY7" fmla="*/ 2007 h 10011"/>
              <a:gd name="connsiteX8" fmla="*/ 9895 w 10000"/>
              <a:gd name="connsiteY8" fmla="*/ 2467 h 10011"/>
              <a:gd name="connsiteX9" fmla="*/ 9851 w 10000"/>
              <a:gd name="connsiteY9" fmla="*/ 2928 h 10011"/>
              <a:gd name="connsiteX10" fmla="*/ 9801 w 10000"/>
              <a:gd name="connsiteY10" fmla="*/ 3388 h 10011"/>
              <a:gd name="connsiteX11" fmla="*/ 9735 w 10000"/>
              <a:gd name="connsiteY11" fmla="*/ 3816 h 10011"/>
              <a:gd name="connsiteX12" fmla="*/ 9702 w 10000"/>
              <a:gd name="connsiteY12" fmla="*/ 4046 h 10011"/>
              <a:gd name="connsiteX13" fmla="*/ 9658 w 10000"/>
              <a:gd name="connsiteY13" fmla="*/ 4243 h 10011"/>
              <a:gd name="connsiteX14" fmla="*/ 9619 w 10000"/>
              <a:gd name="connsiteY14" fmla="*/ 4408 h 10011"/>
              <a:gd name="connsiteX15" fmla="*/ 9569 w 10000"/>
              <a:gd name="connsiteY15" fmla="*/ 4605 h 10011"/>
              <a:gd name="connsiteX16" fmla="*/ 9520 w 10000"/>
              <a:gd name="connsiteY16" fmla="*/ 4737 h 10011"/>
              <a:gd name="connsiteX17" fmla="*/ 9470 w 10000"/>
              <a:gd name="connsiteY17" fmla="*/ 4901 h 10011"/>
              <a:gd name="connsiteX18" fmla="*/ 9415 w 10000"/>
              <a:gd name="connsiteY18" fmla="*/ 5000 h 10011"/>
              <a:gd name="connsiteX19" fmla="*/ 9348 w 10000"/>
              <a:gd name="connsiteY19" fmla="*/ 5099 h 10011"/>
              <a:gd name="connsiteX20" fmla="*/ 9288 w 10000"/>
              <a:gd name="connsiteY20" fmla="*/ 5197 h 10011"/>
              <a:gd name="connsiteX21" fmla="*/ 9216 w 10000"/>
              <a:gd name="connsiteY21" fmla="*/ 5230 h 10011"/>
              <a:gd name="connsiteX22" fmla="*/ 9216 w 10000"/>
              <a:gd name="connsiteY22" fmla="*/ 5230 h 10011"/>
              <a:gd name="connsiteX23" fmla="*/ 1190 w 10000"/>
              <a:gd name="connsiteY23" fmla="*/ 9414 h 10011"/>
              <a:gd name="connsiteX24" fmla="*/ 0 w 10000"/>
              <a:gd name="connsiteY24" fmla="*/ 10000 h 10011"/>
              <a:gd name="connsiteX25" fmla="*/ 1185 w 10000"/>
              <a:gd name="connsiteY25" fmla="*/ 10011 h 10011"/>
              <a:gd name="connsiteX26" fmla="*/ 10000 w 10000"/>
              <a:gd name="connsiteY26" fmla="*/ 10000 h 10011"/>
              <a:gd name="connsiteX0" fmla="*/ 8815 w 8815"/>
              <a:gd name="connsiteY0" fmla="*/ 10000 h 10011"/>
              <a:gd name="connsiteX1" fmla="*/ 8815 w 8815"/>
              <a:gd name="connsiteY1" fmla="*/ 0 h 10011"/>
              <a:gd name="connsiteX2" fmla="*/ 8815 w 8815"/>
              <a:gd name="connsiteY2" fmla="*/ 0 h 10011"/>
              <a:gd name="connsiteX3" fmla="*/ 8815 w 8815"/>
              <a:gd name="connsiteY3" fmla="*/ 230 h 10011"/>
              <a:gd name="connsiteX4" fmla="*/ 8798 w 8815"/>
              <a:gd name="connsiteY4" fmla="*/ 757 h 10011"/>
              <a:gd name="connsiteX5" fmla="*/ 8787 w 8815"/>
              <a:gd name="connsiteY5" fmla="*/ 1118 h 10011"/>
              <a:gd name="connsiteX6" fmla="*/ 8765 w 8815"/>
              <a:gd name="connsiteY6" fmla="*/ 1546 h 10011"/>
              <a:gd name="connsiteX7" fmla="*/ 8743 w 8815"/>
              <a:gd name="connsiteY7" fmla="*/ 2007 h 10011"/>
              <a:gd name="connsiteX8" fmla="*/ 8710 w 8815"/>
              <a:gd name="connsiteY8" fmla="*/ 2467 h 10011"/>
              <a:gd name="connsiteX9" fmla="*/ 8666 w 8815"/>
              <a:gd name="connsiteY9" fmla="*/ 2928 h 10011"/>
              <a:gd name="connsiteX10" fmla="*/ 8616 w 8815"/>
              <a:gd name="connsiteY10" fmla="*/ 3388 h 10011"/>
              <a:gd name="connsiteX11" fmla="*/ 8550 w 8815"/>
              <a:gd name="connsiteY11" fmla="*/ 3816 h 10011"/>
              <a:gd name="connsiteX12" fmla="*/ 8517 w 8815"/>
              <a:gd name="connsiteY12" fmla="*/ 4046 h 10011"/>
              <a:gd name="connsiteX13" fmla="*/ 8473 w 8815"/>
              <a:gd name="connsiteY13" fmla="*/ 4243 h 10011"/>
              <a:gd name="connsiteX14" fmla="*/ 8434 w 8815"/>
              <a:gd name="connsiteY14" fmla="*/ 4408 h 10011"/>
              <a:gd name="connsiteX15" fmla="*/ 8384 w 8815"/>
              <a:gd name="connsiteY15" fmla="*/ 4605 h 10011"/>
              <a:gd name="connsiteX16" fmla="*/ 8335 w 8815"/>
              <a:gd name="connsiteY16" fmla="*/ 4737 h 10011"/>
              <a:gd name="connsiteX17" fmla="*/ 8285 w 8815"/>
              <a:gd name="connsiteY17" fmla="*/ 4901 h 10011"/>
              <a:gd name="connsiteX18" fmla="*/ 8230 w 8815"/>
              <a:gd name="connsiteY18" fmla="*/ 5000 h 10011"/>
              <a:gd name="connsiteX19" fmla="*/ 8163 w 8815"/>
              <a:gd name="connsiteY19" fmla="*/ 5099 h 10011"/>
              <a:gd name="connsiteX20" fmla="*/ 8103 w 8815"/>
              <a:gd name="connsiteY20" fmla="*/ 5197 h 10011"/>
              <a:gd name="connsiteX21" fmla="*/ 8031 w 8815"/>
              <a:gd name="connsiteY21" fmla="*/ 5230 h 10011"/>
              <a:gd name="connsiteX22" fmla="*/ 8031 w 8815"/>
              <a:gd name="connsiteY22" fmla="*/ 5230 h 10011"/>
              <a:gd name="connsiteX23" fmla="*/ 5 w 8815"/>
              <a:gd name="connsiteY23" fmla="*/ 9414 h 10011"/>
              <a:gd name="connsiteX24" fmla="*/ 0 w 8815"/>
              <a:gd name="connsiteY24" fmla="*/ 10011 h 10011"/>
              <a:gd name="connsiteX25" fmla="*/ 8815 w 8815"/>
              <a:gd name="connsiteY25" fmla="*/ 10000 h 10011"/>
              <a:gd name="connsiteX0" fmla="*/ 9996 w 9996"/>
              <a:gd name="connsiteY0" fmla="*/ 9989 h 10000"/>
              <a:gd name="connsiteX1" fmla="*/ 9996 w 9996"/>
              <a:gd name="connsiteY1" fmla="*/ 0 h 10000"/>
              <a:gd name="connsiteX2" fmla="*/ 9996 w 9996"/>
              <a:gd name="connsiteY2" fmla="*/ 0 h 10000"/>
              <a:gd name="connsiteX3" fmla="*/ 9996 w 9996"/>
              <a:gd name="connsiteY3" fmla="*/ 230 h 10000"/>
              <a:gd name="connsiteX4" fmla="*/ 9977 w 9996"/>
              <a:gd name="connsiteY4" fmla="*/ 756 h 10000"/>
              <a:gd name="connsiteX5" fmla="*/ 9964 w 9996"/>
              <a:gd name="connsiteY5" fmla="*/ 1117 h 10000"/>
              <a:gd name="connsiteX6" fmla="*/ 9939 w 9996"/>
              <a:gd name="connsiteY6" fmla="*/ 1544 h 10000"/>
              <a:gd name="connsiteX7" fmla="*/ 9914 w 9996"/>
              <a:gd name="connsiteY7" fmla="*/ 2005 h 10000"/>
              <a:gd name="connsiteX8" fmla="*/ 9877 w 9996"/>
              <a:gd name="connsiteY8" fmla="*/ 2464 h 10000"/>
              <a:gd name="connsiteX9" fmla="*/ 9827 w 9996"/>
              <a:gd name="connsiteY9" fmla="*/ 2925 h 10000"/>
              <a:gd name="connsiteX10" fmla="*/ 9770 w 9996"/>
              <a:gd name="connsiteY10" fmla="*/ 3384 h 10000"/>
              <a:gd name="connsiteX11" fmla="*/ 9695 w 9996"/>
              <a:gd name="connsiteY11" fmla="*/ 3812 h 10000"/>
              <a:gd name="connsiteX12" fmla="*/ 9658 w 9996"/>
              <a:gd name="connsiteY12" fmla="*/ 4042 h 10000"/>
              <a:gd name="connsiteX13" fmla="*/ 9608 w 9996"/>
              <a:gd name="connsiteY13" fmla="*/ 4238 h 10000"/>
              <a:gd name="connsiteX14" fmla="*/ 9564 w 9996"/>
              <a:gd name="connsiteY14" fmla="*/ 4403 h 10000"/>
              <a:gd name="connsiteX15" fmla="*/ 9507 w 9996"/>
              <a:gd name="connsiteY15" fmla="*/ 4600 h 10000"/>
              <a:gd name="connsiteX16" fmla="*/ 9451 w 9996"/>
              <a:gd name="connsiteY16" fmla="*/ 4732 h 10000"/>
              <a:gd name="connsiteX17" fmla="*/ 9395 w 9996"/>
              <a:gd name="connsiteY17" fmla="*/ 4896 h 10000"/>
              <a:gd name="connsiteX18" fmla="*/ 9332 w 9996"/>
              <a:gd name="connsiteY18" fmla="*/ 4995 h 10000"/>
              <a:gd name="connsiteX19" fmla="*/ 9256 w 9996"/>
              <a:gd name="connsiteY19" fmla="*/ 5093 h 10000"/>
              <a:gd name="connsiteX20" fmla="*/ 9188 w 9996"/>
              <a:gd name="connsiteY20" fmla="*/ 5191 h 10000"/>
              <a:gd name="connsiteX21" fmla="*/ 9107 w 9996"/>
              <a:gd name="connsiteY21" fmla="*/ 5224 h 10000"/>
              <a:gd name="connsiteX22" fmla="*/ 9107 w 9996"/>
              <a:gd name="connsiteY22" fmla="*/ 5224 h 10000"/>
              <a:gd name="connsiteX23" fmla="*/ 2 w 9996"/>
              <a:gd name="connsiteY23" fmla="*/ 9404 h 10000"/>
              <a:gd name="connsiteX24" fmla="*/ 0 w 9996"/>
              <a:gd name="connsiteY24" fmla="*/ 10000 h 10000"/>
              <a:gd name="connsiteX25" fmla="*/ 9996 w 9996"/>
              <a:gd name="connsiteY25" fmla="*/ 9989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9996" h="10000">
                <a:moveTo>
                  <a:pt x="9996" y="9989"/>
                </a:moveTo>
                <a:lnTo>
                  <a:pt x="9996" y="0"/>
                </a:lnTo>
                <a:lnTo>
                  <a:pt x="9996" y="0"/>
                </a:lnTo>
                <a:lnTo>
                  <a:pt x="9996" y="230"/>
                </a:lnTo>
                <a:cubicBezTo>
                  <a:pt x="9989" y="406"/>
                  <a:pt x="9984" y="580"/>
                  <a:pt x="9977" y="756"/>
                </a:cubicBezTo>
                <a:cubicBezTo>
                  <a:pt x="9972" y="876"/>
                  <a:pt x="9969" y="997"/>
                  <a:pt x="9964" y="1117"/>
                </a:cubicBezTo>
                <a:cubicBezTo>
                  <a:pt x="9956" y="1260"/>
                  <a:pt x="9947" y="1401"/>
                  <a:pt x="9939" y="1544"/>
                </a:cubicBezTo>
                <a:cubicBezTo>
                  <a:pt x="9931" y="1698"/>
                  <a:pt x="9922" y="1851"/>
                  <a:pt x="9914" y="2005"/>
                </a:cubicBezTo>
                <a:cubicBezTo>
                  <a:pt x="9902" y="2158"/>
                  <a:pt x="9889" y="2311"/>
                  <a:pt x="9877" y="2464"/>
                </a:cubicBezTo>
                <a:cubicBezTo>
                  <a:pt x="9860" y="2618"/>
                  <a:pt x="9844" y="2771"/>
                  <a:pt x="9827" y="2925"/>
                </a:cubicBezTo>
                <a:cubicBezTo>
                  <a:pt x="9808" y="3078"/>
                  <a:pt x="9790" y="3231"/>
                  <a:pt x="9770" y="3384"/>
                </a:cubicBezTo>
                <a:cubicBezTo>
                  <a:pt x="9745" y="3527"/>
                  <a:pt x="9720" y="3669"/>
                  <a:pt x="9695" y="3812"/>
                </a:cubicBezTo>
                <a:cubicBezTo>
                  <a:pt x="9683" y="3889"/>
                  <a:pt x="9670" y="3965"/>
                  <a:pt x="9658" y="4042"/>
                </a:cubicBezTo>
                <a:cubicBezTo>
                  <a:pt x="9641" y="4107"/>
                  <a:pt x="9625" y="4172"/>
                  <a:pt x="9608" y="4238"/>
                </a:cubicBezTo>
                <a:cubicBezTo>
                  <a:pt x="9593" y="4293"/>
                  <a:pt x="9579" y="4348"/>
                  <a:pt x="9564" y="4403"/>
                </a:cubicBezTo>
                <a:cubicBezTo>
                  <a:pt x="9544" y="4469"/>
                  <a:pt x="9526" y="4534"/>
                  <a:pt x="9507" y="4600"/>
                </a:cubicBezTo>
                <a:cubicBezTo>
                  <a:pt x="9489" y="4644"/>
                  <a:pt x="9470" y="4688"/>
                  <a:pt x="9451" y="4732"/>
                </a:cubicBezTo>
                <a:cubicBezTo>
                  <a:pt x="9432" y="4787"/>
                  <a:pt x="9414" y="4841"/>
                  <a:pt x="9395" y="4896"/>
                </a:cubicBezTo>
                <a:lnTo>
                  <a:pt x="9332" y="4995"/>
                </a:lnTo>
                <a:cubicBezTo>
                  <a:pt x="9307" y="5027"/>
                  <a:pt x="9281" y="5060"/>
                  <a:pt x="9256" y="5093"/>
                </a:cubicBezTo>
                <a:cubicBezTo>
                  <a:pt x="9234" y="5126"/>
                  <a:pt x="9211" y="5158"/>
                  <a:pt x="9188" y="5191"/>
                </a:cubicBezTo>
                <a:lnTo>
                  <a:pt x="9107" y="5224"/>
                </a:lnTo>
                <a:lnTo>
                  <a:pt x="9107" y="5224"/>
                </a:lnTo>
                <a:lnTo>
                  <a:pt x="2" y="9404"/>
                </a:lnTo>
                <a:cubicBezTo>
                  <a:pt x="-1" y="9602"/>
                  <a:pt x="2" y="9801"/>
                  <a:pt x="0" y="10000"/>
                </a:cubicBezTo>
                <a:lnTo>
                  <a:pt x="9996" y="9989"/>
                </a:lnTo>
                <a:close/>
              </a:path>
            </a:pathLst>
          </a:custGeom>
          <a:solidFill>
            <a:schemeClr val="accent6"/>
          </a:solidFill>
          <a:ln>
            <a:noFill/>
          </a:ln>
        </p:spPr>
        <p:txBody>
          <a:bodyPr vert="horz" wrap="square" lIns="133428" tIns="66715" rIns="133428" bIns="66715" numCol="1" anchor="t" anchorCtr="0" compatLnSpc="1">
            <a:prstTxWarp prst="textNoShape">
              <a:avLst/>
            </a:prstTxWarp>
          </a:bodyPr>
          <a:lstStyle/>
          <a:p>
            <a:pPr marL="0" marR="0" lvl="0" indent="0" algn="l" defTabSz="478835" rtl="0" eaLnBrk="1" fontAlgn="auto" latinLnBrk="0" hangingPunct="1">
              <a:lnSpc>
                <a:spcPct val="100000"/>
              </a:lnSpc>
              <a:spcBef>
                <a:spcPts val="0"/>
              </a:spcBef>
              <a:spcAft>
                <a:spcPts val="0"/>
              </a:spcAft>
              <a:buClrTx/>
              <a:buSzTx/>
              <a:buFontTx/>
              <a:buNone/>
              <a:tabLst/>
              <a:defRPr/>
            </a:pPr>
            <a:endParaRPr kumimoji="1" lang="ja-JP" altLang="en-US" sz="2533"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endParaRPr>
          </a:p>
        </p:txBody>
      </p:sp>
      <p:sp>
        <p:nvSpPr>
          <p:cNvPr id="2" name="タイトル 1"/>
          <p:cNvSpPr>
            <a:spLocks noGrp="1"/>
          </p:cNvSpPr>
          <p:nvPr>
            <p:ph type="title"/>
          </p:nvPr>
        </p:nvSpPr>
        <p:spPr>
          <a:xfrm>
            <a:off x="368550" y="1959102"/>
            <a:ext cx="11451591" cy="540000"/>
          </a:xfrm>
          <a:prstGeom prst="rect">
            <a:avLst/>
          </a:prstGeom>
        </p:spPr>
        <p:txBody>
          <a:bodyPr lIns="95767" tIns="47884" rIns="95767" bIns="47884"/>
          <a:lstStyle>
            <a:lvl1pPr>
              <a:defRPr sz="3200">
                <a:latin typeface="Meiryo UI" panose="020B0604030504040204" pitchFamily="50" charset="-128"/>
                <a:ea typeface="Meiryo UI" panose="020B0604030504040204" pitchFamily="50" charset="-128"/>
              </a:defRPr>
            </a:lvl1pPr>
          </a:lstStyle>
          <a:p>
            <a:r>
              <a:rPr kumimoji="1" lang="ja-JP" altLang="en-US"/>
              <a:t>マスター タイトルの書式設定</a:t>
            </a:r>
          </a:p>
        </p:txBody>
      </p:sp>
      <p:sp>
        <p:nvSpPr>
          <p:cNvPr id="6" name="スライド番号プレースホルダー 5"/>
          <p:cNvSpPr>
            <a:spLocks noGrp="1"/>
          </p:cNvSpPr>
          <p:nvPr>
            <p:ph type="sldNum" sz="quarter" idx="12"/>
          </p:nvPr>
        </p:nvSpPr>
        <p:spPr>
          <a:xfrm>
            <a:off x="11524630" y="6468878"/>
            <a:ext cx="555811" cy="289299"/>
          </a:xfrm>
          <a:prstGeom prst="rect">
            <a:avLst/>
          </a:prstGeom>
        </p:spPr>
        <p:txBody>
          <a:bodyPr lIns="95767" tIns="47884" rIns="95767" bIns="47884"/>
          <a:lstStyle>
            <a:lvl1pPr algn="r">
              <a:defRPr sz="1050">
                <a:latin typeface="Meiryo UI" panose="020B0604030504040204" pitchFamily="50" charset="-128"/>
                <a:ea typeface="Meiryo UI" panose="020B0604030504040204" pitchFamily="50" charset="-128"/>
              </a:defRPr>
            </a:lvl1pPr>
          </a:lstStyle>
          <a:p>
            <a:pPr marL="0" marR="0" lvl="0" indent="0" algn="r" defTabSz="478835" rtl="0" eaLnBrk="1" fontAlgn="auto" latinLnBrk="0" hangingPunct="1">
              <a:lnSpc>
                <a:spcPct val="100000"/>
              </a:lnSpc>
              <a:spcBef>
                <a:spcPts val="0"/>
              </a:spcBef>
              <a:spcAft>
                <a:spcPts val="0"/>
              </a:spcAft>
              <a:buClrTx/>
              <a:buSzTx/>
              <a:buFontTx/>
              <a:buNone/>
              <a:tabLst/>
              <a:defRPr/>
            </a:pPr>
            <a:fld id="{2FF5E1DE-7B95-8A44-8552-65323269AE41}" type="slidenum">
              <a:rPr kumimoji="1" lang="ja-JP" altLang="en-US" sz="1050" b="0" i="0" u="none" strike="noStrike" kern="1200" cap="none" spc="0" normalizeH="0" baseline="0" noProof="0" smtClean="0">
                <a:ln>
                  <a:noFill/>
                </a:ln>
                <a:solidFill>
                  <a:srgbClr val="000000"/>
                </a:solidFill>
                <a:effectLst/>
                <a:uLnTx/>
                <a:uFillTx/>
                <a:latin typeface="Meiryo UI" panose="020B0604030504040204" pitchFamily="50" charset="-128"/>
                <a:ea typeface="Meiryo UI" panose="020B0604030504040204" pitchFamily="50" charset="-128"/>
                <a:cs typeface="+mn-cs"/>
              </a:rPr>
              <a:pPr marL="0" marR="0" lvl="0" indent="0" algn="r" defTabSz="478835" rtl="0" eaLnBrk="1" fontAlgn="auto" latinLnBrk="0" hangingPunct="1">
                <a:lnSpc>
                  <a:spcPct val="100000"/>
                </a:lnSpc>
                <a:spcBef>
                  <a:spcPts val="0"/>
                </a:spcBef>
                <a:spcAft>
                  <a:spcPts val="0"/>
                </a:spcAft>
                <a:buClrTx/>
                <a:buSzTx/>
                <a:buFontTx/>
                <a:buNone/>
                <a:tabLst/>
                <a:defRPr/>
              </a:pPr>
              <a:t>‹#›</a:t>
            </a:fld>
            <a:endParaRPr kumimoji="1" lang="ja-JP" altLang="en-US" sz="105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endParaRPr>
          </a:p>
        </p:txBody>
      </p:sp>
      <p:pic>
        <p:nvPicPr>
          <p:cNvPr id="7" name="Picture 2" descr="K:\新ロゴ（データ一式）\DLH_3_EN.png"/>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11038066" y="5444"/>
            <a:ext cx="973128" cy="90043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9032435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7_タイトルとコンテンツ">
    <p:spTree>
      <p:nvGrpSpPr>
        <p:cNvPr id="1" name=""/>
        <p:cNvGrpSpPr/>
        <p:nvPr/>
      </p:nvGrpSpPr>
      <p:grpSpPr>
        <a:xfrm>
          <a:off x="0" y="0"/>
          <a:ext cx="0" cy="0"/>
          <a:chOff x="0" y="0"/>
          <a:chExt cx="0" cy="0"/>
        </a:xfrm>
      </p:grpSpPr>
      <p:sp>
        <p:nvSpPr>
          <p:cNvPr id="7" name="Freeform 8"/>
          <p:cNvSpPr>
            <a:spLocks/>
          </p:cNvSpPr>
          <p:nvPr userDrawn="1"/>
        </p:nvSpPr>
        <p:spPr bwMode="auto">
          <a:xfrm>
            <a:off x="-2100" y="5505984"/>
            <a:ext cx="12192504" cy="1353504"/>
          </a:xfrm>
          <a:custGeom>
            <a:avLst/>
            <a:gdLst>
              <a:gd name="T0" fmla="*/ 3622 w 3622"/>
              <a:gd name="T1" fmla="*/ 608 h 608"/>
              <a:gd name="T2" fmla="*/ 3622 w 3622"/>
              <a:gd name="T3" fmla="*/ 0 h 608"/>
              <a:gd name="T4" fmla="*/ 3622 w 3622"/>
              <a:gd name="T5" fmla="*/ 0 h 608"/>
              <a:gd name="T6" fmla="*/ 3622 w 3622"/>
              <a:gd name="T7" fmla="*/ 14 h 608"/>
              <a:gd name="T8" fmla="*/ 3616 w 3622"/>
              <a:gd name="T9" fmla="*/ 46 h 608"/>
              <a:gd name="T10" fmla="*/ 3612 w 3622"/>
              <a:gd name="T11" fmla="*/ 68 h 608"/>
              <a:gd name="T12" fmla="*/ 3604 w 3622"/>
              <a:gd name="T13" fmla="*/ 94 h 608"/>
              <a:gd name="T14" fmla="*/ 3596 w 3622"/>
              <a:gd name="T15" fmla="*/ 122 h 608"/>
              <a:gd name="T16" fmla="*/ 3584 w 3622"/>
              <a:gd name="T17" fmla="*/ 150 h 608"/>
              <a:gd name="T18" fmla="*/ 3568 w 3622"/>
              <a:gd name="T19" fmla="*/ 178 h 608"/>
              <a:gd name="T20" fmla="*/ 3550 w 3622"/>
              <a:gd name="T21" fmla="*/ 206 h 608"/>
              <a:gd name="T22" fmla="*/ 3526 w 3622"/>
              <a:gd name="T23" fmla="*/ 232 h 608"/>
              <a:gd name="T24" fmla="*/ 3514 w 3622"/>
              <a:gd name="T25" fmla="*/ 246 h 608"/>
              <a:gd name="T26" fmla="*/ 3498 w 3622"/>
              <a:gd name="T27" fmla="*/ 258 h 608"/>
              <a:gd name="T28" fmla="*/ 3484 w 3622"/>
              <a:gd name="T29" fmla="*/ 268 h 608"/>
              <a:gd name="T30" fmla="*/ 3466 w 3622"/>
              <a:gd name="T31" fmla="*/ 280 h 608"/>
              <a:gd name="T32" fmla="*/ 3448 w 3622"/>
              <a:gd name="T33" fmla="*/ 288 h 608"/>
              <a:gd name="T34" fmla="*/ 3430 w 3622"/>
              <a:gd name="T35" fmla="*/ 298 h 608"/>
              <a:gd name="T36" fmla="*/ 3410 w 3622"/>
              <a:gd name="T37" fmla="*/ 304 h 608"/>
              <a:gd name="T38" fmla="*/ 3386 w 3622"/>
              <a:gd name="T39" fmla="*/ 310 h 608"/>
              <a:gd name="T40" fmla="*/ 3364 w 3622"/>
              <a:gd name="T41" fmla="*/ 316 h 608"/>
              <a:gd name="T42" fmla="*/ 3338 w 3622"/>
              <a:gd name="T43" fmla="*/ 318 h 608"/>
              <a:gd name="T44" fmla="*/ 3338 w 3622"/>
              <a:gd name="T45" fmla="*/ 318 h 608"/>
              <a:gd name="T46" fmla="*/ 0 w 3622"/>
              <a:gd name="T47" fmla="*/ 608 h 608"/>
              <a:gd name="T48" fmla="*/ 3622 w 3622"/>
              <a:gd name="T49" fmla="*/ 608 h 608"/>
              <a:gd name="connsiteX0" fmla="*/ 10000 w 10000"/>
              <a:gd name="connsiteY0" fmla="*/ 10000 h 10000"/>
              <a:gd name="connsiteX1" fmla="*/ 10000 w 10000"/>
              <a:gd name="connsiteY1" fmla="*/ 0 h 10000"/>
              <a:gd name="connsiteX2" fmla="*/ 10000 w 10000"/>
              <a:gd name="connsiteY2" fmla="*/ 0 h 10000"/>
              <a:gd name="connsiteX3" fmla="*/ 10000 w 10000"/>
              <a:gd name="connsiteY3" fmla="*/ 230 h 10000"/>
              <a:gd name="connsiteX4" fmla="*/ 9983 w 10000"/>
              <a:gd name="connsiteY4" fmla="*/ 757 h 10000"/>
              <a:gd name="connsiteX5" fmla="*/ 9972 w 10000"/>
              <a:gd name="connsiteY5" fmla="*/ 1118 h 10000"/>
              <a:gd name="connsiteX6" fmla="*/ 9950 w 10000"/>
              <a:gd name="connsiteY6" fmla="*/ 1546 h 10000"/>
              <a:gd name="connsiteX7" fmla="*/ 9928 w 10000"/>
              <a:gd name="connsiteY7" fmla="*/ 2007 h 10000"/>
              <a:gd name="connsiteX8" fmla="*/ 9895 w 10000"/>
              <a:gd name="connsiteY8" fmla="*/ 2467 h 10000"/>
              <a:gd name="connsiteX9" fmla="*/ 9851 w 10000"/>
              <a:gd name="connsiteY9" fmla="*/ 2928 h 10000"/>
              <a:gd name="connsiteX10" fmla="*/ 9801 w 10000"/>
              <a:gd name="connsiteY10" fmla="*/ 3388 h 10000"/>
              <a:gd name="connsiteX11" fmla="*/ 9735 w 10000"/>
              <a:gd name="connsiteY11" fmla="*/ 3816 h 10000"/>
              <a:gd name="connsiteX12" fmla="*/ 9702 w 10000"/>
              <a:gd name="connsiteY12" fmla="*/ 4046 h 10000"/>
              <a:gd name="connsiteX13" fmla="*/ 9658 w 10000"/>
              <a:gd name="connsiteY13" fmla="*/ 4243 h 10000"/>
              <a:gd name="connsiteX14" fmla="*/ 9619 w 10000"/>
              <a:gd name="connsiteY14" fmla="*/ 4408 h 10000"/>
              <a:gd name="connsiteX15" fmla="*/ 9569 w 10000"/>
              <a:gd name="connsiteY15" fmla="*/ 4605 h 10000"/>
              <a:gd name="connsiteX16" fmla="*/ 9520 w 10000"/>
              <a:gd name="connsiteY16" fmla="*/ 4737 h 10000"/>
              <a:gd name="connsiteX17" fmla="*/ 9470 w 10000"/>
              <a:gd name="connsiteY17" fmla="*/ 4901 h 10000"/>
              <a:gd name="connsiteX18" fmla="*/ 9415 w 10000"/>
              <a:gd name="connsiteY18" fmla="*/ 5000 h 10000"/>
              <a:gd name="connsiteX19" fmla="*/ 9348 w 10000"/>
              <a:gd name="connsiteY19" fmla="*/ 5099 h 10000"/>
              <a:gd name="connsiteX20" fmla="*/ 9288 w 10000"/>
              <a:gd name="connsiteY20" fmla="*/ 5197 h 10000"/>
              <a:gd name="connsiteX21" fmla="*/ 9216 w 10000"/>
              <a:gd name="connsiteY21" fmla="*/ 5230 h 10000"/>
              <a:gd name="connsiteX22" fmla="*/ 9216 w 10000"/>
              <a:gd name="connsiteY22" fmla="*/ 5230 h 10000"/>
              <a:gd name="connsiteX23" fmla="*/ 1190 w 10000"/>
              <a:gd name="connsiteY23" fmla="*/ 9414 h 10000"/>
              <a:gd name="connsiteX24" fmla="*/ 0 w 10000"/>
              <a:gd name="connsiteY24" fmla="*/ 10000 h 10000"/>
              <a:gd name="connsiteX25" fmla="*/ 10000 w 10000"/>
              <a:gd name="connsiteY25" fmla="*/ 10000 h 10000"/>
              <a:gd name="connsiteX0" fmla="*/ 10000 w 10000"/>
              <a:gd name="connsiteY0" fmla="*/ 10000 h 10011"/>
              <a:gd name="connsiteX1" fmla="*/ 10000 w 10000"/>
              <a:gd name="connsiteY1" fmla="*/ 0 h 10011"/>
              <a:gd name="connsiteX2" fmla="*/ 10000 w 10000"/>
              <a:gd name="connsiteY2" fmla="*/ 0 h 10011"/>
              <a:gd name="connsiteX3" fmla="*/ 10000 w 10000"/>
              <a:gd name="connsiteY3" fmla="*/ 230 h 10011"/>
              <a:gd name="connsiteX4" fmla="*/ 9983 w 10000"/>
              <a:gd name="connsiteY4" fmla="*/ 757 h 10011"/>
              <a:gd name="connsiteX5" fmla="*/ 9972 w 10000"/>
              <a:gd name="connsiteY5" fmla="*/ 1118 h 10011"/>
              <a:gd name="connsiteX6" fmla="*/ 9950 w 10000"/>
              <a:gd name="connsiteY6" fmla="*/ 1546 h 10011"/>
              <a:gd name="connsiteX7" fmla="*/ 9928 w 10000"/>
              <a:gd name="connsiteY7" fmla="*/ 2007 h 10011"/>
              <a:gd name="connsiteX8" fmla="*/ 9895 w 10000"/>
              <a:gd name="connsiteY8" fmla="*/ 2467 h 10011"/>
              <a:gd name="connsiteX9" fmla="*/ 9851 w 10000"/>
              <a:gd name="connsiteY9" fmla="*/ 2928 h 10011"/>
              <a:gd name="connsiteX10" fmla="*/ 9801 w 10000"/>
              <a:gd name="connsiteY10" fmla="*/ 3388 h 10011"/>
              <a:gd name="connsiteX11" fmla="*/ 9735 w 10000"/>
              <a:gd name="connsiteY11" fmla="*/ 3816 h 10011"/>
              <a:gd name="connsiteX12" fmla="*/ 9702 w 10000"/>
              <a:gd name="connsiteY12" fmla="*/ 4046 h 10011"/>
              <a:gd name="connsiteX13" fmla="*/ 9658 w 10000"/>
              <a:gd name="connsiteY13" fmla="*/ 4243 h 10011"/>
              <a:gd name="connsiteX14" fmla="*/ 9619 w 10000"/>
              <a:gd name="connsiteY14" fmla="*/ 4408 h 10011"/>
              <a:gd name="connsiteX15" fmla="*/ 9569 w 10000"/>
              <a:gd name="connsiteY15" fmla="*/ 4605 h 10011"/>
              <a:gd name="connsiteX16" fmla="*/ 9520 w 10000"/>
              <a:gd name="connsiteY16" fmla="*/ 4737 h 10011"/>
              <a:gd name="connsiteX17" fmla="*/ 9470 w 10000"/>
              <a:gd name="connsiteY17" fmla="*/ 4901 h 10011"/>
              <a:gd name="connsiteX18" fmla="*/ 9415 w 10000"/>
              <a:gd name="connsiteY18" fmla="*/ 5000 h 10011"/>
              <a:gd name="connsiteX19" fmla="*/ 9348 w 10000"/>
              <a:gd name="connsiteY19" fmla="*/ 5099 h 10011"/>
              <a:gd name="connsiteX20" fmla="*/ 9288 w 10000"/>
              <a:gd name="connsiteY20" fmla="*/ 5197 h 10011"/>
              <a:gd name="connsiteX21" fmla="*/ 9216 w 10000"/>
              <a:gd name="connsiteY21" fmla="*/ 5230 h 10011"/>
              <a:gd name="connsiteX22" fmla="*/ 9216 w 10000"/>
              <a:gd name="connsiteY22" fmla="*/ 5230 h 10011"/>
              <a:gd name="connsiteX23" fmla="*/ 1190 w 10000"/>
              <a:gd name="connsiteY23" fmla="*/ 9414 h 10011"/>
              <a:gd name="connsiteX24" fmla="*/ 0 w 10000"/>
              <a:gd name="connsiteY24" fmla="*/ 10000 h 10011"/>
              <a:gd name="connsiteX25" fmla="*/ 1185 w 10000"/>
              <a:gd name="connsiteY25" fmla="*/ 10011 h 10011"/>
              <a:gd name="connsiteX26" fmla="*/ 10000 w 10000"/>
              <a:gd name="connsiteY26" fmla="*/ 10000 h 10011"/>
              <a:gd name="connsiteX0" fmla="*/ 8815 w 8815"/>
              <a:gd name="connsiteY0" fmla="*/ 10000 h 10011"/>
              <a:gd name="connsiteX1" fmla="*/ 8815 w 8815"/>
              <a:gd name="connsiteY1" fmla="*/ 0 h 10011"/>
              <a:gd name="connsiteX2" fmla="*/ 8815 w 8815"/>
              <a:gd name="connsiteY2" fmla="*/ 0 h 10011"/>
              <a:gd name="connsiteX3" fmla="*/ 8815 w 8815"/>
              <a:gd name="connsiteY3" fmla="*/ 230 h 10011"/>
              <a:gd name="connsiteX4" fmla="*/ 8798 w 8815"/>
              <a:gd name="connsiteY4" fmla="*/ 757 h 10011"/>
              <a:gd name="connsiteX5" fmla="*/ 8787 w 8815"/>
              <a:gd name="connsiteY5" fmla="*/ 1118 h 10011"/>
              <a:gd name="connsiteX6" fmla="*/ 8765 w 8815"/>
              <a:gd name="connsiteY6" fmla="*/ 1546 h 10011"/>
              <a:gd name="connsiteX7" fmla="*/ 8743 w 8815"/>
              <a:gd name="connsiteY7" fmla="*/ 2007 h 10011"/>
              <a:gd name="connsiteX8" fmla="*/ 8710 w 8815"/>
              <a:gd name="connsiteY8" fmla="*/ 2467 h 10011"/>
              <a:gd name="connsiteX9" fmla="*/ 8666 w 8815"/>
              <a:gd name="connsiteY9" fmla="*/ 2928 h 10011"/>
              <a:gd name="connsiteX10" fmla="*/ 8616 w 8815"/>
              <a:gd name="connsiteY10" fmla="*/ 3388 h 10011"/>
              <a:gd name="connsiteX11" fmla="*/ 8550 w 8815"/>
              <a:gd name="connsiteY11" fmla="*/ 3816 h 10011"/>
              <a:gd name="connsiteX12" fmla="*/ 8517 w 8815"/>
              <a:gd name="connsiteY12" fmla="*/ 4046 h 10011"/>
              <a:gd name="connsiteX13" fmla="*/ 8473 w 8815"/>
              <a:gd name="connsiteY13" fmla="*/ 4243 h 10011"/>
              <a:gd name="connsiteX14" fmla="*/ 8434 w 8815"/>
              <a:gd name="connsiteY14" fmla="*/ 4408 h 10011"/>
              <a:gd name="connsiteX15" fmla="*/ 8384 w 8815"/>
              <a:gd name="connsiteY15" fmla="*/ 4605 h 10011"/>
              <a:gd name="connsiteX16" fmla="*/ 8335 w 8815"/>
              <a:gd name="connsiteY16" fmla="*/ 4737 h 10011"/>
              <a:gd name="connsiteX17" fmla="*/ 8285 w 8815"/>
              <a:gd name="connsiteY17" fmla="*/ 4901 h 10011"/>
              <a:gd name="connsiteX18" fmla="*/ 8230 w 8815"/>
              <a:gd name="connsiteY18" fmla="*/ 5000 h 10011"/>
              <a:gd name="connsiteX19" fmla="*/ 8163 w 8815"/>
              <a:gd name="connsiteY19" fmla="*/ 5099 h 10011"/>
              <a:gd name="connsiteX20" fmla="*/ 8103 w 8815"/>
              <a:gd name="connsiteY20" fmla="*/ 5197 h 10011"/>
              <a:gd name="connsiteX21" fmla="*/ 8031 w 8815"/>
              <a:gd name="connsiteY21" fmla="*/ 5230 h 10011"/>
              <a:gd name="connsiteX22" fmla="*/ 8031 w 8815"/>
              <a:gd name="connsiteY22" fmla="*/ 5230 h 10011"/>
              <a:gd name="connsiteX23" fmla="*/ 5 w 8815"/>
              <a:gd name="connsiteY23" fmla="*/ 9414 h 10011"/>
              <a:gd name="connsiteX24" fmla="*/ 0 w 8815"/>
              <a:gd name="connsiteY24" fmla="*/ 10011 h 10011"/>
              <a:gd name="connsiteX25" fmla="*/ 8815 w 8815"/>
              <a:gd name="connsiteY25" fmla="*/ 10000 h 10011"/>
              <a:gd name="connsiteX0" fmla="*/ 9996 w 9996"/>
              <a:gd name="connsiteY0" fmla="*/ 9989 h 10000"/>
              <a:gd name="connsiteX1" fmla="*/ 9996 w 9996"/>
              <a:gd name="connsiteY1" fmla="*/ 0 h 10000"/>
              <a:gd name="connsiteX2" fmla="*/ 9996 w 9996"/>
              <a:gd name="connsiteY2" fmla="*/ 0 h 10000"/>
              <a:gd name="connsiteX3" fmla="*/ 9996 w 9996"/>
              <a:gd name="connsiteY3" fmla="*/ 230 h 10000"/>
              <a:gd name="connsiteX4" fmla="*/ 9977 w 9996"/>
              <a:gd name="connsiteY4" fmla="*/ 756 h 10000"/>
              <a:gd name="connsiteX5" fmla="*/ 9964 w 9996"/>
              <a:gd name="connsiteY5" fmla="*/ 1117 h 10000"/>
              <a:gd name="connsiteX6" fmla="*/ 9939 w 9996"/>
              <a:gd name="connsiteY6" fmla="*/ 1544 h 10000"/>
              <a:gd name="connsiteX7" fmla="*/ 9914 w 9996"/>
              <a:gd name="connsiteY7" fmla="*/ 2005 h 10000"/>
              <a:gd name="connsiteX8" fmla="*/ 9877 w 9996"/>
              <a:gd name="connsiteY8" fmla="*/ 2464 h 10000"/>
              <a:gd name="connsiteX9" fmla="*/ 9827 w 9996"/>
              <a:gd name="connsiteY9" fmla="*/ 2925 h 10000"/>
              <a:gd name="connsiteX10" fmla="*/ 9770 w 9996"/>
              <a:gd name="connsiteY10" fmla="*/ 3384 h 10000"/>
              <a:gd name="connsiteX11" fmla="*/ 9695 w 9996"/>
              <a:gd name="connsiteY11" fmla="*/ 3812 h 10000"/>
              <a:gd name="connsiteX12" fmla="*/ 9658 w 9996"/>
              <a:gd name="connsiteY12" fmla="*/ 4042 h 10000"/>
              <a:gd name="connsiteX13" fmla="*/ 9608 w 9996"/>
              <a:gd name="connsiteY13" fmla="*/ 4238 h 10000"/>
              <a:gd name="connsiteX14" fmla="*/ 9564 w 9996"/>
              <a:gd name="connsiteY14" fmla="*/ 4403 h 10000"/>
              <a:gd name="connsiteX15" fmla="*/ 9507 w 9996"/>
              <a:gd name="connsiteY15" fmla="*/ 4600 h 10000"/>
              <a:gd name="connsiteX16" fmla="*/ 9451 w 9996"/>
              <a:gd name="connsiteY16" fmla="*/ 4732 h 10000"/>
              <a:gd name="connsiteX17" fmla="*/ 9395 w 9996"/>
              <a:gd name="connsiteY17" fmla="*/ 4896 h 10000"/>
              <a:gd name="connsiteX18" fmla="*/ 9332 w 9996"/>
              <a:gd name="connsiteY18" fmla="*/ 4995 h 10000"/>
              <a:gd name="connsiteX19" fmla="*/ 9256 w 9996"/>
              <a:gd name="connsiteY19" fmla="*/ 5093 h 10000"/>
              <a:gd name="connsiteX20" fmla="*/ 9188 w 9996"/>
              <a:gd name="connsiteY20" fmla="*/ 5191 h 10000"/>
              <a:gd name="connsiteX21" fmla="*/ 9107 w 9996"/>
              <a:gd name="connsiteY21" fmla="*/ 5224 h 10000"/>
              <a:gd name="connsiteX22" fmla="*/ 9107 w 9996"/>
              <a:gd name="connsiteY22" fmla="*/ 5224 h 10000"/>
              <a:gd name="connsiteX23" fmla="*/ 2 w 9996"/>
              <a:gd name="connsiteY23" fmla="*/ 9404 h 10000"/>
              <a:gd name="connsiteX24" fmla="*/ 0 w 9996"/>
              <a:gd name="connsiteY24" fmla="*/ 10000 h 10000"/>
              <a:gd name="connsiteX25" fmla="*/ 9996 w 9996"/>
              <a:gd name="connsiteY25" fmla="*/ 9989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9996" h="10000">
                <a:moveTo>
                  <a:pt x="9996" y="9989"/>
                </a:moveTo>
                <a:lnTo>
                  <a:pt x="9996" y="0"/>
                </a:lnTo>
                <a:lnTo>
                  <a:pt x="9996" y="0"/>
                </a:lnTo>
                <a:lnTo>
                  <a:pt x="9996" y="230"/>
                </a:lnTo>
                <a:cubicBezTo>
                  <a:pt x="9989" y="406"/>
                  <a:pt x="9984" y="580"/>
                  <a:pt x="9977" y="756"/>
                </a:cubicBezTo>
                <a:cubicBezTo>
                  <a:pt x="9972" y="876"/>
                  <a:pt x="9969" y="997"/>
                  <a:pt x="9964" y="1117"/>
                </a:cubicBezTo>
                <a:cubicBezTo>
                  <a:pt x="9956" y="1260"/>
                  <a:pt x="9947" y="1401"/>
                  <a:pt x="9939" y="1544"/>
                </a:cubicBezTo>
                <a:cubicBezTo>
                  <a:pt x="9931" y="1698"/>
                  <a:pt x="9922" y="1851"/>
                  <a:pt x="9914" y="2005"/>
                </a:cubicBezTo>
                <a:cubicBezTo>
                  <a:pt x="9902" y="2158"/>
                  <a:pt x="9889" y="2311"/>
                  <a:pt x="9877" y="2464"/>
                </a:cubicBezTo>
                <a:cubicBezTo>
                  <a:pt x="9860" y="2618"/>
                  <a:pt x="9844" y="2771"/>
                  <a:pt x="9827" y="2925"/>
                </a:cubicBezTo>
                <a:cubicBezTo>
                  <a:pt x="9808" y="3078"/>
                  <a:pt x="9790" y="3231"/>
                  <a:pt x="9770" y="3384"/>
                </a:cubicBezTo>
                <a:cubicBezTo>
                  <a:pt x="9745" y="3527"/>
                  <a:pt x="9720" y="3669"/>
                  <a:pt x="9695" y="3812"/>
                </a:cubicBezTo>
                <a:cubicBezTo>
                  <a:pt x="9683" y="3889"/>
                  <a:pt x="9670" y="3965"/>
                  <a:pt x="9658" y="4042"/>
                </a:cubicBezTo>
                <a:cubicBezTo>
                  <a:pt x="9641" y="4107"/>
                  <a:pt x="9625" y="4172"/>
                  <a:pt x="9608" y="4238"/>
                </a:cubicBezTo>
                <a:cubicBezTo>
                  <a:pt x="9593" y="4293"/>
                  <a:pt x="9579" y="4348"/>
                  <a:pt x="9564" y="4403"/>
                </a:cubicBezTo>
                <a:cubicBezTo>
                  <a:pt x="9544" y="4469"/>
                  <a:pt x="9526" y="4534"/>
                  <a:pt x="9507" y="4600"/>
                </a:cubicBezTo>
                <a:cubicBezTo>
                  <a:pt x="9489" y="4644"/>
                  <a:pt x="9470" y="4688"/>
                  <a:pt x="9451" y="4732"/>
                </a:cubicBezTo>
                <a:cubicBezTo>
                  <a:pt x="9432" y="4787"/>
                  <a:pt x="9414" y="4841"/>
                  <a:pt x="9395" y="4896"/>
                </a:cubicBezTo>
                <a:lnTo>
                  <a:pt x="9332" y="4995"/>
                </a:lnTo>
                <a:cubicBezTo>
                  <a:pt x="9307" y="5027"/>
                  <a:pt x="9281" y="5060"/>
                  <a:pt x="9256" y="5093"/>
                </a:cubicBezTo>
                <a:cubicBezTo>
                  <a:pt x="9234" y="5126"/>
                  <a:pt x="9211" y="5158"/>
                  <a:pt x="9188" y="5191"/>
                </a:cubicBezTo>
                <a:lnTo>
                  <a:pt x="9107" y="5224"/>
                </a:lnTo>
                <a:lnTo>
                  <a:pt x="9107" y="5224"/>
                </a:lnTo>
                <a:lnTo>
                  <a:pt x="2" y="9404"/>
                </a:lnTo>
                <a:cubicBezTo>
                  <a:pt x="-1" y="9602"/>
                  <a:pt x="2" y="9801"/>
                  <a:pt x="0" y="10000"/>
                </a:cubicBezTo>
                <a:lnTo>
                  <a:pt x="9996" y="9989"/>
                </a:lnTo>
                <a:close/>
              </a:path>
            </a:pathLst>
          </a:custGeom>
          <a:solidFill>
            <a:schemeClr val="accent6"/>
          </a:solidFill>
          <a:ln>
            <a:noFill/>
          </a:ln>
        </p:spPr>
        <p:txBody>
          <a:bodyPr vert="horz" wrap="square" lIns="133428" tIns="66715" rIns="133428" bIns="66715" numCol="1" anchor="t" anchorCtr="0" compatLnSpc="1">
            <a:prstTxWarp prst="textNoShape">
              <a:avLst/>
            </a:prstTxWarp>
          </a:bodyPr>
          <a:lstStyle/>
          <a:p>
            <a:endParaRPr lang="ja-JP" altLang="en-US" sz="2533"/>
          </a:p>
        </p:txBody>
      </p:sp>
      <p:sp>
        <p:nvSpPr>
          <p:cNvPr id="2" name="タイトル 1"/>
          <p:cNvSpPr>
            <a:spLocks noGrp="1"/>
          </p:cNvSpPr>
          <p:nvPr>
            <p:ph type="title"/>
          </p:nvPr>
        </p:nvSpPr>
        <p:spPr>
          <a:xfrm>
            <a:off x="368550" y="1959102"/>
            <a:ext cx="11451591" cy="540000"/>
          </a:xfrm>
          <a:prstGeom prst="rect">
            <a:avLst/>
          </a:prstGeom>
        </p:spPr>
        <p:txBody>
          <a:bodyPr lIns="95767" tIns="47884" rIns="95767" bIns="47884"/>
          <a:lstStyle/>
          <a:p>
            <a:r>
              <a:rPr kumimoji="1" lang="ja-JP" altLang="en-US"/>
              <a:t>マスター タイトルの書式設定</a:t>
            </a:r>
          </a:p>
        </p:txBody>
      </p:sp>
      <p:sp>
        <p:nvSpPr>
          <p:cNvPr id="6" name="スライド番号プレースホルダー 5"/>
          <p:cNvSpPr>
            <a:spLocks noGrp="1"/>
          </p:cNvSpPr>
          <p:nvPr>
            <p:ph type="sldNum" sz="quarter" idx="12"/>
          </p:nvPr>
        </p:nvSpPr>
        <p:spPr>
          <a:xfrm>
            <a:off x="11524630" y="6468878"/>
            <a:ext cx="555811" cy="289299"/>
          </a:xfrm>
          <a:prstGeom prst="rect">
            <a:avLst/>
          </a:prstGeom>
        </p:spPr>
        <p:txBody>
          <a:bodyPr lIns="95767" tIns="47884" rIns="95767" bIns="47884"/>
          <a:lstStyle>
            <a:lvl1pPr>
              <a:defRPr sz="1333"/>
            </a:lvl1pPr>
          </a:lstStyle>
          <a:p>
            <a:fld id="{2FF5E1DE-7B95-8A44-8552-65323269AE41}" type="slidenum">
              <a:rPr lang="ja-JP" altLang="en-US" smtClean="0"/>
              <a:pPr/>
              <a:t>‹#›</a:t>
            </a:fld>
            <a:endParaRPr lang="ja-JP" altLang="en-US"/>
          </a:p>
        </p:txBody>
      </p:sp>
      <p:pic>
        <p:nvPicPr>
          <p:cNvPr id="8" name="Picture 2" descr="K:\新ロゴ（データ一式）\DLH_3_EN.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1038066" y="-34312"/>
            <a:ext cx="973128" cy="90043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14356187"/>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14_タイトルとコンテンツ">
    <p:spTree>
      <p:nvGrpSpPr>
        <p:cNvPr id="1" name=""/>
        <p:cNvGrpSpPr/>
        <p:nvPr/>
      </p:nvGrpSpPr>
      <p:grpSpPr>
        <a:xfrm>
          <a:off x="0" y="0"/>
          <a:ext cx="0" cy="0"/>
          <a:chOff x="0" y="0"/>
          <a:chExt cx="0" cy="0"/>
        </a:xfrm>
      </p:grpSpPr>
      <p:sp>
        <p:nvSpPr>
          <p:cNvPr id="9" name="Freeform 8"/>
          <p:cNvSpPr>
            <a:spLocks/>
          </p:cNvSpPr>
          <p:nvPr userDrawn="1"/>
        </p:nvSpPr>
        <p:spPr bwMode="auto">
          <a:xfrm>
            <a:off x="-2100" y="5505984"/>
            <a:ext cx="12192504" cy="1353504"/>
          </a:xfrm>
          <a:custGeom>
            <a:avLst/>
            <a:gdLst>
              <a:gd name="T0" fmla="*/ 3622 w 3622"/>
              <a:gd name="T1" fmla="*/ 608 h 608"/>
              <a:gd name="T2" fmla="*/ 3622 w 3622"/>
              <a:gd name="T3" fmla="*/ 0 h 608"/>
              <a:gd name="T4" fmla="*/ 3622 w 3622"/>
              <a:gd name="T5" fmla="*/ 0 h 608"/>
              <a:gd name="T6" fmla="*/ 3622 w 3622"/>
              <a:gd name="T7" fmla="*/ 14 h 608"/>
              <a:gd name="T8" fmla="*/ 3616 w 3622"/>
              <a:gd name="T9" fmla="*/ 46 h 608"/>
              <a:gd name="T10" fmla="*/ 3612 w 3622"/>
              <a:gd name="T11" fmla="*/ 68 h 608"/>
              <a:gd name="T12" fmla="*/ 3604 w 3622"/>
              <a:gd name="T13" fmla="*/ 94 h 608"/>
              <a:gd name="T14" fmla="*/ 3596 w 3622"/>
              <a:gd name="T15" fmla="*/ 122 h 608"/>
              <a:gd name="T16" fmla="*/ 3584 w 3622"/>
              <a:gd name="T17" fmla="*/ 150 h 608"/>
              <a:gd name="T18" fmla="*/ 3568 w 3622"/>
              <a:gd name="T19" fmla="*/ 178 h 608"/>
              <a:gd name="T20" fmla="*/ 3550 w 3622"/>
              <a:gd name="T21" fmla="*/ 206 h 608"/>
              <a:gd name="T22" fmla="*/ 3526 w 3622"/>
              <a:gd name="T23" fmla="*/ 232 h 608"/>
              <a:gd name="T24" fmla="*/ 3514 w 3622"/>
              <a:gd name="T25" fmla="*/ 246 h 608"/>
              <a:gd name="T26" fmla="*/ 3498 w 3622"/>
              <a:gd name="T27" fmla="*/ 258 h 608"/>
              <a:gd name="T28" fmla="*/ 3484 w 3622"/>
              <a:gd name="T29" fmla="*/ 268 h 608"/>
              <a:gd name="T30" fmla="*/ 3466 w 3622"/>
              <a:gd name="T31" fmla="*/ 280 h 608"/>
              <a:gd name="T32" fmla="*/ 3448 w 3622"/>
              <a:gd name="T33" fmla="*/ 288 h 608"/>
              <a:gd name="T34" fmla="*/ 3430 w 3622"/>
              <a:gd name="T35" fmla="*/ 298 h 608"/>
              <a:gd name="T36" fmla="*/ 3410 w 3622"/>
              <a:gd name="T37" fmla="*/ 304 h 608"/>
              <a:gd name="T38" fmla="*/ 3386 w 3622"/>
              <a:gd name="T39" fmla="*/ 310 h 608"/>
              <a:gd name="T40" fmla="*/ 3364 w 3622"/>
              <a:gd name="T41" fmla="*/ 316 h 608"/>
              <a:gd name="T42" fmla="*/ 3338 w 3622"/>
              <a:gd name="T43" fmla="*/ 318 h 608"/>
              <a:gd name="T44" fmla="*/ 3338 w 3622"/>
              <a:gd name="T45" fmla="*/ 318 h 608"/>
              <a:gd name="T46" fmla="*/ 0 w 3622"/>
              <a:gd name="T47" fmla="*/ 608 h 608"/>
              <a:gd name="T48" fmla="*/ 3622 w 3622"/>
              <a:gd name="T49" fmla="*/ 608 h 608"/>
              <a:gd name="connsiteX0" fmla="*/ 10000 w 10000"/>
              <a:gd name="connsiteY0" fmla="*/ 10000 h 10000"/>
              <a:gd name="connsiteX1" fmla="*/ 10000 w 10000"/>
              <a:gd name="connsiteY1" fmla="*/ 0 h 10000"/>
              <a:gd name="connsiteX2" fmla="*/ 10000 w 10000"/>
              <a:gd name="connsiteY2" fmla="*/ 0 h 10000"/>
              <a:gd name="connsiteX3" fmla="*/ 10000 w 10000"/>
              <a:gd name="connsiteY3" fmla="*/ 230 h 10000"/>
              <a:gd name="connsiteX4" fmla="*/ 9983 w 10000"/>
              <a:gd name="connsiteY4" fmla="*/ 757 h 10000"/>
              <a:gd name="connsiteX5" fmla="*/ 9972 w 10000"/>
              <a:gd name="connsiteY5" fmla="*/ 1118 h 10000"/>
              <a:gd name="connsiteX6" fmla="*/ 9950 w 10000"/>
              <a:gd name="connsiteY6" fmla="*/ 1546 h 10000"/>
              <a:gd name="connsiteX7" fmla="*/ 9928 w 10000"/>
              <a:gd name="connsiteY7" fmla="*/ 2007 h 10000"/>
              <a:gd name="connsiteX8" fmla="*/ 9895 w 10000"/>
              <a:gd name="connsiteY8" fmla="*/ 2467 h 10000"/>
              <a:gd name="connsiteX9" fmla="*/ 9851 w 10000"/>
              <a:gd name="connsiteY9" fmla="*/ 2928 h 10000"/>
              <a:gd name="connsiteX10" fmla="*/ 9801 w 10000"/>
              <a:gd name="connsiteY10" fmla="*/ 3388 h 10000"/>
              <a:gd name="connsiteX11" fmla="*/ 9735 w 10000"/>
              <a:gd name="connsiteY11" fmla="*/ 3816 h 10000"/>
              <a:gd name="connsiteX12" fmla="*/ 9702 w 10000"/>
              <a:gd name="connsiteY12" fmla="*/ 4046 h 10000"/>
              <a:gd name="connsiteX13" fmla="*/ 9658 w 10000"/>
              <a:gd name="connsiteY13" fmla="*/ 4243 h 10000"/>
              <a:gd name="connsiteX14" fmla="*/ 9619 w 10000"/>
              <a:gd name="connsiteY14" fmla="*/ 4408 h 10000"/>
              <a:gd name="connsiteX15" fmla="*/ 9569 w 10000"/>
              <a:gd name="connsiteY15" fmla="*/ 4605 h 10000"/>
              <a:gd name="connsiteX16" fmla="*/ 9520 w 10000"/>
              <a:gd name="connsiteY16" fmla="*/ 4737 h 10000"/>
              <a:gd name="connsiteX17" fmla="*/ 9470 w 10000"/>
              <a:gd name="connsiteY17" fmla="*/ 4901 h 10000"/>
              <a:gd name="connsiteX18" fmla="*/ 9415 w 10000"/>
              <a:gd name="connsiteY18" fmla="*/ 5000 h 10000"/>
              <a:gd name="connsiteX19" fmla="*/ 9348 w 10000"/>
              <a:gd name="connsiteY19" fmla="*/ 5099 h 10000"/>
              <a:gd name="connsiteX20" fmla="*/ 9288 w 10000"/>
              <a:gd name="connsiteY20" fmla="*/ 5197 h 10000"/>
              <a:gd name="connsiteX21" fmla="*/ 9216 w 10000"/>
              <a:gd name="connsiteY21" fmla="*/ 5230 h 10000"/>
              <a:gd name="connsiteX22" fmla="*/ 9216 w 10000"/>
              <a:gd name="connsiteY22" fmla="*/ 5230 h 10000"/>
              <a:gd name="connsiteX23" fmla="*/ 1190 w 10000"/>
              <a:gd name="connsiteY23" fmla="*/ 9414 h 10000"/>
              <a:gd name="connsiteX24" fmla="*/ 0 w 10000"/>
              <a:gd name="connsiteY24" fmla="*/ 10000 h 10000"/>
              <a:gd name="connsiteX25" fmla="*/ 10000 w 10000"/>
              <a:gd name="connsiteY25" fmla="*/ 10000 h 10000"/>
              <a:gd name="connsiteX0" fmla="*/ 10000 w 10000"/>
              <a:gd name="connsiteY0" fmla="*/ 10000 h 10011"/>
              <a:gd name="connsiteX1" fmla="*/ 10000 w 10000"/>
              <a:gd name="connsiteY1" fmla="*/ 0 h 10011"/>
              <a:gd name="connsiteX2" fmla="*/ 10000 w 10000"/>
              <a:gd name="connsiteY2" fmla="*/ 0 h 10011"/>
              <a:gd name="connsiteX3" fmla="*/ 10000 w 10000"/>
              <a:gd name="connsiteY3" fmla="*/ 230 h 10011"/>
              <a:gd name="connsiteX4" fmla="*/ 9983 w 10000"/>
              <a:gd name="connsiteY4" fmla="*/ 757 h 10011"/>
              <a:gd name="connsiteX5" fmla="*/ 9972 w 10000"/>
              <a:gd name="connsiteY5" fmla="*/ 1118 h 10011"/>
              <a:gd name="connsiteX6" fmla="*/ 9950 w 10000"/>
              <a:gd name="connsiteY6" fmla="*/ 1546 h 10011"/>
              <a:gd name="connsiteX7" fmla="*/ 9928 w 10000"/>
              <a:gd name="connsiteY7" fmla="*/ 2007 h 10011"/>
              <a:gd name="connsiteX8" fmla="*/ 9895 w 10000"/>
              <a:gd name="connsiteY8" fmla="*/ 2467 h 10011"/>
              <a:gd name="connsiteX9" fmla="*/ 9851 w 10000"/>
              <a:gd name="connsiteY9" fmla="*/ 2928 h 10011"/>
              <a:gd name="connsiteX10" fmla="*/ 9801 w 10000"/>
              <a:gd name="connsiteY10" fmla="*/ 3388 h 10011"/>
              <a:gd name="connsiteX11" fmla="*/ 9735 w 10000"/>
              <a:gd name="connsiteY11" fmla="*/ 3816 h 10011"/>
              <a:gd name="connsiteX12" fmla="*/ 9702 w 10000"/>
              <a:gd name="connsiteY12" fmla="*/ 4046 h 10011"/>
              <a:gd name="connsiteX13" fmla="*/ 9658 w 10000"/>
              <a:gd name="connsiteY13" fmla="*/ 4243 h 10011"/>
              <a:gd name="connsiteX14" fmla="*/ 9619 w 10000"/>
              <a:gd name="connsiteY14" fmla="*/ 4408 h 10011"/>
              <a:gd name="connsiteX15" fmla="*/ 9569 w 10000"/>
              <a:gd name="connsiteY15" fmla="*/ 4605 h 10011"/>
              <a:gd name="connsiteX16" fmla="*/ 9520 w 10000"/>
              <a:gd name="connsiteY16" fmla="*/ 4737 h 10011"/>
              <a:gd name="connsiteX17" fmla="*/ 9470 w 10000"/>
              <a:gd name="connsiteY17" fmla="*/ 4901 h 10011"/>
              <a:gd name="connsiteX18" fmla="*/ 9415 w 10000"/>
              <a:gd name="connsiteY18" fmla="*/ 5000 h 10011"/>
              <a:gd name="connsiteX19" fmla="*/ 9348 w 10000"/>
              <a:gd name="connsiteY19" fmla="*/ 5099 h 10011"/>
              <a:gd name="connsiteX20" fmla="*/ 9288 w 10000"/>
              <a:gd name="connsiteY20" fmla="*/ 5197 h 10011"/>
              <a:gd name="connsiteX21" fmla="*/ 9216 w 10000"/>
              <a:gd name="connsiteY21" fmla="*/ 5230 h 10011"/>
              <a:gd name="connsiteX22" fmla="*/ 9216 w 10000"/>
              <a:gd name="connsiteY22" fmla="*/ 5230 h 10011"/>
              <a:gd name="connsiteX23" fmla="*/ 1190 w 10000"/>
              <a:gd name="connsiteY23" fmla="*/ 9414 h 10011"/>
              <a:gd name="connsiteX24" fmla="*/ 0 w 10000"/>
              <a:gd name="connsiteY24" fmla="*/ 10000 h 10011"/>
              <a:gd name="connsiteX25" fmla="*/ 1185 w 10000"/>
              <a:gd name="connsiteY25" fmla="*/ 10011 h 10011"/>
              <a:gd name="connsiteX26" fmla="*/ 10000 w 10000"/>
              <a:gd name="connsiteY26" fmla="*/ 10000 h 10011"/>
              <a:gd name="connsiteX0" fmla="*/ 8815 w 8815"/>
              <a:gd name="connsiteY0" fmla="*/ 10000 h 10011"/>
              <a:gd name="connsiteX1" fmla="*/ 8815 w 8815"/>
              <a:gd name="connsiteY1" fmla="*/ 0 h 10011"/>
              <a:gd name="connsiteX2" fmla="*/ 8815 w 8815"/>
              <a:gd name="connsiteY2" fmla="*/ 0 h 10011"/>
              <a:gd name="connsiteX3" fmla="*/ 8815 w 8815"/>
              <a:gd name="connsiteY3" fmla="*/ 230 h 10011"/>
              <a:gd name="connsiteX4" fmla="*/ 8798 w 8815"/>
              <a:gd name="connsiteY4" fmla="*/ 757 h 10011"/>
              <a:gd name="connsiteX5" fmla="*/ 8787 w 8815"/>
              <a:gd name="connsiteY5" fmla="*/ 1118 h 10011"/>
              <a:gd name="connsiteX6" fmla="*/ 8765 w 8815"/>
              <a:gd name="connsiteY6" fmla="*/ 1546 h 10011"/>
              <a:gd name="connsiteX7" fmla="*/ 8743 w 8815"/>
              <a:gd name="connsiteY7" fmla="*/ 2007 h 10011"/>
              <a:gd name="connsiteX8" fmla="*/ 8710 w 8815"/>
              <a:gd name="connsiteY8" fmla="*/ 2467 h 10011"/>
              <a:gd name="connsiteX9" fmla="*/ 8666 w 8815"/>
              <a:gd name="connsiteY9" fmla="*/ 2928 h 10011"/>
              <a:gd name="connsiteX10" fmla="*/ 8616 w 8815"/>
              <a:gd name="connsiteY10" fmla="*/ 3388 h 10011"/>
              <a:gd name="connsiteX11" fmla="*/ 8550 w 8815"/>
              <a:gd name="connsiteY11" fmla="*/ 3816 h 10011"/>
              <a:gd name="connsiteX12" fmla="*/ 8517 w 8815"/>
              <a:gd name="connsiteY12" fmla="*/ 4046 h 10011"/>
              <a:gd name="connsiteX13" fmla="*/ 8473 w 8815"/>
              <a:gd name="connsiteY13" fmla="*/ 4243 h 10011"/>
              <a:gd name="connsiteX14" fmla="*/ 8434 w 8815"/>
              <a:gd name="connsiteY14" fmla="*/ 4408 h 10011"/>
              <a:gd name="connsiteX15" fmla="*/ 8384 w 8815"/>
              <a:gd name="connsiteY15" fmla="*/ 4605 h 10011"/>
              <a:gd name="connsiteX16" fmla="*/ 8335 w 8815"/>
              <a:gd name="connsiteY16" fmla="*/ 4737 h 10011"/>
              <a:gd name="connsiteX17" fmla="*/ 8285 w 8815"/>
              <a:gd name="connsiteY17" fmla="*/ 4901 h 10011"/>
              <a:gd name="connsiteX18" fmla="*/ 8230 w 8815"/>
              <a:gd name="connsiteY18" fmla="*/ 5000 h 10011"/>
              <a:gd name="connsiteX19" fmla="*/ 8163 w 8815"/>
              <a:gd name="connsiteY19" fmla="*/ 5099 h 10011"/>
              <a:gd name="connsiteX20" fmla="*/ 8103 w 8815"/>
              <a:gd name="connsiteY20" fmla="*/ 5197 h 10011"/>
              <a:gd name="connsiteX21" fmla="*/ 8031 w 8815"/>
              <a:gd name="connsiteY21" fmla="*/ 5230 h 10011"/>
              <a:gd name="connsiteX22" fmla="*/ 8031 w 8815"/>
              <a:gd name="connsiteY22" fmla="*/ 5230 h 10011"/>
              <a:gd name="connsiteX23" fmla="*/ 5 w 8815"/>
              <a:gd name="connsiteY23" fmla="*/ 9414 h 10011"/>
              <a:gd name="connsiteX24" fmla="*/ 0 w 8815"/>
              <a:gd name="connsiteY24" fmla="*/ 10011 h 10011"/>
              <a:gd name="connsiteX25" fmla="*/ 8815 w 8815"/>
              <a:gd name="connsiteY25" fmla="*/ 10000 h 10011"/>
              <a:gd name="connsiteX0" fmla="*/ 9996 w 9996"/>
              <a:gd name="connsiteY0" fmla="*/ 9989 h 10000"/>
              <a:gd name="connsiteX1" fmla="*/ 9996 w 9996"/>
              <a:gd name="connsiteY1" fmla="*/ 0 h 10000"/>
              <a:gd name="connsiteX2" fmla="*/ 9996 w 9996"/>
              <a:gd name="connsiteY2" fmla="*/ 0 h 10000"/>
              <a:gd name="connsiteX3" fmla="*/ 9996 w 9996"/>
              <a:gd name="connsiteY3" fmla="*/ 230 h 10000"/>
              <a:gd name="connsiteX4" fmla="*/ 9977 w 9996"/>
              <a:gd name="connsiteY4" fmla="*/ 756 h 10000"/>
              <a:gd name="connsiteX5" fmla="*/ 9964 w 9996"/>
              <a:gd name="connsiteY5" fmla="*/ 1117 h 10000"/>
              <a:gd name="connsiteX6" fmla="*/ 9939 w 9996"/>
              <a:gd name="connsiteY6" fmla="*/ 1544 h 10000"/>
              <a:gd name="connsiteX7" fmla="*/ 9914 w 9996"/>
              <a:gd name="connsiteY7" fmla="*/ 2005 h 10000"/>
              <a:gd name="connsiteX8" fmla="*/ 9877 w 9996"/>
              <a:gd name="connsiteY8" fmla="*/ 2464 h 10000"/>
              <a:gd name="connsiteX9" fmla="*/ 9827 w 9996"/>
              <a:gd name="connsiteY9" fmla="*/ 2925 h 10000"/>
              <a:gd name="connsiteX10" fmla="*/ 9770 w 9996"/>
              <a:gd name="connsiteY10" fmla="*/ 3384 h 10000"/>
              <a:gd name="connsiteX11" fmla="*/ 9695 w 9996"/>
              <a:gd name="connsiteY11" fmla="*/ 3812 h 10000"/>
              <a:gd name="connsiteX12" fmla="*/ 9658 w 9996"/>
              <a:gd name="connsiteY12" fmla="*/ 4042 h 10000"/>
              <a:gd name="connsiteX13" fmla="*/ 9608 w 9996"/>
              <a:gd name="connsiteY13" fmla="*/ 4238 h 10000"/>
              <a:gd name="connsiteX14" fmla="*/ 9564 w 9996"/>
              <a:gd name="connsiteY14" fmla="*/ 4403 h 10000"/>
              <a:gd name="connsiteX15" fmla="*/ 9507 w 9996"/>
              <a:gd name="connsiteY15" fmla="*/ 4600 h 10000"/>
              <a:gd name="connsiteX16" fmla="*/ 9451 w 9996"/>
              <a:gd name="connsiteY16" fmla="*/ 4732 h 10000"/>
              <a:gd name="connsiteX17" fmla="*/ 9395 w 9996"/>
              <a:gd name="connsiteY17" fmla="*/ 4896 h 10000"/>
              <a:gd name="connsiteX18" fmla="*/ 9332 w 9996"/>
              <a:gd name="connsiteY18" fmla="*/ 4995 h 10000"/>
              <a:gd name="connsiteX19" fmla="*/ 9256 w 9996"/>
              <a:gd name="connsiteY19" fmla="*/ 5093 h 10000"/>
              <a:gd name="connsiteX20" fmla="*/ 9188 w 9996"/>
              <a:gd name="connsiteY20" fmla="*/ 5191 h 10000"/>
              <a:gd name="connsiteX21" fmla="*/ 9107 w 9996"/>
              <a:gd name="connsiteY21" fmla="*/ 5224 h 10000"/>
              <a:gd name="connsiteX22" fmla="*/ 9107 w 9996"/>
              <a:gd name="connsiteY22" fmla="*/ 5224 h 10000"/>
              <a:gd name="connsiteX23" fmla="*/ 2 w 9996"/>
              <a:gd name="connsiteY23" fmla="*/ 9404 h 10000"/>
              <a:gd name="connsiteX24" fmla="*/ 0 w 9996"/>
              <a:gd name="connsiteY24" fmla="*/ 10000 h 10000"/>
              <a:gd name="connsiteX25" fmla="*/ 9996 w 9996"/>
              <a:gd name="connsiteY25" fmla="*/ 9989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9996" h="10000">
                <a:moveTo>
                  <a:pt x="9996" y="9989"/>
                </a:moveTo>
                <a:lnTo>
                  <a:pt x="9996" y="0"/>
                </a:lnTo>
                <a:lnTo>
                  <a:pt x="9996" y="0"/>
                </a:lnTo>
                <a:lnTo>
                  <a:pt x="9996" y="230"/>
                </a:lnTo>
                <a:cubicBezTo>
                  <a:pt x="9989" y="406"/>
                  <a:pt x="9984" y="580"/>
                  <a:pt x="9977" y="756"/>
                </a:cubicBezTo>
                <a:cubicBezTo>
                  <a:pt x="9972" y="876"/>
                  <a:pt x="9969" y="997"/>
                  <a:pt x="9964" y="1117"/>
                </a:cubicBezTo>
                <a:cubicBezTo>
                  <a:pt x="9956" y="1260"/>
                  <a:pt x="9947" y="1401"/>
                  <a:pt x="9939" y="1544"/>
                </a:cubicBezTo>
                <a:cubicBezTo>
                  <a:pt x="9931" y="1698"/>
                  <a:pt x="9922" y="1851"/>
                  <a:pt x="9914" y="2005"/>
                </a:cubicBezTo>
                <a:cubicBezTo>
                  <a:pt x="9902" y="2158"/>
                  <a:pt x="9889" y="2311"/>
                  <a:pt x="9877" y="2464"/>
                </a:cubicBezTo>
                <a:cubicBezTo>
                  <a:pt x="9860" y="2618"/>
                  <a:pt x="9844" y="2771"/>
                  <a:pt x="9827" y="2925"/>
                </a:cubicBezTo>
                <a:cubicBezTo>
                  <a:pt x="9808" y="3078"/>
                  <a:pt x="9790" y="3231"/>
                  <a:pt x="9770" y="3384"/>
                </a:cubicBezTo>
                <a:cubicBezTo>
                  <a:pt x="9745" y="3527"/>
                  <a:pt x="9720" y="3669"/>
                  <a:pt x="9695" y="3812"/>
                </a:cubicBezTo>
                <a:cubicBezTo>
                  <a:pt x="9683" y="3889"/>
                  <a:pt x="9670" y="3965"/>
                  <a:pt x="9658" y="4042"/>
                </a:cubicBezTo>
                <a:cubicBezTo>
                  <a:pt x="9641" y="4107"/>
                  <a:pt x="9625" y="4172"/>
                  <a:pt x="9608" y="4238"/>
                </a:cubicBezTo>
                <a:cubicBezTo>
                  <a:pt x="9593" y="4293"/>
                  <a:pt x="9579" y="4348"/>
                  <a:pt x="9564" y="4403"/>
                </a:cubicBezTo>
                <a:cubicBezTo>
                  <a:pt x="9544" y="4469"/>
                  <a:pt x="9526" y="4534"/>
                  <a:pt x="9507" y="4600"/>
                </a:cubicBezTo>
                <a:cubicBezTo>
                  <a:pt x="9489" y="4644"/>
                  <a:pt x="9470" y="4688"/>
                  <a:pt x="9451" y="4732"/>
                </a:cubicBezTo>
                <a:cubicBezTo>
                  <a:pt x="9432" y="4787"/>
                  <a:pt x="9414" y="4841"/>
                  <a:pt x="9395" y="4896"/>
                </a:cubicBezTo>
                <a:lnTo>
                  <a:pt x="9332" y="4995"/>
                </a:lnTo>
                <a:cubicBezTo>
                  <a:pt x="9307" y="5027"/>
                  <a:pt x="9281" y="5060"/>
                  <a:pt x="9256" y="5093"/>
                </a:cubicBezTo>
                <a:cubicBezTo>
                  <a:pt x="9234" y="5126"/>
                  <a:pt x="9211" y="5158"/>
                  <a:pt x="9188" y="5191"/>
                </a:cubicBezTo>
                <a:lnTo>
                  <a:pt x="9107" y="5224"/>
                </a:lnTo>
                <a:lnTo>
                  <a:pt x="9107" y="5224"/>
                </a:lnTo>
                <a:lnTo>
                  <a:pt x="2" y="9404"/>
                </a:lnTo>
                <a:cubicBezTo>
                  <a:pt x="-1" y="9602"/>
                  <a:pt x="2" y="9801"/>
                  <a:pt x="0" y="10000"/>
                </a:cubicBezTo>
                <a:lnTo>
                  <a:pt x="9996" y="9989"/>
                </a:lnTo>
                <a:close/>
              </a:path>
            </a:pathLst>
          </a:custGeom>
          <a:solidFill>
            <a:schemeClr val="accent6"/>
          </a:solidFill>
          <a:ln>
            <a:noFill/>
          </a:ln>
        </p:spPr>
        <p:txBody>
          <a:bodyPr vert="horz" wrap="square" lIns="133428" tIns="66715" rIns="133428" bIns="66715" numCol="1" anchor="t" anchorCtr="0" compatLnSpc="1">
            <a:prstTxWarp prst="textNoShape">
              <a:avLst/>
            </a:prstTxWarp>
          </a:bodyPr>
          <a:lstStyle/>
          <a:p>
            <a:pPr marL="0" marR="0" lvl="0" indent="0" algn="l" defTabSz="478835" rtl="0" eaLnBrk="1" fontAlgn="auto" latinLnBrk="0" hangingPunct="1">
              <a:lnSpc>
                <a:spcPct val="100000"/>
              </a:lnSpc>
              <a:spcBef>
                <a:spcPts val="0"/>
              </a:spcBef>
              <a:spcAft>
                <a:spcPts val="0"/>
              </a:spcAft>
              <a:buClrTx/>
              <a:buSzTx/>
              <a:buFontTx/>
              <a:buNone/>
              <a:tabLst/>
              <a:defRPr/>
            </a:pPr>
            <a:endParaRPr kumimoji="1" lang="ja-JP" altLang="en-US" sz="2533"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endParaRPr>
          </a:p>
        </p:txBody>
      </p:sp>
      <p:sp>
        <p:nvSpPr>
          <p:cNvPr id="3" name="コンテンツ プレースホルダー 2"/>
          <p:cNvSpPr>
            <a:spLocks noGrp="1"/>
          </p:cNvSpPr>
          <p:nvPr>
            <p:ph idx="1"/>
          </p:nvPr>
        </p:nvSpPr>
        <p:spPr>
          <a:xfrm>
            <a:off x="368551" y="903600"/>
            <a:ext cx="11583452" cy="5540400"/>
          </a:xfrm>
          <a:prstGeom prst="rect">
            <a:avLst/>
          </a:prstGeom>
        </p:spPr>
        <p:txBody>
          <a:bodyPr lIns="95767" tIns="47884" rIns="95767" bIns="47884"/>
          <a:lstStyle>
            <a:lvl1pPr>
              <a:defRPr sz="1800">
                <a:latin typeface="Meiryo UI" panose="020B0604030504040204" pitchFamily="50" charset="-128"/>
                <a:ea typeface="Meiryo UI" panose="020B0604030504040204" pitchFamily="50" charset="-128"/>
              </a:defRPr>
            </a:lvl1pPr>
            <a:lvl2pPr indent="-236233">
              <a:defRPr sz="1800">
                <a:latin typeface="Meiryo UI" panose="020B0604030504040204" pitchFamily="50" charset="-128"/>
                <a:ea typeface="Meiryo UI" panose="020B0604030504040204" pitchFamily="50" charset="-128"/>
              </a:defRPr>
            </a:lvl2pPr>
            <a:lvl3pPr indent="-236233">
              <a:defRPr sz="1800">
                <a:latin typeface="Meiryo UI" panose="020B0604030504040204" pitchFamily="50" charset="-128"/>
                <a:ea typeface="Meiryo UI" panose="020B0604030504040204" pitchFamily="50" charset="-128"/>
              </a:defRPr>
            </a:lvl3pPr>
            <a:lvl4pPr indent="-236233">
              <a:defRPr sz="1800">
                <a:latin typeface="Meiryo UI" panose="020B0604030504040204" pitchFamily="50" charset="-128"/>
                <a:ea typeface="Meiryo UI" panose="020B0604030504040204" pitchFamily="50" charset="-128"/>
              </a:defRPr>
            </a:lvl4pPr>
            <a:lvl5pPr indent="-236233">
              <a:defRPr sz="1800">
                <a:latin typeface="Meiryo UI" panose="020B0604030504040204" pitchFamily="50" charset="-128"/>
                <a:ea typeface="Meiryo UI" panose="020B0604030504040204" pitchFamily="50" charset="-128"/>
              </a:defRPr>
            </a:lvl5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6" name="スライド番号プレースホルダー 5"/>
          <p:cNvSpPr>
            <a:spLocks noGrp="1"/>
          </p:cNvSpPr>
          <p:nvPr>
            <p:ph type="sldNum" sz="quarter" idx="12"/>
          </p:nvPr>
        </p:nvSpPr>
        <p:spPr>
          <a:xfrm>
            <a:off x="11524630" y="6468878"/>
            <a:ext cx="555811" cy="289299"/>
          </a:xfrm>
          <a:prstGeom prst="rect">
            <a:avLst/>
          </a:prstGeom>
        </p:spPr>
        <p:txBody>
          <a:bodyPr lIns="95767" tIns="47884" rIns="95767" bIns="47884"/>
          <a:lstStyle>
            <a:lvl1pPr algn="r">
              <a:defRPr sz="1050">
                <a:latin typeface="Meiryo UI" panose="020B0604030504040204" pitchFamily="50" charset="-128"/>
                <a:ea typeface="Meiryo UI" panose="020B0604030504040204" pitchFamily="50" charset="-128"/>
              </a:defRPr>
            </a:lvl1pPr>
          </a:lstStyle>
          <a:p>
            <a:pPr marL="0" marR="0" lvl="0" indent="0" algn="r" defTabSz="478835" rtl="0" eaLnBrk="1" fontAlgn="auto" latinLnBrk="0" hangingPunct="1">
              <a:lnSpc>
                <a:spcPct val="100000"/>
              </a:lnSpc>
              <a:spcBef>
                <a:spcPts val="0"/>
              </a:spcBef>
              <a:spcAft>
                <a:spcPts val="0"/>
              </a:spcAft>
              <a:buClrTx/>
              <a:buSzTx/>
              <a:buFontTx/>
              <a:buNone/>
              <a:tabLst/>
              <a:defRPr/>
            </a:pPr>
            <a:fld id="{2FF5E1DE-7B95-8A44-8552-65323269AE41}" type="slidenum">
              <a:rPr kumimoji="1" lang="ja-JP" altLang="en-US" sz="1050" b="0" i="0" u="none" strike="noStrike" kern="1200" cap="none" spc="0" normalizeH="0" baseline="0" noProof="0" smtClean="0">
                <a:ln>
                  <a:noFill/>
                </a:ln>
                <a:solidFill>
                  <a:srgbClr val="000000"/>
                </a:solidFill>
                <a:effectLst/>
                <a:uLnTx/>
                <a:uFillTx/>
                <a:latin typeface="Meiryo UI" panose="020B0604030504040204" pitchFamily="50" charset="-128"/>
                <a:ea typeface="Meiryo UI" panose="020B0604030504040204" pitchFamily="50" charset="-128"/>
                <a:cs typeface="+mn-cs"/>
              </a:rPr>
              <a:pPr marL="0" marR="0" lvl="0" indent="0" algn="r" defTabSz="478835" rtl="0" eaLnBrk="1" fontAlgn="auto" latinLnBrk="0" hangingPunct="1">
                <a:lnSpc>
                  <a:spcPct val="100000"/>
                </a:lnSpc>
                <a:spcBef>
                  <a:spcPts val="0"/>
                </a:spcBef>
                <a:spcAft>
                  <a:spcPts val="0"/>
                </a:spcAft>
                <a:buClrTx/>
                <a:buSzTx/>
                <a:buFontTx/>
                <a:buNone/>
                <a:tabLst/>
                <a:defRPr/>
              </a:pPr>
              <a:t>‹#›</a:t>
            </a:fld>
            <a:endParaRPr kumimoji="1" lang="ja-JP" altLang="en-US" sz="105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endParaRPr>
          </a:p>
        </p:txBody>
      </p:sp>
      <p:cxnSp>
        <p:nvCxnSpPr>
          <p:cNvPr id="8" name="直線コネクタ 7"/>
          <p:cNvCxnSpPr/>
          <p:nvPr userDrawn="1"/>
        </p:nvCxnSpPr>
        <p:spPr>
          <a:xfrm>
            <a:off x="239959" y="817200"/>
            <a:ext cx="11709966" cy="0"/>
          </a:xfrm>
          <a:prstGeom prst="line">
            <a:avLst/>
          </a:prstGeom>
          <a:ln>
            <a:solidFill>
              <a:srgbClr val="92846E"/>
            </a:solidFill>
          </a:ln>
          <a:effectLst/>
        </p:spPr>
        <p:style>
          <a:lnRef idx="2">
            <a:schemeClr val="accent1"/>
          </a:lnRef>
          <a:fillRef idx="0">
            <a:schemeClr val="accent1"/>
          </a:fillRef>
          <a:effectRef idx="1">
            <a:schemeClr val="accent1"/>
          </a:effectRef>
          <a:fontRef idx="minor">
            <a:schemeClr val="tx1"/>
          </a:fontRef>
        </p:style>
      </p:cxnSp>
      <p:pic>
        <p:nvPicPr>
          <p:cNvPr id="10" name="Picture 2" descr="K:\新ロゴ（データ一式）\DLH_3_EN.png"/>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11038066" y="-34312"/>
            <a:ext cx="973128" cy="900434"/>
          </a:xfrm>
          <a:prstGeom prst="rect">
            <a:avLst/>
          </a:prstGeom>
          <a:noFill/>
          <a:extLst>
            <a:ext uri="{909E8E84-426E-40DD-AFC4-6F175D3DCCD1}">
              <a14:hiddenFill xmlns:a14="http://schemas.microsoft.com/office/drawing/2010/main">
                <a:solidFill>
                  <a:srgbClr val="FFFFFF"/>
                </a:solidFill>
              </a14:hiddenFill>
            </a:ext>
          </a:extLst>
        </p:spPr>
      </p:pic>
      <p:sp>
        <p:nvSpPr>
          <p:cNvPr id="11" name="タイトル 1"/>
          <p:cNvSpPr>
            <a:spLocks noGrp="1"/>
          </p:cNvSpPr>
          <p:nvPr>
            <p:ph type="title"/>
          </p:nvPr>
        </p:nvSpPr>
        <p:spPr>
          <a:xfrm>
            <a:off x="368549" y="241861"/>
            <a:ext cx="9791452" cy="540000"/>
          </a:xfrm>
          <a:prstGeom prst="rect">
            <a:avLst/>
          </a:prstGeom>
        </p:spPr>
        <p:txBody>
          <a:bodyPr lIns="95767" tIns="47884" rIns="95767" bIns="47884" anchor="b"/>
          <a:lstStyle>
            <a:lvl1pPr>
              <a:defRPr sz="2200">
                <a:latin typeface="Meiryo UI" panose="020B0604030504040204" pitchFamily="50" charset="-128"/>
                <a:ea typeface="Meiryo UI" panose="020B0604030504040204" pitchFamily="50" charset="-128"/>
              </a:defRPr>
            </a:lvl1pPr>
          </a:lstStyle>
          <a:p>
            <a:r>
              <a:rPr kumimoji="1" lang="ja-JP" altLang="en-US"/>
              <a:t>マスター タイトルの書式設定</a:t>
            </a:r>
          </a:p>
        </p:txBody>
      </p:sp>
    </p:spTree>
    <p:extLst>
      <p:ext uri="{BB962C8B-B14F-4D97-AF65-F5344CB8AC3E}">
        <p14:creationId xmlns:p14="http://schemas.microsoft.com/office/powerpoint/2010/main" val="2078472595"/>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type="title" preserve="1">
  <p:cSld name="4_タイトル スライド">
    <p:spTree>
      <p:nvGrpSpPr>
        <p:cNvPr id="1" name=""/>
        <p:cNvGrpSpPr/>
        <p:nvPr/>
      </p:nvGrpSpPr>
      <p:grpSpPr>
        <a:xfrm>
          <a:off x="0" y="0"/>
          <a:ext cx="0" cy="0"/>
          <a:chOff x="0" y="0"/>
          <a:chExt cx="0" cy="0"/>
        </a:xfrm>
      </p:grpSpPr>
      <p:sp>
        <p:nvSpPr>
          <p:cNvPr id="10" name="Freeform 5"/>
          <p:cNvSpPr>
            <a:spLocks/>
          </p:cNvSpPr>
          <p:nvPr userDrawn="1"/>
        </p:nvSpPr>
        <p:spPr bwMode="auto">
          <a:xfrm>
            <a:off x="233538" y="169337"/>
            <a:ext cx="11730712" cy="5207000"/>
          </a:xfrm>
          <a:custGeom>
            <a:avLst/>
            <a:gdLst>
              <a:gd name="T0" fmla="*/ 0 w 1618"/>
              <a:gd name="T1" fmla="*/ 0 h 957"/>
              <a:gd name="T2" fmla="*/ 0 w 1618"/>
              <a:gd name="T3" fmla="*/ 957 h 957"/>
              <a:gd name="T4" fmla="*/ 1279 w 1618"/>
              <a:gd name="T5" fmla="*/ 842 h 957"/>
              <a:gd name="T6" fmla="*/ 1618 w 1618"/>
              <a:gd name="T7" fmla="*/ 472 h 957"/>
              <a:gd name="T8" fmla="*/ 1618 w 1618"/>
              <a:gd name="T9" fmla="*/ 0 h 957"/>
              <a:gd name="T10" fmla="*/ 0 w 1618"/>
              <a:gd name="T11" fmla="*/ 0 h 957"/>
            </a:gdLst>
            <a:ahLst/>
            <a:cxnLst>
              <a:cxn ang="0">
                <a:pos x="T0" y="T1"/>
              </a:cxn>
              <a:cxn ang="0">
                <a:pos x="T2" y="T3"/>
              </a:cxn>
              <a:cxn ang="0">
                <a:pos x="T4" y="T5"/>
              </a:cxn>
              <a:cxn ang="0">
                <a:pos x="T6" y="T7"/>
              </a:cxn>
              <a:cxn ang="0">
                <a:pos x="T8" y="T9"/>
              </a:cxn>
              <a:cxn ang="0">
                <a:pos x="T10" y="T11"/>
              </a:cxn>
            </a:cxnLst>
            <a:rect l="0" t="0" r="r" b="b"/>
            <a:pathLst>
              <a:path w="1618" h="957">
                <a:moveTo>
                  <a:pt x="0" y="0"/>
                </a:moveTo>
                <a:cubicBezTo>
                  <a:pt x="0" y="957"/>
                  <a:pt x="0" y="957"/>
                  <a:pt x="0" y="957"/>
                </a:cubicBezTo>
                <a:cubicBezTo>
                  <a:pt x="1279" y="842"/>
                  <a:pt x="1279" y="842"/>
                  <a:pt x="1279" y="842"/>
                </a:cubicBezTo>
                <a:cubicBezTo>
                  <a:pt x="1465" y="825"/>
                  <a:pt x="1618" y="659"/>
                  <a:pt x="1618" y="472"/>
                </a:cubicBezTo>
                <a:cubicBezTo>
                  <a:pt x="1618" y="0"/>
                  <a:pt x="1618" y="0"/>
                  <a:pt x="1618" y="0"/>
                </a:cubicBezTo>
                <a:lnTo>
                  <a:pt x="0" y="0"/>
                </a:lnTo>
                <a:close/>
              </a:path>
            </a:pathLst>
          </a:custGeom>
          <a:solidFill>
            <a:schemeClr val="accent5"/>
          </a:solidFill>
          <a:ln>
            <a:noFill/>
          </a:ln>
        </p:spPr>
        <p:txBody>
          <a:bodyPr lIns="127667" tIns="63834" rIns="127667" bIns="63834"/>
          <a:lstStyle/>
          <a:p>
            <a:pPr marL="0" marR="0" lvl="0" indent="0" algn="l" defTabSz="478835" rtl="0" eaLnBrk="1" fontAlgn="auto" latinLnBrk="0" hangingPunct="1">
              <a:lnSpc>
                <a:spcPct val="100000"/>
              </a:lnSpc>
              <a:spcBef>
                <a:spcPts val="0"/>
              </a:spcBef>
              <a:spcAft>
                <a:spcPts val="0"/>
              </a:spcAft>
              <a:buClrTx/>
              <a:buSzTx/>
              <a:buFontTx/>
              <a:buNone/>
              <a:tabLst/>
              <a:defRPr/>
            </a:pPr>
            <a:endParaRPr kumimoji="1" lang="ja-JP" altLang="en-US" sz="2533"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endParaRPr>
          </a:p>
        </p:txBody>
      </p:sp>
      <p:sp>
        <p:nvSpPr>
          <p:cNvPr id="2" name="タイトル 1"/>
          <p:cNvSpPr>
            <a:spLocks noGrp="1"/>
          </p:cNvSpPr>
          <p:nvPr>
            <p:ph type="ctrTitle"/>
          </p:nvPr>
        </p:nvSpPr>
        <p:spPr>
          <a:xfrm>
            <a:off x="914400" y="1416804"/>
            <a:ext cx="10363200" cy="1470025"/>
          </a:xfrm>
          <a:prstGeom prst="rect">
            <a:avLst/>
          </a:prstGeom>
        </p:spPr>
        <p:txBody>
          <a:bodyPr lIns="95767" tIns="47884" rIns="95767" bIns="47884" anchor="b">
            <a:normAutofit/>
          </a:bodyPr>
          <a:lstStyle>
            <a:lvl1pPr algn="l">
              <a:defRPr sz="5199" kern="1200">
                <a:solidFill>
                  <a:schemeClr val="tx1"/>
                </a:solidFill>
                <a:latin typeface="Meiryo UI" panose="020B0604030504040204" pitchFamily="50" charset="-128"/>
                <a:ea typeface="Meiryo UI" panose="020B0604030504040204" pitchFamily="50" charset="-128"/>
              </a:defRPr>
            </a:lvl1pPr>
          </a:lstStyle>
          <a:p>
            <a:r>
              <a:rPr kumimoji="1" lang="ja-JP" altLang="en-US"/>
              <a:t>マスター タイトルの書式設定</a:t>
            </a:r>
          </a:p>
        </p:txBody>
      </p:sp>
      <p:sp>
        <p:nvSpPr>
          <p:cNvPr id="3" name="サブタイトル 2"/>
          <p:cNvSpPr>
            <a:spLocks noGrp="1"/>
          </p:cNvSpPr>
          <p:nvPr>
            <p:ph type="subTitle" idx="1"/>
          </p:nvPr>
        </p:nvSpPr>
        <p:spPr>
          <a:xfrm>
            <a:off x="916801" y="3420000"/>
            <a:ext cx="9691436" cy="977153"/>
          </a:xfrm>
          <a:prstGeom prst="rect">
            <a:avLst/>
          </a:prstGeom>
        </p:spPr>
        <p:txBody>
          <a:bodyPr lIns="95767" tIns="47884" rIns="95767" bIns="47884">
            <a:normAutofit/>
          </a:bodyPr>
          <a:lstStyle>
            <a:lvl1pPr marL="0" indent="0" algn="l">
              <a:buNone/>
              <a:defRPr sz="2800">
                <a:solidFill>
                  <a:schemeClr val="tx1"/>
                </a:solidFill>
                <a:latin typeface="Meiryo UI" panose="020B0604030504040204" pitchFamily="50" charset="-128"/>
                <a:ea typeface="Meiryo UI" panose="020B0604030504040204" pitchFamily="50" charset="-128"/>
              </a:defRPr>
            </a:lvl1pPr>
            <a:lvl2pPr marL="638335" indent="0" algn="ctr">
              <a:buNone/>
              <a:defRPr>
                <a:solidFill>
                  <a:schemeClr val="tx1">
                    <a:tint val="75000"/>
                  </a:schemeClr>
                </a:solidFill>
              </a:defRPr>
            </a:lvl2pPr>
            <a:lvl3pPr marL="1276669" indent="0" algn="ctr">
              <a:buNone/>
              <a:defRPr>
                <a:solidFill>
                  <a:schemeClr val="tx1">
                    <a:tint val="75000"/>
                  </a:schemeClr>
                </a:solidFill>
              </a:defRPr>
            </a:lvl3pPr>
            <a:lvl4pPr marL="1915003" indent="0" algn="ctr">
              <a:buNone/>
              <a:defRPr>
                <a:solidFill>
                  <a:schemeClr val="tx1">
                    <a:tint val="75000"/>
                  </a:schemeClr>
                </a:solidFill>
              </a:defRPr>
            </a:lvl4pPr>
            <a:lvl5pPr marL="2553338" indent="0" algn="ctr">
              <a:buNone/>
              <a:defRPr>
                <a:solidFill>
                  <a:schemeClr val="tx1">
                    <a:tint val="75000"/>
                  </a:schemeClr>
                </a:solidFill>
              </a:defRPr>
            </a:lvl5pPr>
            <a:lvl6pPr marL="3191671" indent="0" algn="ctr">
              <a:buNone/>
              <a:defRPr>
                <a:solidFill>
                  <a:schemeClr val="tx1">
                    <a:tint val="75000"/>
                  </a:schemeClr>
                </a:solidFill>
              </a:defRPr>
            </a:lvl6pPr>
            <a:lvl7pPr marL="3830007" indent="0" algn="ctr">
              <a:buNone/>
              <a:defRPr>
                <a:solidFill>
                  <a:schemeClr val="tx1">
                    <a:tint val="75000"/>
                  </a:schemeClr>
                </a:solidFill>
              </a:defRPr>
            </a:lvl7pPr>
            <a:lvl8pPr marL="4468342" indent="0" algn="ctr">
              <a:buNone/>
              <a:defRPr>
                <a:solidFill>
                  <a:schemeClr val="tx1">
                    <a:tint val="75000"/>
                  </a:schemeClr>
                </a:solidFill>
              </a:defRPr>
            </a:lvl8pPr>
            <a:lvl9pPr marL="5106676" indent="0" algn="ctr">
              <a:buNone/>
              <a:defRPr>
                <a:solidFill>
                  <a:schemeClr val="tx1">
                    <a:tint val="75000"/>
                  </a:schemeClr>
                </a:solidFill>
              </a:defRPr>
            </a:lvl9pPr>
          </a:lstStyle>
          <a:p>
            <a:r>
              <a:rPr kumimoji="1" lang="ja-JP" altLang="en-US"/>
              <a:t>マスター サブタイトルの書式設定</a:t>
            </a:r>
          </a:p>
        </p:txBody>
      </p:sp>
      <p:sp>
        <p:nvSpPr>
          <p:cNvPr id="8" name="フッター プレースホルダー 12"/>
          <p:cNvSpPr>
            <a:spLocks noGrp="1"/>
          </p:cNvSpPr>
          <p:nvPr>
            <p:ph type="ftr" sz="quarter" idx="11"/>
          </p:nvPr>
        </p:nvSpPr>
        <p:spPr>
          <a:xfrm>
            <a:off x="609600" y="6099529"/>
            <a:ext cx="6668998" cy="365125"/>
          </a:xfrm>
          <a:prstGeom prst="rect">
            <a:avLst/>
          </a:prstGeom>
        </p:spPr>
        <p:txBody>
          <a:bodyPr lIns="95767" tIns="47884" rIns="95767" bIns="47884"/>
          <a:lstStyle>
            <a:lvl1pPr algn="l">
              <a:defRPr sz="1800">
                <a:latin typeface="Meiryo UI" panose="020B0604030504040204" pitchFamily="50" charset="-128"/>
                <a:ea typeface="Meiryo UI" panose="020B0604030504040204" pitchFamily="50" charset="-128"/>
              </a:defRPr>
            </a:lvl1pPr>
          </a:lstStyle>
          <a:p>
            <a:pPr marL="0" marR="0" lvl="0" indent="0" algn="l" defTabSz="478835"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endParaRPr>
          </a:p>
        </p:txBody>
      </p:sp>
      <p:sp>
        <p:nvSpPr>
          <p:cNvPr id="9" name="日付プレースホルダー 11"/>
          <p:cNvSpPr>
            <a:spLocks noGrp="1"/>
          </p:cNvSpPr>
          <p:nvPr>
            <p:ph type="dt" sz="half" idx="10"/>
          </p:nvPr>
        </p:nvSpPr>
        <p:spPr>
          <a:xfrm>
            <a:off x="609600" y="5691768"/>
            <a:ext cx="3860800" cy="365125"/>
          </a:xfrm>
          <a:prstGeom prst="rect">
            <a:avLst/>
          </a:prstGeom>
        </p:spPr>
        <p:txBody>
          <a:bodyPr lIns="95767" tIns="47884" rIns="95767" bIns="47884"/>
          <a:lstStyle>
            <a:lvl1pPr algn="l">
              <a:defRPr sz="1800">
                <a:solidFill>
                  <a:srgbClr val="000000"/>
                </a:solidFill>
                <a:latin typeface="Meiryo UI" panose="020B0604030504040204" pitchFamily="50" charset="-128"/>
                <a:ea typeface="Meiryo UI" panose="020B0604030504040204" pitchFamily="50" charset="-128"/>
              </a:defRPr>
            </a:lvl1pPr>
          </a:lstStyle>
          <a:p>
            <a:pPr marL="0" marR="0" lvl="0" indent="0" algn="l" defTabSz="478835"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endParaRPr>
          </a:p>
        </p:txBody>
      </p:sp>
      <p:pic>
        <p:nvPicPr>
          <p:cNvPr id="11" name="Picture 2" descr="K:\新ロゴ（データ一式）\DLH_3_EN.png"/>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10521597" y="5335811"/>
            <a:ext cx="1644525" cy="152167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52093770"/>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17_タイトルとコンテンツ">
    <p:spTree>
      <p:nvGrpSpPr>
        <p:cNvPr id="1" name=""/>
        <p:cNvGrpSpPr/>
        <p:nvPr/>
      </p:nvGrpSpPr>
      <p:grpSpPr>
        <a:xfrm>
          <a:off x="0" y="0"/>
          <a:ext cx="0" cy="0"/>
          <a:chOff x="0" y="0"/>
          <a:chExt cx="0" cy="0"/>
        </a:xfrm>
      </p:grpSpPr>
      <p:sp>
        <p:nvSpPr>
          <p:cNvPr id="7" name="Freeform 8"/>
          <p:cNvSpPr>
            <a:spLocks/>
          </p:cNvSpPr>
          <p:nvPr userDrawn="1"/>
        </p:nvSpPr>
        <p:spPr bwMode="auto">
          <a:xfrm>
            <a:off x="-2100" y="5505984"/>
            <a:ext cx="12192504" cy="1353504"/>
          </a:xfrm>
          <a:custGeom>
            <a:avLst/>
            <a:gdLst>
              <a:gd name="T0" fmla="*/ 3622 w 3622"/>
              <a:gd name="T1" fmla="*/ 608 h 608"/>
              <a:gd name="T2" fmla="*/ 3622 w 3622"/>
              <a:gd name="T3" fmla="*/ 0 h 608"/>
              <a:gd name="T4" fmla="*/ 3622 w 3622"/>
              <a:gd name="T5" fmla="*/ 0 h 608"/>
              <a:gd name="T6" fmla="*/ 3622 w 3622"/>
              <a:gd name="T7" fmla="*/ 14 h 608"/>
              <a:gd name="T8" fmla="*/ 3616 w 3622"/>
              <a:gd name="T9" fmla="*/ 46 h 608"/>
              <a:gd name="T10" fmla="*/ 3612 w 3622"/>
              <a:gd name="T11" fmla="*/ 68 h 608"/>
              <a:gd name="T12" fmla="*/ 3604 w 3622"/>
              <a:gd name="T13" fmla="*/ 94 h 608"/>
              <a:gd name="T14" fmla="*/ 3596 w 3622"/>
              <a:gd name="T15" fmla="*/ 122 h 608"/>
              <a:gd name="T16" fmla="*/ 3584 w 3622"/>
              <a:gd name="T17" fmla="*/ 150 h 608"/>
              <a:gd name="T18" fmla="*/ 3568 w 3622"/>
              <a:gd name="T19" fmla="*/ 178 h 608"/>
              <a:gd name="T20" fmla="*/ 3550 w 3622"/>
              <a:gd name="T21" fmla="*/ 206 h 608"/>
              <a:gd name="T22" fmla="*/ 3526 w 3622"/>
              <a:gd name="T23" fmla="*/ 232 h 608"/>
              <a:gd name="T24" fmla="*/ 3514 w 3622"/>
              <a:gd name="T25" fmla="*/ 246 h 608"/>
              <a:gd name="T26" fmla="*/ 3498 w 3622"/>
              <a:gd name="T27" fmla="*/ 258 h 608"/>
              <a:gd name="T28" fmla="*/ 3484 w 3622"/>
              <a:gd name="T29" fmla="*/ 268 h 608"/>
              <a:gd name="T30" fmla="*/ 3466 w 3622"/>
              <a:gd name="T31" fmla="*/ 280 h 608"/>
              <a:gd name="T32" fmla="*/ 3448 w 3622"/>
              <a:gd name="T33" fmla="*/ 288 h 608"/>
              <a:gd name="T34" fmla="*/ 3430 w 3622"/>
              <a:gd name="T35" fmla="*/ 298 h 608"/>
              <a:gd name="T36" fmla="*/ 3410 w 3622"/>
              <a:gd name="T37" fmla="*/ 304 h 608"/>
              <a:gd name="T38" fmla="*/ 3386 w 3622"/>
              <a:gd name="T39" fmla="*/ 310 h 608"/>
              <a:gd name="T40" fmla="*/ 3364 w 3622"/>
              <a:gd name="T41" fmla="*/ 316 h 608"/>
              <a:gd name="T42" fmla="*/ 3338 w 3622"/>
              <a:gd name="T43" fmla="*/ 318 h 608"/>
              <a:gd name="T44" fmla="*/ 3338 w 3622"/>
              <a:gd name="T45" fmla="*/ 318 h 608"/>
              <a:gd name="T46" fmla="*/ 0 w 3622"/>
              <a:gd name="T47" fmla="*/ 608 h 608"/>
              <a:gd name="T48" fmla="*/ 3622 w 3622"/>
              <a:gd name="T49" fmla="*/ 608 h 608"/>
              <a:gd name="connsiteX0" fmla="*/ 10000 w 10000"/>
              <a:gd name="connsiteY0" fmla="*/ 10000 h 10000"/>
              <a:gd name="connsiteX1" fmla="*/ 10000 w 10000"/>
              <a:gd name="connsiteY1" fmla="*/ 0 h 10000"/>
              <a:gd name="connsiteX2" fmla="*/ 10000 w 10000"/>
              <a:gd name="connsiteY2" fmla="*/ 0 h 10000"/>
              <a:gd name="connsiteX3" fmla="*/ 10000 w 10000"/>
              <a:gd name="connsiteY3" fmla="*/ 230 h 10000"/>
              <a:gd name="connsiteX4" fmla="*/ 9983 w 10000"/>
              <a:gd name="connsiteY4" fmla="*/ 757 h 10000"/>
              <a:gd name="connsiteX5" fmla="*/ 9972 w 10000"/>
              <a:gd name="connsiteY5" fmla="*/ 1118 h 10000"/>
              <a:gd name="connsiteX6" fmla="*/ 9950 w 10000"/>
              <a:gd name="connsiteY6" fmla="*/ 1546 h 10000"/>
              <a:gd name="connsiteX7" fmla="*/ 9928 w 10000"/>
              <a:gd name="connsiteY7" fmla="*/ 2007 h 10000"/>
              <a:gd name="connsiteX8" fmla="*/ 9895 w 10000"/>
              <a:gd name="connsiteY8" fmla="*/ 2467 h 10000"/>
              <a:gd name="connsiteX9" fmla="*/ 9851 w 10000"/>
              <a:gd name="connsiteY9" fmla="*/ 2928 h 10000"/>
              <a:gd name="connsiteX10" fmla="*/ 9801 w 10000"/>
              <a:gd name="connsiteY10" fmla="*/ 3388 h 10000"/>
              <a:gd name="connsiteX11" fmla="*/ 9735 w 10000"/>
              <a:gd name="connsiteY11" fmla="*/ 3816 h 10000"/>
              <a:gd name="connsiteX12" fmla="*/ 9702 w 10000"/>
              <a:gd name="connsiteY12" fmla="*/ 4046 h 10000"/>
              <a:gd name="connsiteX13" fmla="*/ 9658 w 10000"/>
              <a:gd name="connsiteY13" fmla="*/ 4243 h 10000"/>
              <a:gd name="connsiteX14" fmla="*/ 9619 w 10000"/>
              <a:gd name="connsiteY14" fmla="*/ 4408 h 10000"/>
              <a:gd name="connsiteX15" fmla="*/ 9569 w 10000"/>
              <a:gd name="connsiteY15" fmla="*/ 4605 h 10000"/>
              <a:gd name="connsiteX16" fmla="*/ 9520 w 10000"/>
              <a:gd name="connsiteY16" fmla="*/ 4737 h 10000"/>
              <a:gd name="connsiteX17" fmla="*/ 9470 w 10000"/>
              <a:gd name="connsiteY17" fmla="*/ 4901 h 10000"/>
              <a:gd name="connsiteX18" fmla="*/ 9415 w 10000"/>
              <a:gd name="connsiteY18" fmla="*/ 5000 h 10000"/>
              <a:gd name="connsiteX19" fmla="*/ 9348 w 10000"/>
              <a:gd name="connsiteY19" fmla="*/ 5099 h 10000"/>
              <a:gd name="connsiteX20" fmla="*/ 9288 w 10000"/>
              <a:gd name="connsiteY20" fmla="*/ 5197 h 10000"/>
              <a:gd name="connsiteX21" fmla="*/ 9216 w 10000"/>
              <a:gd name="connsiteY21" fmla="*/ 5230 h 10000"/>
              <a:gd name="connsiteX22" fmla="*/ 9216 w 10000"/>
              <a:gd name="connsiteY22" fmla="*/ 5230 h 10000"/>
              <a:gd name="connsiteX23" fmla="*/ 1190 w 10000"/>
              <a:gd name="connsiteY23" fmla="*/ 9414 h 10000"/>
              <a:gd name="connsiteX24" fmla="*/ 0 w 10000"/>
              <a:gd name="connsiteY24" fmla="*/ 10000 h 10000"/>
              <a:gd name="connsiteX25" fmla="*/ 10000 w 10000"/>
              <a:gd name="connsiteY25" fmla="*/ 10000 h 10000"/>
              <a:gd name="connsiteX0" fmla="*/ 10000 w 10000"/>
              <a:gd name="connsiteY0" fmla="*/ 10000 h 10011"/>
              <a:gd name="connsiteX1" fmla="*/ 10000 w 10000"/>
              <a:gd name="connsiteY1" fmla="*/ 0 h 10011"/>
              <a:gd name="connsiteX2" fmla="*/ 10000 w 10000"/>
              <a:gd name="connsiteY2" fmla="*/ 0 h 10011"/>
              <a:gd name="connsiteX3" fmla="*/ 10000 w 10000"/>
              <a:gd name="connsiteY3" fmla="*/ 230 h 10011"/>
              <a:gd name="connsiteX4" fmla="*/ 9983 w 10000"/>
              <a:gd name="connsiteY4" fmla="*/ 757 h 10011"/>
              <a:gd name="connsiteX5" fmla="*/ 9972 w 10000"/>
              <a:gd name="connsiteY5" fmla="*/ 1118 h 10011"/>
              <a:gd name="connsiteX6" fmla="*/ 9950 w 10000"/>
              <a:gd name="connsiteY6" fmla="*/ 1546 h 10011"/>
              <a:gd name="connsiteX7" fmla="*/ 9928 w 10000"/>
              <a:gd name="connsiteY7" fmla="*/ 2007 h 10011"/>
              <a:gd name="connsiteX8" fmla="*/ 9895 w 10000"/>
              <a:gd name="connsiteY8" fmla="*/ 2467 h 10011"/>
              <a:gd name="connsiteX9" fmla="*/ 9851 w 10000"/>
              <a:gd name="connsiteY9" fmla="*/ 2928 h 10011"/>
              <a:gd name="connsiteX10" fmla="*/ 9801 w 10000"/>
              <a:gd name="connsiteY10" fmla="*/ 3388 h 10011"/>
              <a:gd name="connsiteX11" fmla="*/ 9735 w 10000"/>
              <a:gd name="connsiteY11" fmla="*/ 3816 h 10011"/>
              <a:gd name="connsiteX12" fmla="*/ 9702 w 10000"/>
              <a:gd name="connsiteY12" fmla="*/ 4046 h 10011"/>
              <a:gd name="connsiteX13" fmla="*/ 9658 w 10000"/>
              <a:gd name="connsiteY13" fmla="*/ 4243 h 10011"/>
              <a:gd name="connsiteX14" fmla="*/ 9619 w 10000"/>
              <a:gd name="connsiteY14" fmla="*/ 4408 h 10011"/>
              <a:gd name="connsiteX15" fmla="*/ 9569 w 10000"/>
              <a:gd name="connsiteY15" fmla="*/ 4605 h 10011"/>
              <a:gd name="connsiteX16" fmla="*/ 9520 w 10000"/>
              <a:gd name="connsiteY16" fmla="*/ 4737 h 10011"/>
              <a:gd name="connsiteX17" fmla="*/ 9470 w 10000"/>
              <a:gd name="connsiteY17" fmla="*/ 4901 h 10011"/>
              <a:gd name="connsiteX18" fmla="*/ 9415 w 10000"/>
              <a:gd name="connsiteY18" fmla="*/ 5000 h 10011"/>
              <a:gd name="connsiteX19" fmla="*/ 9348 w 10000"/>
              <a:gd name="connsiteY19" fmla="*/ 5099 h 10011"/>
              <a:gd name="connsiteX20" fmla="*/ 9288 w 10000"/>
              <a:gd name="connsiteY20" fmla="*/ 5197 h 10011"/>
              <a:gd name="connsiteX21" fmla="*/ 9216 w 10000"/>
              <a:gd name="connsiteY21" fmla="*/ 5230 h 10011"/>
              <a:gd name="connsiteX22" fmla="*/ 9216 w 10000"/>
              <a:gd name="connsiteY22" fmla="*/ 5230 h 10011"/>
              <a:gd name="connsiteX23" fmla="*/ 1190 w 10000"/>
              <a:gd name="connsiteY23" fmla="*/ 9414 h 10011"/>
              <a:gd name="connsiteX24" fmla="*/ 0 w 10000"/>
              <a:gd name="connsiteY24" fmla="*/ 10000 h 10011"/>
              <a:gd name="connsiteX25" fmla="*/ 1185 w 10000"/>
              <a:gd name="connsiteY25" fmla="*/ 10011 h 10011"/>
              <a:gd name="connsiteX26" fmla="*/ 10000 w 10000"/>
              <a:gd name="connsiteY26" fmla="*/ 10000 h 10011"/>
              <a:gd name="connsiteX0" fmla="*/ 8815 w 8815"/>
              <a:gd name="connsiteY0" fmla="*/ 10000 h 10011"/>
              <a:gd name="connsiteX1" fmla="*/ 8815 w 8815"/>
              <a:gd name="connsiteY1" fmla="*/ 0 h 10011"/>
              <a:gd name="connsiteX2" fmla="*/ 8815 w 8815"/>
              <a:gd name="connsiteY2" fmla="*/ 0 h 10011"/>
              <a:gd name="connsiteX3" fmla="*/ 8815 w 8815"/>
              <a:gd name="connsiteY3" fmla="*/ 230 h 10011"/>
              <a:gd name="connsiteX4" fmla="*/ 8798 w 8815"/>
              <a:gd name="connsiteY4" fmla="*/ 757 h 10011"/>
              <a:gd name="connsiteX5" fmla="*/ 8787 w 8815"/>
              <a:gd name="connsiteY5" fmla="*/ 1118 h 10011"/>
              <a:gd name="connsiteX6" fmla="*/ 8765 w 8815"/>
              <a:gd name="connsiteY6" fmla="*/ 1546 h 10011"/>
              <a:gd name="connsiteX7" fmla="*/ 8743 w 8815"/>
              <a:gd name="connsiteY7" fmla="*/ 2007 h 10011"/>
              <a:gd name="connsiteX8" fmla="*/ 8710 w 8815"/>
              <a:gd name="connsiteY8" fmla="*/ 2467 h 10011"/>
              <a:gd name="connsiteX9" fmla="*/ 8666 w 8815"/>
              <a:gd name="connsiteY9" fmla="*/ 2928 h 10011"/>
              <a:gd name="connsiteX10" fmla="*/ 8616 w 8815"/>
              <a:gd name="connsiteY10" fmla="*/ 3388 h 10011"/>
              <a:gd name="connsiteX11" fmla="*/ 8550 w 8815"/>
              <a:gd name="connsiteY11" fmla="*/ 3816 h 10011"/>
              <a:gd name="connsiteX12" fmla="*/ 8517 w 8815"/>
              <a:gd name="connsiteY12" fmla="*/ 4046 h 10011"/>
              <a:gd name="connsiteX13" fmla="*/ 8473 w 8815"/>
              <a:gd name="connsiteY13" fmla="*/ 4243 h 10011"/>
              <a:gd name="connsiteX14" fmla="*/ 8434 w 8815"/>
              <a:gd name="connsiteY14" fmla="*/ 4408 h 10011"/>
              <a:gd name="connsiteX15" fmla="*/ 8384 w 8815"/>
              <a:gd name="connsiteY15" fmla="*/ 4605 h 10011"/>
              <a:gd name="connsiteX16" fmla="*/ 8335 w 8815"/>
              <a:gd name="connsiteY16" fmla="*/ 4737 h 10011"/>
              <a:gd name="connsiteX17" fmla="*/ 8285 w 8815"/>
              <a:gd name="connsiteY17" fmla="*/ 4901 h 10011"/>
              <a:gd name="connsiteX18" fmla="*/ 8230 w 8815"/>
              <a:gd name="connsiteY18" fmla="*/ 5000 h 10011"/>
              <a:gd name="connsiteX19" fmla="*/ 8163 w 8815"/>
              <a:gd name="connsiteY19" fmla="*/ 5099 h 10011"/>
              <a:gd name="connsiteX20" fmla="*/ 8103 w 8815"/>
              <a:gd name="connsiteY20" fmla="*/ 5197 h 10011"/>
              <a:gd name="connsiteX21" fmla="*/ 8031 w 8815"/>
              <a:gd name="connsiteY21" fmla="*/ 5230 h 10011"/>
              <a:gd name="connsiteX22" fmla="*/ 8031 w 8815"/>
              <a:gd name="connsiteY22" fmla="*/ 5230 h 10011"/>
              <a:gd name="connsiteX23" fmla="*/ 5 w 8815"/>
              <a:gd name="connsiteY23" fmla="*/ 9414 h 10011"/>
              <a:gd name="connsiteX24" fmla="*/ 0 w 8815"/>
              <a:gd name="connsiteY24" fmla="*/ 10011 h 10011"/>
              <a:gd name="connsiteX25" fmla="*/ 8815 w 8815"/>
              <a:gd name="connsiteY25" fmla="*/ 10000 h 10011"/>
              <a:gd name="connsiteX0" fmla="*/ 9996 w 9996"/>
              <a:gd name="connsiteY0" fmla="*/ 9989 h 10000"/>
              <a:gd name="connsiteX1" fmla="*/ 9996 w 9996"/>
              <a:gd name="connsiteY1" fmla="*/ 0 h 10000"/>
              <a:gd name="connsiteX2" fmla="*/ 9996 w 9996"/>
              <a:gd name="connsiteY2" fmla="*/ 0 h 10000"/>
              <a:gd name="connsiteX3" fmla="*/ 9996 w 9996"/>
              <a:gd name="connsiteY3" fmla="*/ 230 h 10000"/>
              <a:gd name="connsiteX4" fmla="*/ 9977 w 9996"/>
              <a:gd name="connsiteY4" fmla="*/ 756 h 10000"/>
              <a:gd name="connsiteX5" fmla="*/ 9964 w 9996"/>
              <a:gd name="connsiteY5" fmla="*/ 1117 h 10000"/>
              <a:gd name="connsiteX6" fmla="*/ 9939 w 9996"/>
              <a:gd name="connsiteY6" fmla="*/ 1544 h 10000"/>
              <a:gd name="connsiteX7" fmla="*/ 9914 w 9996"/>
              <a:gd name="connsiteY7" fmla="*/ 2005 h 10000"/>
              <a:gd name="connsiteX8" fmla="*/ 9877 w 9996"/>
              <a:gd name="connsiteY8" fmla="*/ 2464 h 10000"/>
              <a:gd name="connsiteX9" fmla="*/ 9827 w 9996"/>
              <a:gd name="connsiteY9" fmla="*/ 2925 h 10000"/>
              <a:gd name="connsiteX10" fmla="*/ 9770 w 9996"/>
              <a:gd name="connsiteY10" fmla="*/ 3384 h 10000"/>
              <a:gd name="connsiteX11" fmla="*/ 9695 w 9996"/>
              <a:gd name="connsiteY11" fmla="*/ 3812 h 10000"/>
              <a:gd name="connsiteX12" fmla="*/ 9658 w 9996"/>
              <a:gd name="connsiteY12" fmla="*/ 4042 h 10000"/>
              <a:gd name="connsiteX13" fmla="*/ 9608 w 9996"/>
              <a:gd name="connsiteY13" fmla="*/ 4238 h 10000"/>
              <a:gd name="connsiteX14" fmla="*/ 9564 w 9996"/>
              <a:gd name="connsiteY14" fmla="*/ 4403 h 10000"/>
              <a:gd name="connsiteX15" fmla="*/ 9507 w 9996"/>
              <a:gd name="connsiteY15" fmla="*/ 4600 h 10000"/>
              <a:gd name="connsiteX16" fmla="*/ 9451 w 9996"/>
              <a:gd name="connsiteY16" fmla="*/ 4732 h 10000"/>
              <a:gd name="connsiteX17" fmla="*/ 9395 w 9996"/>
              <a:gd name="connsiteY17" fmla="*/ 4896 h 10000"/>
              <a:gd name="connsiteX18" fmla="*/ 9332 w 9996"/>
              <a:gd name="connsiteY18" fmla="*/ 4995 h 10000"/>
              <a:gd name="connsiteX19" fmla="*/ 9256 w 9996"/>
              <a:gd name="connsiteY19" fmla="*/ 5093 h 10000"/>
              <a:gd name="connsiteX20" fmla="*/ 9188 w 9996"/>
              <a:gd name="connsiteY20" fmla="*/ 5191 h 10000"/>
              <a:gd name="connsiteX21" fmla="*/ 9107 w 9996"/>
              <a:gd name="connsiteY21" fmla="*/ 5224 h 10000"/>
              <a:gd name="connsiteX22" fmla="*/ 9107 w 9996"/>
              <a:gd name="connsiteY22" fmla="*/ 5224 h 10000"/>
              <a:gd name="connsiteX23" fmla="*/ 2 w 9996"/>
              <a:gd name="connsiteY23" fmla="*/ 9404 h 10000"/>
              <a:gd name="connsiteX24" fmla="*/ 0 w 9996"/>
              <a:gd name="connsiteY24" fmla="*/ 10000 h 10000"/>
              <a:gd name="connsiteX25" fmla="*/ 9996 w 9996"/>
              <a:gd name="connsiteY25" fmla="*/ 9989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9996" h="10000">
                <a:moveTo>
                  <a:pt x="9996" y="9989"/>
                </a:moveTo>
                <a:lnTo>
                  <a:pt x="9996" y="0"/>
                </a:lnTo>
                <a:lnTo>
                  <a:pt x="9996" y="0"/>
                </a:lnTo>
                <a:lnTo>
                  <a:pt x="9996" y="230"/>
                </a:lnTo>
                <a:cubicBezTo>
                  <a:pt x="9989" y="406"/>
                  <a:pt x="9984" y="580"/>
                  <a:pt x="9977" y="756"/>
                </a:cubicBezTo>
                <a:cubicBezTo>
                  <a:pt x="9972" y="876"/>
                  <a:pt x="9969" y="997"/>
                  <a:pt x="9964" y="1117"/>
                </a:cubicBezTo>
                <a:cubicBezTo>
                  <a:pt x="9956" y="1260"/>
                  <a:pt x="9947" y="1401"/>
                  <a:pt x="9939" y="1544"/>
                </a:cubicBezTo>
                <a:cubicBezTo>
                  <a:pt x="9931" y="1698"/>
                  <a:pt x="9922" y="1851"/>
                  <a:pt x="9914" y="2005"/>
                </a:cubicBezTo>
                <a:cubicBezTo>
                  <a:pt x="9902" y="2158"/>
                  <a:pt x="9889" y="2311"/>
                  <a:pt x="9877" y="2464"/>
                </a:cubicBezTo>
                <a:cubicBezTo>
                  <a:pt x="9860" y="2618"/>
                  <a:pt x="9844" y="2771"/>
                  <a:pt x="9827" y="2925"/>
                </a:cubicBezTo>
                <a:cubicBezTo>
                  <a:pt x="9808" y="3078"/>
                  <a:pt x="9790" y="3231"/>
                  <a:pt x="9770" y="3384"/>
                </a:cubicBezTo>
                <a:cubicBezTo>
                  <a:pt x="9745" y="3527"/>
                  <a:pt x="9720" y="3669"/>
                  <a:pt x="9695" y="3812"/>
                </a:cubicBezTo>
                <a:cubicBezTo>
                  <a:pt x="9683" y="3889"/>
                  <a:pt x="9670" y="3965"/>
                  <a:pt x="9658" y="4042"/>
                </a:cubicBezTo>
                <a:cubicBezTo>
                  <a:pt x="9641" y="4107"/>
                  <a:pt x="9625" y="4172"/>
                  <a:pt x="9608" y="4238"/>
                </a:cubicBezTo>
                <a:cubicBezTo>
                  <a:pt x="9593" y="4293"/>
                  <a:pt x="9579" y="4348"/>
                  <a:pt x="9564" y="4403"/>
                </a:cubicBezTo>
                <a:cubicBezTo>
                  <a:pt x="9544" y="4469"/>
                  <a:pt x="9526" y="4534"/>
                  <a:pt x="9507" y="4600"/>
                </a:cubicBezTo>
                <a:cubicBezTo>
                  <a:pt x="9489" y="4644"/>
                  <a:pt x="9470" y="4688"/>
                  <a:pt x="9451" y="4732"/>
                </a:cubicBezTo>
                <a:cubicBezTo>
                  <a:pt x="9432" y="4787"/>
                  <a:pt x="9414" y="4841"/>
                  <a:pt x="9395" y="4896"/>
                </a:cubicBezTo>
                <a:lnTo>
                  <a:pt x="9332" y="4995"/>
                </a:lnTo>
                <a:cubicBezTo>
                  <a:pt x="9307" y="5027"/>
                  <a:pt x="9281" y="5060"/>
                  <a:pt x="9256" y="5093"/>
                </a:cubicBezTo>
                <a:cubicBezTo>
                  <a:pt x="9234" y="5126"/>
                  <a:pt x="9211" y="5158"/>
                  <a:pt x="9188" y="5191"/>
                </a:cubicBezTo>
                <a:lnTo>
                  <a:pt x="9107" y="5224"/>
                </a:lnTo>
                <a:lnTo>
                  <a:pt x="9107" y="5224"/>
                </a:lnTo>
                <a:lnTo>
                  <a:pt x="2" y="9404"/>
                </a:lnTo>
                <a:cubicBezTo>
                  <a:pt x="-1" y="9602"/>
                  <a:pt x="2" y="9801"/>
                  <a:pt x="0" y="10000"/>
                </a:cubicBezTo>
                <a:lnTo>
                  <a:pt x="9996" y="9989"/>
                </a:lnTo>
                <a:close/>
              </a:path>
            </a:pathLst>
          </a:custGeom>
          <a:solidFill>
            <a:schemeClr val="accent6"/>
          </a:solidFill>
          <a:ln>
            <a:noFill/>
          </a:ln>
        </p:spPr>
        <p:txBody>
          <a:bodyPr vert="horz" wrap="square" lIns="133428" tIns="66715" rIns="133428" bIns="66715" numCol="1" anchor="t" anchorCtr="0" compatLnSpc="1">
            <a:prstTxWarp prst="textNoShape">
              <a:avLst/>
            </a:prstTxWarp>
          </a:bodyPr>
          <a:lstStyle/>
          <a:p>
            <a:pPr marL="0" marR="0" lvl="0" indent="0" algn="l" defTabSz="478835" rtl="0" eaLnBrk="1" fontAlgn="auto" latinLnBrk="0" hangingPunct="1">
              <a:lnSpc>
                <a:spcPct val="100000"/>
              </a:lnSpc>
              <a:spcBef>
                <a:spcPts val="0"/>
              </a:spcBef>
              <a:spcAft>
                <a:spcPts val="0"/>
              </a:spcAft>
              <a:buClrTx/>
              <a:buSzTx/>
              <a:buFontTx/>
              <a:buNone/>
              <a:tabLst/>
              <a:defRPr/>
            </a:pPr>
            <a:endParaRPr kumimoji="1" lang="ja-JP" altLang="en-US" sz="2533"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endParaRPr>
          </a:p>
        </p:txBody>
      </p:sp>
      <p:sp>
        <p:nvSpPr>
          <p:cNvPr id="2" name="タイトル 1"/>
          <p:cNvSpPr>
            <a:spLocks noGrp="1"/>
          </p:cNvSpPr>
          <p:nvPr>
            <p:ph type="title"/>
          </p:nvPr>
        </p:nvSpPr>
        <p:spPr>
          <a:xfrm>
            <a:off x="368550" y="1959102"/>
            <a:ext cx="11451591" cy="540000"/>
          </a:xfrm>
          <a:prstGeom prst="rect">
            <a:avLst/>
          </a:prstGeom>
        </p:spPr>
        <p:txBody>
          <a:bodyPr lIns="95767" tIns="47884" rIns="95767" bIns="47884"/>
          <a:lstStyle>
            <a:lvl1pPr>
              <a:defRPr sz="3200">
                <a:latin typeface="Meiryo UI" panose="020B0604030504040204" pitchFamily="50" charset="-128"/>
                <a:ea typeface="Meiryo UI" panose="020B0604030504040204" pitchFamily="50" charset="-128"/>
              </a:defRPr>
            </a:lvl1pPr>
          </a:lstStyle>
          <a:p>
            <a:r>
              <a:rPr kumimoji="1" lang="ja-JP" altLang="en-US"/>
              <a:t>マスター タイトルの書式設定</a:t>
            </a:r>
          </a:p>
        </p:txBody>
      </p:sp>
      <p:sp>
        <p:nvSpPr>
          <p:cNvPr id="6" name="スライド番号プレースホルダー 5"/>
          <p:cNvSpPr>
            <a:spLocks noGrp="1"/>
          </p:cNvSpPr>
          <p:nvPr>
            <p:ph type="sldNum" sz="quarter" idx="12"/>
          </p:nvPr>
        </p:nvSpPr>
        <p:spPr>
          <a:xfrm>
            <a:off x="11524630" y="6468878"/>
            <a:ext cx="555811" cy="289299"/>
          </a:xfrm>
          <a:prstGeom prst="rect">
            <a:avLst/>
          </a:prstGeom>
        </p:spPr>
        <p:txBody>
          <a:bodyPr lIns="95767" tIns="47884" rIns="95767" bIns="47884"/>
          <a:lstStyle>
            <a:lvl1pPr algn="r">
              <a:defRPr sz="1050">
                <a:latin typeface="Meiryo UI" panose="020B0604030504040204" pitchFamily="50" charset="-128"/>
                <a:ea typeface="Meiryo UI" panose="020B0604030504040204" pitchFamily="50" charset="-128"/>
              </a:defRPr>
            </a:lvl1pPr>
          </a:lstStyle>
          <a:p>
            <a:pPr marL="0" marR="0" lvl="0" indent="0" algn="r" defTabSz="478835" rtl="0" eaLnBrk="1" fontAlgn="auto" latinLnBrk="0" hangingPunct="1">
              <a:lnSpc>
                <a:spcPct val="100000"/>
              </a:lnSpc>
              <a:spcBef>
                <a:spcPts val="0"/>
              </a:spcBef>
              <a:spcAft>
                <a:spcPts val="0"/>
              </a:spcAft>
              <a:buClrTx/>
              <a:buSzTx/>
              <a:buFontTx/>
              <a:buNone/>
              <a:tabLst/>
              <a:defRPr/>
            </a:pPr>
            <a:fld id="{2FF5E1DE-7B95-8A44-8552-65323269AE41}" type="slidenum">
              <a:rPr kumimoji="1" lang="ja-JP" altLang="en-US" sz="1050" b="0" i="0" u="none" strike="noStrike" kern="1200" cap="none" spc="0" normalizeH="0" baseline="0" noProof="0" smtClean="0">
                <a:ln>
                  <a:noFill/>
                </a:ln>
                <a:solidFill>
                  <a:srgbClr val="000000"/>
                </a:solidFill>
                <a:effectLst/>
                <a:uLnTx/>
                <a:uFillTx/>
                <a:latin typeface="Meiryo UI" panose="020B0604030504040204" pitchFamily="50" charset="-128"/>
                <a:ea typeface="Meiryo UI" panose="020B0604030504040204" pitchFamily="50" charset="-128"/>
                <a:cs typeface="+mn-cs"/>
              </a:rPr>
              <a:pPr marL="0" marR="0" lvl="0" indent="0" algn="r" defTabSz="478835" rtl="0" eaLnBrk="1" fontAlgn="auto" latinLnBrk="0" hangingPunct="1">
                <a:lnSpc>
                  <a:spcPct val="100000"/>
                </a:lnSpc>
                <a:spcBef>
                  <a:spcPts val="0"/>
                </a:spcBef>
                <a:spcAft>
                  <a:spcPts val="0"/>
                </a:spcAft>
                <a:buClrTx/>
                <a:buSzTx/>
                <a:buFontTx/>
                <a:buNone/>
                <a:tabLst/>
                <a:defRPr/>
              </a:pPr>
              <a:t>‹#›</a:t>
            </a:fld>
            <a:endParaRPr kumimoji="1" lang="ja-JP" altLang="en-US" sz="105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endParaRPr>
          </a:p>
        </p:txBody>
      </p:sp>
      <p:pic>
        <p:nvPicPr>
          <p:cNvPr id="8" name="Picture 2" descr="K:\新ロゴ（データ一式）\DLH_3_EN.png"/>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11038066" y="-34312"/>
            <a:ext cx="973128" cy="90043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92993979"/>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18_タイトルとコンテンツ">
    <p:spTree>
      <p:nvGrpSpPr>
        <p:cNvPr id="1" name=""/>
        <p:cNvGrpSpPr/>
        <p:nvPr/>
      </p:nvGrpSpPr>
      <p:grpSpPr>
        <a:xfrm>
          <a:off x="0" y="0"/>
          <a:ext cx="0" cy="0"/>
          <a:chOff x="0" y="0"/>
          <a:chExt cx="0" cy="0"/>
        </a:xfrm>
      </p:grpSpPr>
      <p:sp>
        <p:nvSpPr>
          <p:cNvPr id="9" name="Freeform 8"/>
          <p:cNvSpPr>
            <a:spLocks/>
          </p:cNvSpPr>
          <p:nvPr userDrawn="1"/>
        </p:nvSpPr>
        <p:spPr bwMode="auto">
          <a:xfrm>
            <a:off x="-2100" y="5505984"/>
            <a:ext cx="12192504" cy="1353504"/>
          </a:xfrm>
          <a:custGeom>
            <a:avLst/>
            <a:gdLst>
              <a:gd name="T0" fmla="*/ 3622 w 3622"/>
              <a:gd name="T1" fmla="*/ 608 h 608"/>
              <a:gd name="T2" fmla="*/ 3622 w 3622"/>
              <a:gd name="T3" fmla="*/ 0 h 608"/>
              <a:gd name="T4" fmla="*/ 3622 w 3622"/>
              <a:gd name="T5" fmla="*/ 0 h 608"/>
              <a:gd name="T6" fmla="*/ 3622 w 3622"/>
              <a:gd name="T7" fmla="*/ 14 h 608"/>
              <a:gd name="T8" fmla="*/ 3616 w 3622"/>
              <a:gd name="T9" fmla="*/ 46 h 608"/>
              <a:gd name="T10" fmla="*/ 3612 w 3622"/>
              <a:gd name="T11" fmla="*/ 68 h 608"/>
              <a:gd name="T12" fmla="*/ 3604 w 3622"/>
              <a:gd name="T13" fmla="*/ 94 h 608"/>
              <a:gd name="T14" fmla="*/ 3596 w 3622"/>
              <a:gd name="T15" fmla="*/ 122 h 608"/>
              <a:gd name="T16" fmla="*/ 3584 w 3622"/>
              <a:gd name="T17" fmla="*/ 150 h 608"/>
              <a:gd name="T18" fmla="*/ 3568 w 3622"/>
              <a:gd name="T19" fmla="*/ 178 h 608"/>
              <a:gd name="T20" fmla="*/ 3550 w 3622"/>
              <a:gd name="T21" fmla="*/ 206 h 608"/>
              <a:gd name="T22" fmla="*/ 3526 w 3622"/>
              <a:gd name="T23" fmla="*/ 232 h 608"/>
              <a:gd name="T24" fmla="*/ 3514 w 3622"/>
              <a:gd name="T25" fmla="*/ 246 h 608"/>
              <a:gd name="T26" fmla="*/ 3498 w 3622"/>
              <a:gd name="T27" fmla="*/ 258 h 608"/>
              <a:gd name="T28" fmla="*/ 3484 w 3622"/>
              <a:gd name="T29" fmla="*/ 268 h 608"/>
              <a:gd name="T30" fmla="*/ 3466 w 3622"/>
              <a:gd name="T31" fmla="*/ 280 h 608"/>
              <a:gd name="T32" fmla="*/ 3448 w 3622"/>
              <a:gd name="T33" fmla="*/ 288 h 608"/>
              <a:gd name="T34" fmla="*/ 3430 w 3622"/>
              <a:gd name="T35" fmla="*/ 298 h 608"/>
              <a:gd name="T36" fmla="*/ 3410 w 3622"/>
              <a:gd name="T37" fmla="*/ 304 h 608"/>
              <a:gd name="T38" fmla="*/ 3386 w 3622"/>
              <a:gd name="T39" fmla="*/ 310 h 608"/>
              <a:gd name="T40" fmla="*/ 3364 w 3622"/>
              <a:gd name="T41" fmla="*/ 316 h 608"/>
              <a:gd name="T42" fmla="*/ 3338 w 3622"/>
              <a:gd name="T43" fmla="*/ 318 h 608"/>
              <a:gd name="T44" fmla="*/ 3338 w 3622"/>
              <a:gd name="T45" fmla="*/ 318 h 608"/>
              <a:gd name="T46" fmla="*/ 0 w 3622"/>
              <a:gd name="T47" fmla="*/ 608 h 608"/>
              <a:gd name="T48" fmla="*/ 3622 w 3622"/>
              <a:gd name="T49" fmla="*/ 608 h 608"/>
              <a:gd name="connsiteX0" fmla="*/ 10000 w 10000"/>
              <a:gd name="connsiteY0" fmla="*/ 10000 h 10000"/>
              <a:gd name="connsiteX1" fmla="*/ 10000 w 10000"/>
              <a:gd name="connsiteY1" fmla="*/ 0 h 10000"/>
              <a:gd name="connsiteX2" fmla="*/ 10000 w 10000"/>
              <a:gd name="connsiteY2" fmla="*/ 0 h 10000"/>
              <a:gd name="connsiteX3" fmla="*/ 10000 w 10000"/>
              <a:gd name="connsiteY3" fmla="*/ 230 h 10000"/>
              <a:gd name="connsiteX4" fmla="*/ 9983 w 10000"/>
              <a:gd name="connsiteY4" fmla="*/ 757 h 10000"/>
              <a:gd name="connsiteX5" fmla="*/ 9972 w 10000"/>
              <a:gd name="connsiteY5" fmla="*/ 1118 h 10000"/>
              <a:gd name="connsiteX6" fmla="*/ 9950 w 10000"/>
              <a:gd name="connsiteY6" fmla="*/ 1546 h 10000"/>
              <a:gd name="connsiteX7" fmla="*/ 9928 w 10000"/>
              <a:gd name="connsiteY7" fmla="*/ 2007 h 10000"/>
              <a:gd name="connsiteX8" fmla="*/ 9895 w 10000"/>
              <a:gd name="connsiteY8" fmla="*/ 2467 h 10000"/>
              <a:gd name="connsiteX9" fmla="*/ 9851 w 10000"/>
              <a:gd name="connsiteY9" fmla="*/ 2928 h 10000"/>
              <a:gd name="connsiteX10" fmla="*/ 9801 w 10000"/>
              <a:gd name="connsiteY10" fmla="*/ 3388 h 10000"/>
              <a:gd name="connsiteX11" fmla="*/ 9735 w 10000"/>
              <a:gd name="connsiteY11" fmla="*/ 3816 h 10000"/>
              <a:gd name="connsiteX12" fmla="*/ 9702 w 10000"/>
              <a:gd name="connsiteY12" fmla="*/ 4046 h 10000"/>
              <a:gd name="connsiteX13" fmla="*/ 9658 w 10000"/>
              <a:gd name="connsiteY13" fmla="*/ 4243 h 10000"/>
              <a:gd name="connsiteX14" fmla="*/ 9619 w 10000"/>
              <a:gd name="connsiteY14" fmla="*/ 4408 h 10000"/>
              <a:gd name="connsiteX15" fmla="*/ 9569 w 10000"/>
              <a:gd name="connsiteY15" fmla="*/ 4605 h 10000"/>
              <a:gd name="connsiteX16" fmla="*/ 9520 w 10000"/>
              <a:gd name="connsiteY16" fmla="*/ 4737 h 10000"/>
              <a:gd name="connsiteX17" fmla="*/ 9470 w 10000"/>
              <a:gd name="connsiteY17" fmla="*/ 4901 h 10000"/>
              <a:gd name="connsiteX18" fmla="*/ 9415 w 10000"/>
              <a:gd name="connsiteY18" fmla="*/ 5000 h 10000"/>
              <a:gd name="connsiteX19" fmla="*/ 9348 w 10000"/>
              <a:gd name="connsiteY19" fmla="*/ 5099 h 10000"/>
              <a:gd name="connsiteX20" fmla="*/ 9288 w 10000"/>
              <a:gd name="connsiteY20" fmla="*/ 5197 h 10000"/>
              <a:gd name="connsiteX21" fmla="*/ 9216 w 10000"/>
              <a:gd name="connsiteY21" fmla="*/ 5230 h 10000"/>
              <a:gd name="connsiteX22" fmla="*/ 9216 w 10000"/>
              <a:gd name="connsiteY22" fmla="*/ 5230 h 10000"/>
              <a:gd name="connsiteX23" fmla="*/ 1190 w 10000"/>
              <a:gd name="connsiteY23" fmla="*/ 9414 h 10000"/>
              <a:gd name="connsiteX24" fmla="*/ 0 w 10000"/>
              <a:gd name="connsiteY24" fmla="*/ 10000 h 10000"/>
              <a:gd name="connsiteX25" fmla="*/ 10000 w 10000"/>
              <a:gd name="connsiteY25" fmla="*/ 10000 h 10000"/>
              <a:gd name="connsiteX0" fmla="*/ 10000 w 10000"/>
              <a:gd name="connsiteY0" fmla="*/ 10000 h 10011"/>
              <a:gd name="connsiteX1" fmla="*/ 10000 w 10000"/>
              <a:gd name="connsiteY1" fmla="*/ 0 h 10011"/>
              <a:gd name="connsiteX2" fmla="*/ 10000 w 10000"/>
              <a:gd name="connsiteY2" fmla="*/ 0 h 10011"/>
              <a:gd name="connsiteX3" fmla="*/ 10000 w 10000"/>
              <a:gd name="connsiteY3" fmla="*/ 230 h 10011"/>
              <a:gd name="connsiteX4" fmla="*/ 9983 w 10000"/>
              <a:gd name="connsiteY4" fmla="*/ 757 h 10011"/>
              <a:gd name="connsiteX5" fmla="*/ 9972 w 10000"/>
              <a:gd name="connsiteY5" fmla="*/ 1118 h 10011"/>
              <a:gd name="connsiteX6" fmla="*/ 9950 w 10000"/>
              <a:gd name="connsiteY6" fmla="*/ 1546 h 10011"/>
              <a:gd name="connsiteX7" fmla="*/ 9928 w 10000"/>
              <a:gd name="connsiteY7" fmla="*/ 2007 h 10011"/>
              <a:gd name="connsiteX8" fmla="*/ 9895 w 10000"/>
              <a:gd name="connsiteY8" fmla="*/ 2467 h 10011"/>
              <a:gd name="connsiteX9" fmla="*/ 9851 w 10000"/>
              <a:gd name="connsiteY9" fmla="*/ 2928 h 10011"/>
              <a:gd name="connsiteX10" fmla="*/ 9801 w 10000"/>
              <a:gd name="connsiteY10" fmla="*/ 3388 h 10011"/>
              <a:gd name="connsiteX11" fmla="*/ 9735 w 10000"/>
              <a:gd name="connsiteY11" fmla="*/ 3816 h 10011"/>
              <a:gd name="connsiteX12" fmla="*/ 9702 w 10000"/>
              <a:gd name="connsiteY12" fmla="*/ 4046 h 10011"/>
              <a:gd name="connsiteX13" fmla="*/ 9658 w 10000"/>
              <a:gd name="connsiteY13" fmla="*/ 4243 h 10011"/>
              <a:gd name="connsiteX14" fmla="*/ 9619 w 10000"/>
              <a:gd name="connsiteY14" fmla="*/ 4408 h 10011"/>
              <a:gd name="connsiteX15" fmla="*/ 9569 w 10000"/>
              <a:gd name="connsiteY15" fmla="*/ 4605 h 10011"/>
              <a:gd name="connsiteX16" fmla="*/ 9520 w 10000"/>
              <a:gd name="connsiteY16" fmla="*/ 4737 h 10011"/>
              <a:gd name="connsiteX17" fmla="*/ 9470 w 10000"/>
              <a:gd name="connsiteY17" fmla="*/ 4901 h 10011"/>
              <a:gd name="connsiteX18" fmla="*/ 9415 w 10000"/>
              <a:gd name="connsiteY18" fmla="*/ 5000 h 10011"/>
              <a:gd name="connsiteX19" fmla="*/ 9348 w 10000"/>
              <a:gd name="connsiteY19" fmla="*/ 5099 h 10011"/>
              <a:gd name="connsiteX20" fmla="*/ 9288 w 10000"/>
              <a:gd name="connsiteY20" fmla="*/ 5197 h 10011"/>
              <a:gd name="connsiteX21" fmla="*/ 9216 w 10000"/>
              <a:gd name="connsiteY21" fmla="*/ 5230 h 10011"/>
              <a:gd name="connsiteX22" fmla="*/ 9216 w 10000"/>
              <a:gd name="connsiteY22" fmla="*/ 5230 h 10011"/>
              <a:gd name="connsiteX23" fmla="*/ 1190 w 10000"/>
              <a:gd name="connsiteY23" fmla="*/ 9414 h 10011"/>
              <a:gd name="connsiteX24" fmla="*/ 0 w 10000"/>
              <a:gd name="connsiteY24" fmla="*/ 10000 h 10011"/>
              <a:gd name="connsiteX25" fmla="*/ 1185 w 10000"/>
              <a:gd name="connsiteY25" fmla="*/ 10011 h 10011"/>
              <a:gd name="connsiteX26" fmla="*/ 10000 w 10000"/>
              <a:gd name="connsiteY26" fmla="*/ 10000 h 10011"/>
              <a:gd name="connsiteX0" fmla="*/ 8815 w 8815"/>
              <a:gd name="connsiteY0" fmla="*/ 10000 h 10011"/>
              <a:gd name="connsiteX1" fmla="*/ 8815 w 8815"/>
              <a:gd name="connsiteY1" fmla="*/ 0 h 10011"/>
              <a:gd name="connsiteX2" fmla="*/ 8815 w 8815"/>
              <a:gd name="connsiteY2" fmla="*/ 0 h 10011"/>
              <a:gd name="connsiteX3" fmla="*/ 8815 w 8815"/>
              <a:gd name="connsiteY3" fmla="*/ 230 h 10011"/>
              <a:gd name="connsiteX4" fmla="*/ 8798 w 8815"/>
              <a:gd name="connsiteY4" fmla="*/ 757 h 10011"/>
              <a:gd name="connsiteX5" fmla="*/ 8787 w 8815"/>
              <a:gd name="connsiteY5" fmla="*/ 1118 h 10011"/>
              <a:gd name="connsiteX6" fmla="*/ 8765 w 8815"/>
              <a:gd name="connsiteY6" fmla="*/ 1546 h 10011"/>
              <a:gd name="connsiteX7" fmla="*/ 8743 w 8815"/>
              <a:gd name="connsiteY7" fmla="*/ 2007 h 10011"/>
              <a:gd name="connsiteX8" fmla="*/ 8710 w 8815"/>
              <a:gd name="connsiteY8" fmla="*/ 2467 h 10011"/>
              <a:gd name="connsiteX9" fmla="*/ 8666 w 8815"/>
              <a:gd name="connsiteY9" fmla="*/ 2928 h 10011"/>
              <a:gd name="connsiteX10" fmla="*/ 8616 w 8815"/>
              <a:gd name="connsiteY10" fmla="*/ 3388 h 10011"/>
              <a:gd name="connsiteX11" fmla="*/ 8550 w 8815"/>
              <a:gd name="connsiteY11" fmla="*/ 3816 h 10011"/>
              <a:gd name="connsiteX12" fmla="*/ 8517 w 8815"/>
              <a:gd name="connsiteY12" fmla="*/ 4046 h 10011"/>
              <a:gd name="connsiteX13" fmla="*/ 8473 w 8815"/>
              <a:gd name="connsiteY13" fmla="*/ 4243 h 10011"/>
              <a:gd name="connsiteX14" fmla="*/ 8434 w 8815"/>
              <a:gd name="connsiteY14" fmla="*/ 4408 h 10011"/>
              <a:gd name="connsiteX15" fmla="*/ 8384 w 8815"/>
              <a:gd name="connsiteY15" fmla="*/ 4605 h 10011"/>
              <a:gd name="connsiteX16" fmla="*/ 8335 w 8815"/>
              <a:gd name="connsiteY16" fmla="*/ 4737 h 10011"/>
              <a:gd name="connsiteX17" fmla="*/ 8285 w 8815"/>
              <a:gd name="connsiteY17" fmla="*/ 4901 h 10011"/>
              <a:gd name="connsiteX18" fmla="*/ 8230 w 8815"/>
              <a:gd name="connsiteY18" fmla="*/ 5000 h 10011"/>
              <a:gd name="connsiteX19" fmla="*/ 8163 w 8815"/>
              <a:gd name="connsiteY19" fmla="*/ 5099 h 10011"/>
              <a:gd name="connsiteX20" fmla="*/ 8103 w 8815"/>
              <a:gd name="connsiteY20" fmla="*/ 5197 h 10011"/>
              <a:gd name="connsiteX21" fmla="*/ 8031 w 8815"/>
              <a:gd name="connsiteY21" fmla="*/ 5230 h 10011"/>
              <a:gd name="connsiteX22" fmla="*/ 8031 w 8815"/>
              <a:gd name="connsiteY22" fmla="*/ 5230 h 10011"/>
              <a:gd name="connsiteX23" fmla="*/ 5 w 8815"/>
              <a:gd name="connsiteY23" fmla="*/ 9414 h 10011"/>
              <a:gd name="connsiteX24" fmla="*/ 0 w 8815"/>
              <a:gd name="connsiteY24" fmla="*/ 10011 h 10011"/>
              <a:gd name="connsiteX25" fmla="*/ 8815 w 8815"/>
              <a:gd name="connsiteY25" fmla="*/ 10000 h 10011"/>
              <a:gd name="connsiteX0" fmla="*/ 9996 w 9996"/>
              <a:gd name="connsiteY0" fmla="*/ 9989 h 10000"/>
              <a:gd name="connsiteX1" fmla="*/ 9996 w 9996"/>
              <a:gd name="connsiteY1" fmla="*/ 0 h 10000"/>
              <a:gd name="connsiteX2" fmla="*/ 9996 w 9996"/>
              <a:gd name="connsiteY2" fmla="*/ 0 h 10000"/>
              <a:gd name="connsiteX3" fmla="*/ 9996 w 9996"/>
              <a:gd name="connsiteY3" fmla="*/ 230 h 10000"/>
              <a:gd name="connsiteX4" fmla="*/ 9977 w 9996"/>
              <a:gd name="connsiteY4" fmla="*/ 756 h 10000"/>
              <a:gd name="connsiteX5" fmla="*/ 9964 w 9996"/>
              <a:gd name="connsiteY5" fmla="*/ 1117 h 10000"/>
              <a:gd name="connsiteX6" fmla="*/ 9939 w 9996"/>
              <a:gd name="connsiteY6" fmla="*/ 1544 h 10000"/>
              <a:gd name="connsiteX7" fmla="*/ 9914 w 9996"/>
              <a:gd name="connsiteY7" fmla="*/ 2005 h 10000"/>
              <a:gd name="connsiteX8" fmla="*/ 9877 w 9996"/>
              <a:gd name="connsiteY8" fmla="*/ 2464 h 10000"/>
              <a:gd name="connsiteX9" fmla="*/ 9827 w 9996"/>
              <a:gd name="connsiteY9" fmla="*/ 2925 h 10000"/>
              <a:gd name="connsiteX10" fmla="*/ 9770 w 9996"/>
              <a:gd name="connsiteY10" fmla="*/ 3384 h 10000"/>
              <a:gd name="connsiteX11" fmla="*/ 9695 w 9996"/>
              <a:gd name="connsiteY11" fmla="*/ 3812 h 10000"/>
              <a:gd name="connsiteX12" fmla="*/ 9658 w 9996"/>
              <a:gd name="connsiteY12" fmla="*/ 4042 h 10000"/>
              <a:gd name="connsiteX13" fmla="*/ 9608 w 9996"/>
              <a:gd name="connsiteY13" fmla="*/ 4238 h 10000"/>
              <a:gd name="connsiteX14" fmla="*/ 9564 w 9996"/>
              <a:gd name="connsiteY14" fmla="*/ 4403 h 10000"/>
              <a:gd name="connsiteX15" fmla="*/ 9507 w 9996"/>
              <a:gd name="connsiteY15" fmla="*/ 4600 h 10000"/>
              <a:gd name="connsiteX16" fmla="*/ 9451 w 9996"/>
              <a:gd name="connsiteY16" fmla="*/ 4732 h 10000"/>
              <a:gd name="connsiteX17" fmla="*/ 9395 w 9996"/>
              <a:gd name="connsiteY17" fmla="*/ 4896 h 10000"/>
              <a:gd name="connsiteX18" fmla="*/ 9332 w 9996"/>
              <a:gd name="connsiteY18" fmla="*/ 4995 h 10000"/>
              <a:gd name="connsiteX19" fmla="*/ 9256 w 9996"/>
              <a:gd name="connsiteY19" fmla="*/ 5093 h 10000"/>
              <a:gd name="connsiteX20" fmla="*/ 9188 w 9996"/>
              <a:gd name="connsiteY20" fmla="*/ 5191 h 10000"/>
              <a:gd name="connsiteX21" fmla="*/ 9107 w 9996"/>
              <a:gd name="connsiteY21" fmla="*/ 5224 h 10000"/>
              <a:gd name="connsiteX22" fmla="*/ 9107 w 9996"/>
              <a:gd name="connsiteY22" fmla="*/ 5224 h 10000"/>
              <a:gd name="connsiteX23" fmla="*/ 2 w 9996"/>
              <a:gd name="connsiteY23" fmla="*/ 9404 h 10000"/>
              <a:gd name="connsiteX24" fmla="*/ 0 w 9996"/>
              <a:gd name="connsiteY24" fmla="*/ 10000 h 10000"/>
              <a:gd name="connsiteX25" fmla="*/ 9996 w 9996"/>
              <a:gd name="connsiteY25" fmla="*/ 9989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9996" h="10000">
                <a:moveTo>
                  <a:pt x="9996" y="9989"/>
                </a:moveTo>
                <a:lnTo>
                  <a:pt x="9996" y="0"/>
                </a:lnTo>
                <a:lnTo>
                  <a:pt x="9996" y="0"/>
                </a:lnTo>
                <a:lnTo>
                  <a:pt x="9996" y="230"/>
                </a:lnTo>
                <a:cubicBezTo>
                  <a:pt x="9989" y="406"/>
                  <a:pt x="9984" y="580"/>
                  <a:pt x="9977" y="756"/>
                </a:cubicBezTo>
                <a:cubicBezTo>
                  <a:pt x="9972" y="876"/>
                  <a:pt x="9969" y="997"/>
                  <a:pt x="9964" y="1117"/>
                </a:cubicBezTo>
                <a:cubicBezTo>
                  <a:pt x="9956" y="1260"/>
                  <a:pt x="9947" y="1401"/>
                  <a:pt x="9939" y="1544"/>
                </a:cubicBezTo>
                <a:cubicBezTo>
                  <a:pt x="9931" y="1698"/>
                  <a:pt x="9922" y="1851"/>
                  <a:pt x="9914" y="2005"/>
                </a:cubicBezTo>
                <a:cubicBezTo>
                  <a:pt x="9902" y="2158"/>
                  <a:pt x="9889" y="2311"/>
                  <a:pt x="9877" y="2464"/>
                </a:cubicBezTo>
                <a:cubicBezTo>
                  <a:pt x="9860" y="2618"/>
                  <a:pt x="9844" y="2771"/>
                  <a:pt x="9827" y="2925"/>
                </a:cubicBezTo>
                <a:cubicBezTo>
                  <a:pt x="9808" y="3078"/>
                  <a:pt x="9790" y="3231"/>
                  <a:pt x="9770" y="3384"/>
                </a:cubicBezTo>
                <a:cubicBezTo>
                  <a:pt x="9745" y="3527"/>
                  <a:pt x="9720" y="3669"/>
                  <a:pt x="9695" y="3812"/>
                </a:cubicBezTo>
                <a:cubicBezTo>
                  <a:pt x="9683" y="3889"/>
                  <a:pt x="9670" y="3965"/>
                  <a:pt x="9658" y="4042"/>
                </a:cubicBezTo>
                <a:cubicBezTo>
                  <a:pt x="9641" y="4107"/>
                  <a:pt x="9625" y="4172"/>
                  <a:pt x="9608" y="4238"/>
                </a:cubicBezTo>
                <a:cubicBezTo>
                  <a:pt x="9593" y="4293"/>
                  <a:pt x="9579" y="4348"/>
                  <a:pt x="9564" y="4403"/>
                </a:cubicBezTo>
                <a:cubicBezTo>
                  <a:pt x="9544" y="4469"/>
                  <a:pt x="9526" y="4534"/>
                  <a:pt x="9507" y="4600"/>
                </a:cubicBezTo>
                <a:cubicBezTo>
                  <a:pt x="9489" y="4644"/>
                  <a:pt x="9470" y="4688"/>
                  <a:pt x="9451" y="4732"/>
                </a:cubicBezTo>
                <a:cubicBezTo>
                  <a:pt x="9432" y="4787"/>
                  <a:pt x="9414" y="4841"/>
                  <a:pt x="9395" y="4896"/>
                </a:cubicBezTo>
                <a:lnTo>
                  <a:pt x="9332" y="4995"/>
                </a:lnTo>
                <a:cubicBezTo>
                  <a:pt x="9307" y="5027"/>
                  <a:pt x="9281" y="5060"/>
                  <a:pt x="9256" y="5093"/>
                </a:cubicBezTo>
                <a:cubicBezTo>
                  <a:pt x="9234" y="5126"/>
                  <a:pt x="9211" y="5158"/>
                  <a:pt x="9188" y="5191"/>
                </a:cubicBezTo>
                <a:lnTo>
                  <a:pt x="9107" y="5224"/>
                </a:lnTo>
                <a:lnTo>
                  <a:pt x="9107" y="5224"/>
                </a:lnTo>
                <a:lnTo>
                  <a:pt x="2" y="9404"/>
                </a:lnTo>
                <a:cubicBezTo>
                  <a:pt x="-1" y="9602"/>
                  <a:pt x="2" y="9801"/>
                  <a:pt x="0" y="10000"/>
                </a:cubicBezTo>
                <a:lnTo>
                  <a:pt x="9996" y="9989"/>
                </a:lnTo>
                <a:close/>
              </a:path>
            </a:pathLst>
          </a:custGeom>
          <a:solidFill>
            <a:schemeClr val="accent6"/>
          </a:solidFill>
          <a:ln>
            <a:noFill/>
          </a:ln>
        </p:spPr>
        <p:txBody>
          <a:bodyPr vert="horz" wrap="square" lIns="133428" tIns="66715" rIns="133428" bIns="66715" numCol="1" anchor="t" anchorCtr="0" compatLnSpc="1">
            <a:prstTxWarp prst="textNoShape">
              <a:avLst/>
            </a:prstTxWarp>
          </a:bodyPr>
          <a:lstStyle/>
          <a:p>
            <a:pPr marL="0" marR="0" lvl="0" indent="0" algn="l" defTabSz="478835" rtl="0" eaLnBrk="1" fontAlgn="auto" latinLnBrk="0" hangingPunct="1">
              <a:lnSpc>
                <a:spcPct val="100000"/>
              </a:lnSpc>
              <a:spcBef>
                <a:spcPts val="0"/>
              </a:spcBef>
              <a:spcAft>
                <a:spcPts val="0"/>
              </a:spcAft>
              <a:buClrTx/>
              <a:buSzTx/>
              <a:buFontTx/>
              <a:buNone/>
              <a:tabLst/>
              <a:defRPr/>
            </a:pPr>
            <a:endParaRPr kumimoji="1" lang="ja-JP" altLang="en-US" sz="2533"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endParaRPr>
          </a:p>
        </p:txBody>
      </p:sp>
      <p:sp>
        <p:nvSpPr>
          <p:cNvPr id="3" name="コンテンツ プレースホルダー 2"/>
          <p:cNvSpPr>
            <a:spLocks noGrp="1"/>
          </p:cNvSpPr>
          <p:nvPr>
            <p:ph idx="1"/>
          </p:nvPr>
        </p:nvSpPr>
        <p:spPr>
          <a:xfrm>
            <a:off x="368551" y="903600"/>
            <a:ext cx="11583452" cy="5540400"/>
          </a:xfrm>
          <a:prstGeom prst="rect">
            <a:avLst/>
          </a:prstGeom>
        </p:spPr>
        <p:txBody>
          <a:bodyPr lIns="95767" tIns="47884" rIns="95767" bIns="47884"/>
          <a:lstStyle>
            <a:lvl1pPr>
              <a:defRPr sz="1800">
                <a:latin typeface="Meiryo UI" panose="020B0604030504040204" pitchFamily="50" charset="-128"/>
                <a:ea typeface="Meiryo UI" panose="020B0604030504040204" pitchFamily="50" charset="-128"/>
              </a:defRPr>
            </a:lvl1pPr>
            <a:lvl2pPr indent="-236233">
              <a:defRPr sz="1800">
                <a:latin typeface="Meiryo UI" panose="020B0604030504040204" pitchFamily="50" charset="-128"/>
                <a:ea typeface="Meiryo UI" panose="020B0604030504040204" pitchFamily="50" charset="-128"/>
              </a:defRPr>
            </a:lvl2pPr>
            <a:lvl3pPr indent="-236233">
              <a:defRPr sz="1800">
                <a:latin typeface="Meiryo UI" panose="020B0604030504040204" pitchFamily="50" charset="-128"/>
                <a:ea typeface="Meiryo UI" panose="020B0604030504040204" pitchFamily="50" charset="-128"/>
              </a:defRPr>
            </a:lvl3pPr>
            <a:lvl4pPr indent="-236233">
              <a:defRPr sz="1800">
                <a:latin typeface="Meiryo UI" panose="020B0604030504040204" pitchFamily="50" charset="-128"/>
                <a:ea typeface="Meiryo UI" panose="020B0604030504040204" pitchFamily="50" charset="-128"/>
              </a:defRPr>
            </a:lvl4pPr>
            <a:lvl5pPr indent="-236233">
              <a:defRPr sz="1800">
                <a:latin typeface="Meiryo UI" panose="020B0604030504040204" pitchFamily="50" charset="-128"/>
                <a:ea typeface="Meiryo UI" panose="020B0604030504040204" pitchFamily="50" charset="-128"/>
              </a:defRPr>
            </a:lvl5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6" name="スライド番号プレースホルダー 5"/>
          <p:cNvSpPr>
            <a:spLocks noGrp="1"/>
          </p:cNvSpPr>
          <p:nvPr>
            <p:ph type="sldNum" sz="quarter" idx="12"/>
          </p:nvPr>
        </p:nvSpPr>
        <p:spPr>
          <a:xfrm>
            <a:off x="11524630" y="6468878"/>
            <a:ext cx="555811" cy="289299"/>
          </a:xfrm>
          <a:prstGeom prst="rect">
            <a:avLst/>
          </a:prstGeom>
        </p:spPr>
        <p:txBody>
          <a:bodyPr lIns="95767" tIns="47884" rIns="95767" bIns="47884"/>
          <a:lstStyle>
            <a:lvl1pPr algn="r">
              <a:defRPr sz="1050">
                <a:latin typeface="Meiryo UI" panose="020B0604030504040204" pitchFamily="50" charset="-128"/>
                <a:ea typeface="Meiryo UI" panose="020B0604030504040204" pitchFamily="50" charset="-128"/>
              </a:defRPr>
            </a:lvl1pPr>
          </a:lstStyle>
          <a:p>
            <a:pPr marL="0" marR="0" lvl="0" indent="0" algn="r" defTabSz="478835" rtl="0" eaLnBrk="1" fontAlgn="auto" latinLnBrk="0" hangingPunct="1">
              <a:lnSpc>
                <a:spcPct val="100000"/>
              </a:lnSpc>
              <a:spcBef>
                <a:spcPts val="0"/>
              </a:spcBef>
              <a:spcAft>
                <a:spcPts val="0"/>
              </a:spcAft>
              <a:buClrTx/>
              <a:buSzTx/>
              <a:buFontTx/>
              <a:buNone/>
              <a:tabLst/>
              <a:defRPr/>
            </a:pPr>
            <a:fld id="{2FF5E1DE-7B95-8A44-8552-65323269AE41}" type="slidenum">
              <a:rPr kumimoji="1" lang="ja-JP" altLang="en-US" sz="1050" b="0" i="0" u="none" strike="noStrike" kern="1200" cap="none" spc="0" normalizeH="0" baseline="0" noProof="0" smtClean="0">
                <a:ln>
                  <a:noFill/>
                </a:ln>
                <a:solidFill>
                  <a:srgbClr val="000000"/>
                </a:solidFill>
                <a:effectLst/>
                <a:uLnTx/>
                <a:uFillTx/>
                <a:latin typeface="Meiryo UI" panose="020B0604030504040204" pitchFamily="50" charset="-128"/>
                <a:ea typeface="Meiryo UI" panose="020B0604030504040204" pitchFamily="50" charset="-128"/>
                <a:cs typeface="+mn-cs"/>
              </a:rPr>
              <a:pPr marL="0" marR="0" lvl="0" indent="0" algn="r" defTabSz="478835" rtl="0" eaLnBrk="1" fontAlgn="auto" latinLnBrk="0" hangingPunct="1">
                <a:lnSpc>
                  <a:spcPct val="100000"/>
                </a:lnSpc>
                <a:spcBef>
                  <a:spcPts val="0"/>
                </a:spcBef>
                <a:spcAft>
                  <a:spcPts val="0"/>
                </a:spcAft>
                <a:buClrTx/>
                <a:buSzTx/>
                <a:buFontTx/>
                <a:buNone/>
                <a:tabLst/>
                <a:defRPr/>
              </a:pPr>
              <a:t>‹#›</a:t>
            </a:fld>
            <a:endParaRPr kumimoji="1" lang="ja-JP" altLang="en-US" sz="105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endParaRPr>
          </a:p>
        </p:txBody>
      </p:sp>
      <p:cxnSp>
        <p:nvCxnSpPr>
          <p:cNvPr id="8" name="直線コネクタ 7"/>
          <p:cNvCxnSpPr/>
          <p:nvPr userDrawn="1"/>
        </p:nvCxnSpPr>
        <p:spPr>
          <a:xfrm>
            <a:off x="239959" y="817200"/>
            <a:ext cx="11709966" cy="0"/>
          </a:xfrm>
          <a:prstGeom prst="line">
            <a:avLst/>
          </a:prstGeom>
          <a:ln>
            <a:solidFill>
              <a:srgbClr val="92846E"/>
            </a:solidFill>
          </a:ln>
          <a:effectLst/>
        </p:spPr>
        <p:style>
          <a:lnRef idx="2">
            <a:schemeClr val="accent1"/>
          </a:lnRef>
          <a:fillRef idx="0">
            <a:schemeClr val="accent1"/>
          </a:fillRef>
          <a:effectRef idx="1">
            <a:schemeClr val="accent1"/>
          </a:effectRef>
          <a:fontRef idx="minor">
            <a:schemeClr val="tx1"/>
          </a:fontRef>
        </p:style>
      </p:cxnSp>
      <p:pic>
        <p:nvPicPr>
          <p:cNvPr id="10" name="Picture 2" descr="K:\新ロゴ（データ一式）\DLH_3_EN.png"/>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11038066" y="-34312"/>
            <a:ext cx="973128" cy="900434"/>
          </a:xfrm>
          <a:prstGeom prst="rect">
            <a:avLst/>
          </a:prstGeom>
          <a:noFill/>
          <a:extLst>
            <a:ext uri="{909E8E84-426E-40DD-AFC4-6F175D3DCCD1}">
              <a14:hiddenFill xmlns:a14="http://schemas.microsoft.com/office/drawing/2010/main">
                <a:solidFill>
                  <a:srgbClr val="FFFFFF"/>
                </a:solidFill>
              </a14:hiddenFill>
            </a:ext>
          </a:extLst>
        </p:spPr>
      </p:pic>
      <p:sp>
        <p:nvSpPr>
          <p:cNvPr id="11" name="タイトル 1"/>
          <p:cNvSpPr>
            <a:spLocks noGrp="1"/>
          </p:cNvSpPr>
          <p:nvPr>
            <p:ph type="title"/>
          </p:nvPr>
        </p:nvSpPr>
        <p:spPr>
          <a:xfrm>
            <a:off x="368549" y="241861"/>
            <a:ext cx="9791452" cy="540000"/>
          </a:xfrm>
          <a:prstGeom prst="rect">
            <a:avLst/>
          </a:prstGeom>
        </p:spPr>
        <p:txBody>
          <a:bodyPr lIns="95767" tIns="47884" rIns="95767" bIns="47884" anchor="b"/>
          <a:lstStyle>
            <a:lvl1pPr>
              <a:defRPr sz="2200">
                <a:latin typeface="Meiryo UI" panose="020B0604030504040204" pitchFamily="50" charset="-128"/>
                <a:ea typeface="Meiryo UI" panose="020B0604030504040204" pitchFamily="50" charset="-128"/>
              </a:defRPr>
            </a:lvl1pPr>
          </a:lstStyle>
          <a:p>
            <a:r>
              <a:rPr kumimoji="1" lang="ja-JP" altLang="en-US"/>
              <a:t>マスター タイトルの書式設定</a:t>
            </a:r>
          </a:p>
        </p:txBody>
      </p:sp>
    </p:spTree>
    <p:extLst>
      <p:ext uri="{BB962C8B-B14F-4D97-AF65-F5344CB8AC3E}">
        <p14:creationId xmlns:p14="http://schemas.microsoft.com/office/powerpoint/2010/main" val="532007610"/>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type="title" preserve="1">
  <p:cSld name="6_タイトル スライド">
    <p:spTree>
      <p:nvGrpSpPr>
        <p:cNvPr id="1" name=""/>
        <p:cNvGrpSpPr/>
        <p:nvPr/>
      </p:nvGrpSpPr>
      <p:grpSpPr>
        <a:xfrm>
          <a:off x="0" y="0"/>
          <a:ext cx="0" cy="0"/>
          <a:chOff x="0" y="0"/>
          <a:chExt cx="0" cy="0"/>
        </a:xfrm>
      </p:grpSpPr>
      <p:sp>
        <p:nvSpPr>
          <p:cNvPr id="10" name="Freeform 5"/>
          <p:cNvSpPr>
            <a:spLocks/>
          </p:cNvSpPr>
          <p:nvPr userDrawn="1"/>
        </p:nvSpPr>
        <p:spPr bwMode="auto">
          <a:xfrm>
            <a:off x="233538" y="169337"/>
            <a:ext cx="11730712" cy="5207000"/>
          </a:xfrm>
          <a:custGeom>
            <a:avLst/>
            <a:gdLst>
              <a:gd name="T0" fmla="*/ 0 w 1618"/>
              <a:gd name="T1" fmla="*/ 0 h 957"/>
              <a:gd name="T2" fmla="*/ 0 w 1618"/>
              <a:gd name="T3" fmla="*/ 957 h 957"/>
              <a:gd name="T4" fmla="*/ 1279 w 1618"/>
              <a:gd name="T5" fmla="*/ 842 h 957"/>
              <a:gd name="T6" fmla="*/ 1618 w 1618"/>
              <a:gd name="T7" fmla="*/ 472 h 957"/>
              <a:gd name="T8" fmla="*/ 1618 w 1618"/>
              <a:gd name="T9" fmla="*/ 0 h 957"/>
              <a:gd name="T10" fmla="*/ 0 w 1618"/>
              <a:gd name="T11" fmla="*/ 0 h 957"/>
            </a:gdLst>
            <a:ahLst/>
            <a:cxnLst>
              <a:cxn ang="0">
                <a:pos x="T0" y="T1"/>
              </a:cxn>
              <a:cxn ang="0">
                <a:pos x="T2" y="T3"/>
              </a:cxn>
              <a:cxn ang="0">
                <a:pos x="T4" y="T5"/>
              </a:cxn>
              <a:cxn ang="0">
                <a:pos x="T6" y="T7"/>
              </a:cxn>
              <a:cxn ang="0">
                <a:pos x="T8" y="T9"/>
              </a:cxn>
              <a:cxn ang="0">
                <a:pos x="T10" y="T11"/>
              </a:cxn>
            </a:cxnLst>
            <a:rect l="0" t="0" r="r" b="b"/>
            <a:pathLst>
              <a:path w="1618" h="957">
                <a:moveTo>
                  <a:pt x="0" y="0"/>
                </a:moveTo>
                <a:cubicBezTo>
                  <a:pt x="0" y="957"/>
                  <a:pt x="0" y="957"/>
                  <a:pt x="0" y="957"/>
                </a:cubicBezTo>
                <a:cubicBezTo>
                  <a:pt x="1279" y="842"/>
                  <a:pt x="1279" y="842"/>
                  <a:pt x="1279" y="842"/>
                </a:cubicBezTo>
                <a:cubicBezTo>
                  <a:pt x="1465" y="825"/>
                  <a:pt x="1618" y="659"/>
                  <a:pt x="1618" y="472"/>
                </a:cubicBezTo>
                <a:cubicBezTo>
                  <a:pt x="1618" y="0"/>
                  <a:pt x="1618" y="0"/>
                  <a:pt x="1618" y="0"/>
                </a:cubicBezTo>
                <a:lnTo>
                  <a:pt x="0" y="0"/>
                </a:lnTo>
                <a:close/>
              </a:path>
            </a:pathLst>
          </a:custGeom>
          <a:solidFill>
            <a:schemeClr val="accent6"/>
          </a:solidFill>
          <a:ln>
            <a:noFill/>
          </a:ln>
        </p:spPr>
        <p:txBody>
          <a:bodyPr lIns="127667" tIns="63834" rIns="127667" bIns="63834"/>
          <a:lstStyle/>
          <a:p>
            <a:pPr marL="0" marR="0" lvl="0" indent="0" algn="l" defTabSz="478835" rtl="0" eaLnBrk="1" fontAlgn="auto" latinLnBrk="0" hangingPunct="1">
              <a:lnSpc>
                <a:spcPct val="100000"/>
              </a:lnSpc>
              <a:spcBef>
                <a:spcPts val="0"/>
              </a:spcBef>
              <a:spcAft>
                <a:spcPts val="0"/>
              </a:spcAft>
              <a:buClrTx/>
              <a:buSzTx/>
              <a:buFontTx/>
              <a:buNone/>
              <a:tabLst/>
              <a:defRPr/>
            </a:pPr>
            <a:endParaRPr kumimoji="1" lang="ja-JP" altLang="en-US" sz="2533"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endParaRPr>
          </a:p>
        </p:txBody>
      </p:sp>
      <p:sp>
        <p:nvSpPr>
          <p:cNvPr id="2" name="タイトル 1"/>
          <p:cNvSpPr>
            <a:spLocks noGrp="1"/>
          </p:cNvSpPr>
          <p:nvPr>
            <p:ph type="ctrTitle"/>
          </p:nvPr>
        </p:nvSpPr>
        <p:spPr>
          <a:xfrm>
            <a:off x="914400" y="1416804"/>
            <a:ext cx="10363200" cy="1470025"/>
          </a:xfrm>
          <a:prstGeom prst="rect">
            <a:avLst/>
          </a:prstGeom>
        </p:spPr>
        <p:txBody>
          <a:bodyPr lIns="95767" tIns="47884" rIns="95767" bIns="47884" anchor="b">
            <a:normAutofit/>
          </a:bodyPr>
          <a:lstStyle>
            <a:lvl1pPr algn="l">
              <a:defRPr sz="4000" kern="1200">
                <a:solidFill>
                  <a:schemeClr val="tx1"/>
                </a:solidFill>
                <a:latin typeface="Meiryo UI" panose="020B0604030504040204" pitchFamily="50" charset="-128"/>
                <a:ea typeface="Meiryo UI" panose="020B0604030504040204" pitchFamily="50" charset="-128"/>
              </a:defRPr>
            </a:lvl1pPr>
          </a:lstStyle>
          <a:p>
            <a:r>
              <a:rPr kumimoji="1" lang="ja-JP" altLang="en-US"/>
              <a:t>マスター タイトルの書式設定</a:t>
            </a:r>
          </a:p>
        </p:txBody>
      </p:sp>
      <p:sp>
        <p:nvSpPr>
          <p:cNvPr id="3" name="サブタイトル 2"/>
          <p:cNvSpPr>
            <a:spLocks noGrp="1"/>
          </p:cNvSpPr>
          <p:nvPr>
            <p:ph type="subTitle" idx="1"/>
          </p:nvPr>
        </p:nvSpPr>
        <p:spPr>
          <a:xfrm>
            <a:off x="916801" y="3420000"/>
            <a:ext cx="9691436" cy="977153"/>
          </a:xfrm>
          <a:prstGeom prst="rect">
            <a:avLst/>
          </a:prstGeom>
        </p:spPr>
        <p:txBody>
          <a:bodyPr lIns="95767" tIns="47884" rIns="95767" bIns="47884">
            <a:normAutofit/>
          </a:bodyPr>
          <a:lstStyle>
            <a:lvl1pPr marL="0" indent="0" algn="l">
              <a:buNone/>
              <a:defRPr sz="2800">
                <a:solidFill>
                  <a:schemeClr val="tx1"/>
                </a:solidFill>
                <a:latin typeface="Meiryo UI" panose="020B0604030504040204" pitchFamily="50" charset="-128"/>
                <a:ea typeface="Meiryo UI" panose="020B0604030504040204" pitchFamily="50" charset="-128"/>
              </a:defRPr>
            </a:lvl1pPr>
            <a:lvl2pPr marL="638335" indent="0" algn="ctr">
              <a:buNone/>
              <a:defRPr>
                <a:solidFill>
                  <a:schemeClr val="tx1">
                    <a:tint val="75000"/>
                  </a:schemeClr>
                </a:solidFill>
              </a:defRPr>
            </a:lvl2pPr>
            <a:lvl3pPr marL="1276669" indent="0" algn="ctr">
              <a:buNone/>
              <a:defRPr>
                <a:solidFill>
                  <a:schemeClr val="tx1">
                    <a:tint val="75000"/>
                  </a:schemeClr>
                </a:solidFill>
              </a:defRPr>
            </a:lvl3pPr>
            <a:lvl4pPr marL="1915003" indent="0" algn="ctr">
              <a:buNone/>
              <a:defRPr>
                <a:solidFill>
                  <a:schemeClr val="tx1">
                    <a:tint val="75000"/>
                  </a:schemeClr>
                </a:solidFill>
              </a:defRPr>
            </a:lvl4pPr>
            <a:lvl5pPr marL="2553338" indent="0" algn="ctr">
              <a:buNone/>
              <a:defRPr>
                <a:solidFill>
                  <a:schemeClr val="tx1">
                    <a:tint val="75000"/>
                  </a:schemeClr>
                </a:solidFill>
              </a:defRPr>
            </a:lvl5pPr>
            <a:lvl6pPr marL="3191671" indent="0" algn="ctr">
              <a:buNone/>
              <a:defRPr>
                <a:solidFill>
                  <a:schemeClr val="tx1">
                    <a:tint val="75000"/>
                  </a:schemeClr>
                </a:solidFill>
              </a:defRPr>
            </a:lvl6pPr>
            <a:lvl7pPr marL="3830007" indent="0" algn="ctr">
              <a:buNone/>
              <a:defRPr>
                <a:solidFill>
                  <a:schemeClr val="tx1">
                    <a:tint val="75000"/>
                  </a:schemeClr>
                </a:solidFill>
              </a:defRPr>
            </a:lvl7pPr>
            <a:lvl8pPr marL="4468342" indent="0" algn="ctr">
              <a:buNone/>
              <a:defRPr>
                <a:solidFill>
                  <a:schemeClr val="tx1">
                    <a:tint val="75000"/>
                  </a:schemeClr>
                </a:solidFill>
              </a:defRPr>
            </a:lvl8pPr>
            <a:lvl9pPr marL="5106676" indent="0" algn="ctr">
              <a:buNone/>
              <a:defRPr>
                <a:solidFill>
                  <a:schemeClr val="tx1">
                    <a:tint val="75000"/>
                  </a:schemeClr>
                </a:solidFill>
              </a:defRPr>
            </a:lvl9pPr>
          </a:lstStyle>
          <a:p>
            <a:r>
              <a:rPr kumimoji="1" lang="ja-JP" altLang="en-US"/>
              <a:t>マスター サブタイトルの書式設定</a:t>
            </a:r>
          </a:p>
        </p:txBody>
      </p:sp>
      <p:sp>
        <p:nvSpPr>
          <p:cNvPr id="16" name="日付プレースホルダー 11"/>
          <p:cNvSpPr>
            <a:spLocks noGrp="1"/>
          </p:cNvSpPr>
          <p:nvPr>
            <p:ph type="dt" sz="half" idx="10"/>
          </p:nvPr>
        </p:nvSpPr>
        <p:spPr>
          <a:xfrm>
            <a:off x="609600" y="5691768"/>
            <a:ext cx="3860800" cy="365125"/>
          </a:xfrm>
          <a:prstGeom prst="rect">
            <a:avLst/>
          </a:prstGeom>
        </p:spPr>
        <p:txBody>
          <a:bodyPr lIns="95767" tIns="47884" rIns="95767" bIns="47884"/>
          <a:lstStyle>
            <a:lvl1pPr algn="l">
              <a:defRPr sz="1800">
                <a:solidFill>
                  <a:srgbClr val="000000"/>
                </a:solidFill>
                <a:latin typeface="Meiryo UI" panose="020B0604030504040204" pitchFamily="50" charset="-128"/>
                <a:ea typeface="Meiryo UI" panose="020B0604030504040204" pitchFamily="50" charset="-128"/>
              </a:defRPr>
            </a:lvl1pPr>
          </a:lstStyle>
          <a:p>
            <a:pPr marL="0" marR="0" lvl="0" indent="0" algn="l" defTabSz="478835"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endParaRPr>
          </a:p>
        </p:txBody>
      </p:sp>
      <p:sp>
        <p:nvSpPr>
          <p:cNvPr id="8" name="フッター プレースホルダー 12"/>
          <p:cNvSpPr>
            <a:spLocks noGrp="1"/>
          </p:cNvSpPr>
          <p:nvPr>
            <p:ph type="ftr" sz="quarter" idx="11"/>
          </p:nvPr>
        </p:nvSpPr>
        <p:spPr>
          <a:xfrm>
            <a:off x="609600" y="6099529"/>
            <a:ext cx="6668998" cy="365125"/>
          </a:xfrm>
          <a:prstGeom prst="rect">
            <a:avLst/>
          </a:prstGeom>
        </p:spPr>
        <p:txBody>
          <a:bodyPr lIns="95767" tIns="47884" rIns="95767" bIns="47884"/>
          <a:lstStyle>
            <a:lvl1pPr algn="l">
              <a:defRPr sz="1800">
                <a:latin typeface="Meiryo UI" panose="020B0604030504040204" pitchFamily="50" charset="-128"/>
                <a:ea typeface="Meiryo UI" panose="020B0604030504040204" pitchFamily="50" charset="-128"/>
              </a:defRPr>
            </a:lvl1pPr>
          </a:lstStyle>
          <a:p>
            <a:pPr marL="0" marR="0" lvl="0" indent="0" algn="l" defTabSz="478835"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endParaRPr>
          </a:p>
        </p:txBody>
      </p:sp>
      <p:pic>
        <p:nvPicPr>
          <p:cNvPr id="11" name="Picture 2" descr="K:\新ロゴ（データ一式）\DLH_3_EN.png"/>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10521597" y="5335811"/>
            <a:ext cx="1644525" cy="152167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76604632"/>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25_タイトルとコンテンツ">
    <p:spTree>
      <p:nvGrpSpPr>
        <p:cNvPr id="1" name=""/>
        <p:cNvGrpSpPr/>
        <p:nvPr/>
      </p:nvGrpSpPr>
      <p:grpSpPr>
        <a:xfrm>
          <a:off x="0" y="0"/>
          <a:ext cx="0" cy="0"/>
          <a:chOff x="0" y="0"/>
          <a:chExt cx="0" cy="0"/>
        </a:xfrm>
      </p:grpSpPr>
      <p:sp>
        <p:nvSpPr>
          <p:cNvPr id="7" name="Freeform 8"/>
          <p:cNvSpPr>
            <a:spLocks/>
          </p:cNvSpPr>
          <p:nvPr userDrawn="1"/>
        </p:nvSpPr>
        <p:spPr bwMode="auto">
          <a:xfrm>
            <a:off x="-2100" y="5505984"/>
            <a:ext cx="12192504" cy="1353504"/>
          </a:xfrm>
          <a:custGeom>
            <a:avLst/>
            <a:gdLst>
              <a:gd name="T0" fmla="*/ 3622 w 3622"/>
              <a:gd name="T1" fmla="*/ 608 h 608"/>
              <a:gd name="T2" fmla="*/ 3622 w 3622"/>
              <a:gd name="T3" fmla="*/ 0 h 608"/>
              <a:gd name="T4" fmla="*/ 3622 w 3622"/>
              <a:gd name="T5" fmla="*/ 0 h 608"/>
              <a:gd name="T6" fmla="*/ 3622 w 3622"/>
              <a:gd name="T7" fmla="*/ 14 h 608"/>
              <a:gd name="T8" fmla="*/ 3616 w 3622"/>
              <a:gd name="T9" fmla="*/ 46 h 608"/>
              <a:gd name="T10" fmla="*/ 3612 w 3622"/>
              <a:gd name="T11" fmla="*/ 68 h 608"/>
              <a:gd name="T12" fmla="*/ 3604 w 3622"/>
              <a:gd name="T13" fmla="*/ 94 h 608"/>
              <a:gd name="T14" fmla="*/ 3596 w 3622"/>
              <a:gd name="T15" fmla="*/ 122 h 608"/>
              <a:gd name="T16" fmla="*/ 3584 w 3622"/>
              <a:gd name="T17" fmla="*/ 150 h 608"/>
              <a:gd name="T18" fmla="*/ 3568 w 3622"/>
              <a:gd name="T19" fmla="*/ 178 h 608"/>
              <a:gd name="T20" fmla="*/ 3550 w 3622"/>
              <a:gd name="T21" fmla="*/ 206 h 608"/>
              <a:gd name="T22" fmla="*/ 3526 w 3622"/>
              <a:gd name="T23" fmla="*/ 232 h 608"/>
              <a:gd name="T24" fmla="*/ 3514 w 3622"/>
              <a:gd name="T25" fmla="*/ 246 h 608"/>
              <a:gd name="T26" fmla="*/ 3498 w 3622"/>
              <a:gd name="T27" fmla="*/ 258 h 608"/>
              <a:gd name="T28" fmla="*/ 3484 w 3622"/>
              <a:gd name="T29" fmla="*/ 268 h 608"/>
              <a:gd name="T30" fmla="*/ 3466 w 3622"/>
              <a:gd name="T31" fmla="*/ 280 h 608"/>
              <a:gd name="T32" fmla="*/ 3448 w 3622"/>
              <a:gd name="T33" fmla="*/ 288 h 608"/>
              <a:gd name="T34" fmla="*/ 3430 w 3622"/>
              <a:gd name="T35" fmla="*/ 298 h 608"/>
              <a:gd name="T36" fmla="*/ 3410 w 3622"/>
              <a:gd name="T37" fmla="*/ 304 h 608"/>
              <a:gd name="T38" fmla="*/ 3386 w 3622"/>
              <a:gd name="T39" fmla="*/ 310 h 608"/>
              <a:gd name="T40" fmla="*/ 3364 w 3622"/>
              <a:gd name="T41" fmla="*/ 316 h 608"/>
              <a:gd name="T42" fmla="*/ 3338 w 3622"/>
              <a:gd name="T43" fmla="*/ 318 h 608"/>
              <a:gd name="T44" fmla="*/ 3338 w 3622"/>
              <a:gd name="T45" fmla="*/ 318 h 608"/>
              <a:gd name="T46" fmla="*/ 0 w 3622"/>
              <a:gd name="T47" fmla="*/ 608 h 608"/>
              <a:gd name="T48" fmla="*/ 3622 w 3622"/>
              <a:gd name="T49" fmla="*/ 608 h 608"/>
              <a:gd name="connsiteX0" fmla="*/ 10000 w 10000"/>
              <a:gd name="connsiteY0" fmla="*/ 10000 h 10000"/>
              <a:gd name="connsiteX1" fmla="*/ 10000 w 10000"/>
              <a:gd name="connsiteY1" fmla="*/ 0 h 10000"/>
              <a:gd name="connsiteX2" fmla="*/ 10000 w 10000"/>
              <a:gd name="connsiteY2" fmla="*/ 0 h 10000"/>
              <a:gd name="connsiteX3" fmla="*/ 10000 w 10000"/>
              <a:gd name="connsiteY3" fmla="*/ 230 h 10000"/>
              <a:gd name="connsiteX4" fmla="*/ 9983 w 10000"/>
              <a:gd name="connsiteY4" fmla="*/ 757 h 10000"/>
              <a:gd name="connsiteX5" fmla="*/ 9972 w 10000"/>
              <a:gd name="connsiteY5" fmla="*/ 1118 h 10000"/>
              <a:gd name="connsiteX6" fmla="*/ 9950 w 10000"/>
              <a:gd name="connsiteY6" fmla="*/ 1546 h 10000"/>
              <a:gd name="connsiteX7" fmla="*/ 9928 w 10000"/>
              <a:gd name="connsiteY7" fmla="*/ 2007 h 10000"/>
              <a:gd name="connsiteX8" fmla="*/ 9895 w 10000"/>
              <a:gd name="connsiteY8" fmla="*/ 2467 h 10000"/>
              <a:gd name="connsiteX9" fmla="*/ 9851 w 10000"/>
              <a:gd name="connsiteY9" fmla="*/ 2928 h 10000"/>
              <a:gd name="connsiteX10" fmla="*/ 9801 w 10000"/>
              <a:gd name="connsiteY10" fmla="*/ 3388 h 10000"/>
              <a:gd name="connsiteX11" fmla="*/ 9735 w 10000"/>
              <a:gd name="connsiteY11" fmla="*/ 3816 h 10000"/>
              <a:gd name="connsiteX12" fmla="*/ 9702 w 10000"/>
              <a:gd name="connsiteY12" fmla="*/ 4046 h 10000"/>
              <a:gd name="connsiteX13" fmla="*/ 9658 w 10000"/>
              <a:gd name="connsiteY13" fmla="*/ 4243 h 10000"/>
              <a:gd name="connsiteX14" fmla="*/ 9619 w 10000"/>
              <a:gd name="connsiteY14" fmla="*/ 4408 h 10000"/>
              <a:gd name="connsiteX15" fmla="*/ 9569 w 10000"/>
              <a:gd name="connsiteY15" fmla="*/ 4605 h 10000"/>
              <a:gd name="connsiteX16" fmla="*/ 9520 w 10000"/>
              <a:gd name="connsiteY16" fmla="*/ 4737 h 10000"/>
              <a:gd name="connsiteX17" fmla="*/ 9470 w 10000"/>
              <a:gd name="connsiteY17" fmla="*/ 4901 h 10000"/>
              <a:gd name="connsiteX18" fmla="*/ 9415 w 10000"/>
              <a:gd name="connsiteY18" fmla="*/ 5000 h 10000"/>
              <a:gd name="connsiteX19" fmla="*/ 9348 w 10000"/>
              <a:gd name="connsiteY19" fmla="*/ 5099 h 10000"/>
              <a:gd name="connsiteX20" fmla="*/ 9288 w 10000"/>
              <a:gd name="connsiteY20" fmla="*/ 5197 h 10000"/>
              <a:gd name="connsiteX21" fmla="*/ 9216 w 10000"/>
              <a:gd name="connsiteY21" fmla="*/ 5230 h 10000"/>
              <a:gd name="connsiteX22" fmla="*/ 9216 w 10000"/>
              <a:gd name="connsiteY22" fmla="*/ 5230 h 10000"/>
              <a:gd name="connsiteX23" fmla="*/ 1190 w 10000"/>
              <a:gd name="connsiteY23" fmla="*/ 9414 h 10000"/>
              <a:gd name="connsiteX24" fmla="*/ 0 w 10000"/>
              <a:gd name="connsiteY24" fmla="*/ 10000 h 10000"/>
              <a:gd name="connsiteX25" fmla="*/ 10000 w 10000"/>
              <a:gd name="connsiteY25" fmla="*/ 10000 h 10000"/>
              <a:gd name="connsiteX0" fmla="*/ 10000 w 10000"/>
              <a:gd name="connsiteY0" fmla="*/ 10000 h 10011"/>
              <a:gd name="connsiteX1" fmla="*/ 10000 w 10000"/>
              <a:gd name="connsiteY1" fmla="*/ 0 h 10011"/>
              <a:gd name="connsiteX2" fmla="*/ 10000 w 10000"/>
              <a:gd name="connsiteY2" fmla="*/ 0 h 10011"/>
              <a:gd name="connsiteX3" fmla="*/ 10000 w 10000"/>
              <a:gd name="connsiteY3" fmla="*/ 230 h 10011"/>
              <a:gd name="connsiteX4" fmla="*/ 9983 w 10000"/>
              <a:gd name="connsiteY4" fmla="*/ 757 h 10011"/>
              <a:gd name="connsiteX5" fmla="*/ 9972 w 10000"/>
              <a:gd name="connsiteY5" fmla="*/ 1118 h 10011"/>
              <a:gd name="connsiteX6" fmla="*/ 9950 w 10000"/>
              <a:gd name="connsiteY6" fmla="*/ 1546 h 10011"/>
              <a:gd name="connsiteX7" fmla="*/ 9928 w 10000"/>
              <a:gd name="connsiteY7" fmla="*/ 2007 h 10011"/>
              <a:gd name="connsiteX8" fmla="*/ 9895 w 10000"/>
              <a:gd name="connsiteY8" fmla="*/ 2467 h 10011"/>
              <a:gd name="connsiteX9" fmla="*/ 9851 w 10000"/>
              <a:gd name="connsiteY9" fmla="*/ 2928 h 10011"/>
              <a:gd name="connsiteX10" fmla="*/ 9801 w 10000"/>
              <a:gd name="connsiteY10" fmla="*/ 3388 h 10011"/>
              <a:gd name="connsiteX11" fmla="*/ 9735 w 10000"/>
              <a:gd name="connsiteY11" fmla="*/ 3816 h 10011"/>
              <a:gd name="connsiteX12" fmla="*/ 9702 w 10000"/>
              <a:gd name="connsiteY12" fmla="*/ 4046 h 10011"/>
              <a:gd name="connsiteX13" fmla="*/ 9658 w 10000"/>
              <a:gd name="connsiteY13" fmla="*/ 4243 h 10011"/>
              <a:gd name="connsiteX14" fmla="*/ 9619 w 10000"/>
              <a:gd name="connsiteY14" fmla="*/ 4408 h 10011"/>
              <a:gd name="connsiteX15" fmla="*/ 9569 w 10000"/>
              <a:gd name="connsiteY15" fmla="*/ 4605 h 10011"/>
              <a:gd name="connsiteX16" fmla="*/ 9520 w 10000"/>
              <a:gd name="connsiteY16" fmla="*/ 4737 h 10011"/>
              <a:gd name="connsiteX17" fmla="*/ 9470 w 10000"/>
              <a:gd name="connsiteY17" fmla="*/ 4901 h 10011"/>
              <a:gd name="connsiteX18" fmla="*/ 9415 w 10000"/>
              <a:gd name="connsiteY18" fmla="*/ 5000 h 10011"/>
              <a:gd name="connsiteX19" fmla="*/ 9348 w 10000"/>
              <a:gd name="connsiteY19" fmla="*/ 5099 h 10011"/>
              <a:gd name="connsiteX20" fmla="*/ 9288 w 10000"/>
              <a:gd name="connsiteY20" fmla="*/ 5197 h 10011"/>
              <a:gd name="connsiteX21" fmla="*/ 9216 w 10000"/>
              <a:gd name="connsiteY21" fmla="*/ 5230 h 10011"/>
              <a:gd name="connsiteX22" fmla="*/ 9216 w 10000"/>
              <a:gd name="connsiteY22" fmla="*/ 5230 h 10011"/>
              <a:gd name="connsiteX23" fmla="*/ 1190 w 10000"/>
              <a:gd name="connsiteY23" fmla="*/ 9414 h 10011"/>
              <a:gd name="connsiteX24" fmla="*/ 0 w 10000"/>
              <a:gd name="connsiteY24" fmla="*/ 10000 h 10011"/>
              <a:gd name="connsiteX25" fmla="*/ 1185 w 10000"/>
              <a:gd name="connsiteY25" fmla="*/ 10011 h 10011"/>
              <a:gd name="connsiteX26" fmla="*/ 10000 w 10000"/>
              <a:gd name="connsiteY26" fmla="*/ 10000 h 10011"/>
              <a:gd name="connsiteX0" fmla="*/ 8815 w 8815"/>
              <a:gd name="connsiteY0" fmla="*/ 10000 h 10011"/>
              <a:gd name="connsiteX1" fmla="*/ 8815 w 8815"/>
              <a:gd name="connsiteY1" fmla="*/ 0 h 10011"/>
              <a:gd name="connsiteX2" fmla="*/ 8815 w 8815"/>
              <a:gd name="connsiteY2" fmla="*/ 0 h 10011"/>
              <a:gd name="connsiteX3" fmla="*/ 8815 w 8815"/>
              <a:gd name="connsiteY3" fmla="*/ 230 h 10011"/>
              <a:gd name="connsiteX4" fmla="*/ 8798 w 8815"/>
              <a:gd name="connsiteY4" fmla="*/ 757 h 10011"/>
              <a:gd name="connsiteX5" fmla="*/ 8787 w 8815"/>
              <a:gd name="connsiteY5" fmla="*/ 1118 h 10011"/>
              <a:gd name="connsiteX6" fmla="*/ 8765 w 8815"/>
              <a:gd name="connsiteY6" fmla="*/ 1546 h 10011"/>
              <a:gd name="connsiteX7" fmla="*/ 8743 w 8815"/>
              <a:gd name="connsiteY7" fmla="*/ 2007 h 10011"/>
              <a:gd name="connsiteX8" fmla="*/ 8710 w 8815"/>
              <a:gd name="connsiteY8" fmla="*/ 2467 h 10011"/>
              <a:gd name="connsiteX9" fmla="*/ 8666 w 8815"/>
              <a:gd name="connsiteY9" fmla="*/ 2928 h 10011"/>
              <a:gd name="connsiteX10" fmla="*/ 8616 w 8815"/>
              <a:gd name="connsiteY10" fmla="*/ 3388 h 10011"/>
              <a:gd name="connsiteX11" fmla="*/ 8550 w 8815"/>
              <a:gd name="connsiteY11" fmla="*/ 3816 h 10011"/>
              <a:gd name="connsiteX12" fmla="*/ 8517 w 8815"/>
              <a:gd name="connsiteY12" fmla="*/ 4046 h 10011"/>
              <a:gd name="connsiteX13" fmla="*/ 8473 w 8815"/>
              <a:gd name="connsiteY13" fmla="*/ 4243 h 10011"/>
              <a:gd name="connsiteX14" fmla="*/ 8434 w 8815"/>
              <a:gd name="connsiteY14" fmla="*/ 4408 h 10011"/>
              <a:gd name="connsiteX15" fmla="*/ 8384 w 8815"/>
              <a:gd name="connsiteY15" fmla="*/ 4605 h 10011"/>
              <a:gd name="connsiteX16" fmla="*/ 8335 w 8815"/>
              <a:gd name="connsiteY16" fmla="*/ 4737 h 10011"/>
              <a:gd name="connsiteX17" fmla="*/ 8285 w 8815"/>
              <a:gd name="connsiteY17" fmla="*/ 4901 h 10011"/>
              <a:gd name="connsiteX18" fmla="*/ 8230 w 8815"/>
              <a:gd name="connsiteY18" fmla="*/ 5000 h 10011"/>
              <a:gd name="connsiteX19" fmla="*/ 8163 w 8815"/>
              <a:gd name="connsiteY19" fmla="*/ 5099 h 10011"/>
              <a:gd name="connsiteX20" fmla="*/ 8103 w 8815"/>
              <a:gd name="connsiteY20" fmla="*/ 5197 h 10011"/>
              <a:gd name="connsiteX21" fmla="*/ 8031 w 8815"/>
              <a:gd name="connsiteY21" fmla="*/ 5230 h 10011"/>
              <a:gd name="connsiteX22" fmla="*/ 8031 w 8815"/>
              <a:gd name="connsiteY22" fmla="*/ 5230 h 10011"/>
              <a:gd name="connsiteX23" fmla="*/ 5 w 8815"/>
              <a:gd name="connsiteY23" fmla="*/ 9414 h 10011"/>
              <a:gd name="connsiteX24" fmla="*/ 0 w 8815"/>
              <a:gd name="connsiteY24" fmla="*/ 10011 h 10011"/>
              <a:gd name="connsiteX25" fmla="*/ 8815 w 8815"/>
              <a:gd name="connsiteY25" fmla="*/ 10000 h 10011"/>
              <a:gd name="connsiteX0" fmla="*/ 9996 w 9996"/>
              <a:gd name="connsiteY0" fmla="*/ 9989 h 10000"/>
              <a:gd name="connsiteX1" fmla="*/ 9996 w 9996"/>
              <a:gd name="connsiteY1" fmla="*/ 0 h 10000"/>
              <a:gd name="connsiteX2" fmla="*/ 9996 w 9996"/>
              <a:gd name="connsiteY2" fmla="*/ 0 h 10000"/>
              <a:gd name="connsiteX3" fmla="*/ 9996 w 9996"/>
              <a:gd name="connsiteY3" fmla="*/ 230 h 10000"/>
              <a:gd name="connsiteX4" fmla="*/ 9977 w 9996"/>
              <a:gd name="connsiteY4" fmla="*/ 756 h 10000"/>
              <a:gd name="connsiteX5" fmla="*/ 9964 w 9996"/>
              <a:gd name="connsiteY5" fmla="*/ 1117 h 10000"/>
              <a:gd name="connsiteX6" fmla="*/ 9939 w 9996"/>
              <a:gd name="connsiteY6" fmla="*/ 1544 h 10000"/>
              <a:gd name="connsiteX7" fmla="*/ 9914 w 9996"/>
              <a:gd name="connsiteY7" fmla="*/ 2005 h 10000"/>
              <a:gd name="connsiteX8" fmla="*/ 9877 w 9996"/>
              <a:gd name="connsiteY8" fmla="*/ 2464 h 10000"/>
              <a:gd name="connsiteX9" fmla="*/ 9827 w 9996"/>
              <a:gd name="connsiteY9" fmla="*/ 2925 h 10000"/>
              <a:gd name="connsiteX10" fmla="*/ 9770 w 9996"/>
              <a:gd name="connsiteY10" fmla="*/ 3384 h 10000"/>
              <a:gd name="connsiteX11" fmla="*/ 9695 w 9996"/>
              <a:gd name="connsiteY11" fmla="*/ 3812 h 10000"/>
              <a:gd name="connsiteX12" fmla="*/ 9658 w 9996"/>
              <a:gd name="connsiteY12" fmla="*/ 4042 h 10000"/>
              <a:gd name="connsiteX13" fmla="*/ 9608 w 9996"/>
              <a:gd name="connsiteY13" fmla="*/ 4238 h 10000"/>
              <a:gd name="connsiteX14" fmla="*/ 9564 w 9996"/>
              <a:gd name="connsiteY14" fmla="*/ 4403 h 10000"/>
              <a:gd name="connsiteX15" fmla="*/ 9507 w 9996"/>
              <a:gd name="connsiteY15" fmla="*/ 4600 h 10000"/>
              <a:gd name="connsiteX16" fmla="*/ 9451 w 9996"/>
              <a:gd name="connsiteY16" fmla="*/ 4732 h 10000"/>
              <a:gd name="connsiteX17" fmla="*/ 9395 w 9996"/>
              <a:gd name="connsiteY17" fmla="*/ 4896 h 10000"/>
              <a:gd name="connsiteX18" fmla="*/ 9332 w 9996"/>
              <a:gd name="connsiteY18" fmla="*/ 4995 h 10000"/>
              <a:gd name="connsiteX19" fmla="*/ 9256 w 9996"/>
              <a:gd name="connsiteY19" fmla="*/ 5093 h 10000"/>
              <a:gd name="connsiteX20" fmla="*/ 9188 w 9996"/>
              <a:gd name="connsiteY20" fmla="*/ 5191 h 10000"/>
              <a:gd name="connsiteX21" fmla="*/ 9107 w 9996"/>
              <a:gd name="connsiteY21" fmla="*/ 5224 h 10000"/>
              <a:gd name="connsiteX22" fmla="*/ 9107 w 9996"/>
              <a:gd name="connsiteY22" fmla="*/ 5224 h 10000"/>
              <a:gd name="connsiteX23" fmla="*/ 2 w 9996"/>
              <a:gd name="connsiteY23" fmla="*/ 9404 h 10000"/>
              <a:gd name="connsiteX24" fmla="*/ 0 w 9996"/>
              <a:gd name="connsiteY24" fmla="*/ 10000 h 10000"/>
              <a:gd name="connsiteX25" fmla="*/ 9996 w 9996"/>
              <a:gd name="connsiteY25" fmla="*/ 9989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9996" h="10000">
                <a:moveTo>
                  <a:pt x="9996" y="9989"/>
                </a:moveTo>
                <a:lnTo>
                  <a:pt x="9996" y="0"/>
                </a:lnTo>
                <a:lnTo>
                  <a:pt x="9996" y="0"/>
                </a:lnTo>
                <a:lnTo>
                  <a:pt x="9996" y="230"/>
                </a:lnTo>
                <a:cubicBezTo>
                  <a:pt x="9989" y="406"/>
                  <a:pt x="9984" y="580"/>
                  <a:pt x="9977" y="756"/>
                </a:cubicBezTo>
                <a:cubicBezTo>
                  <a:pt x="9972" y="876"/>
                  <a:pt x="9969" y="997"/>
                  <a:pt x="9964" y="1117"/>
                </a:cubicBezTo>
                <a:cubicBezTo>
                  <a:pt x="9956" y="1260"/>
                  <a:pt x="9947" y="1401"/>
                  <a:pt x="9939" y="1544"/>
                </a:cubicBezTo>
                <a:cubicBezTo>
                  <a:pt x="9931" y="1698"/>
                  <a:pt x="9922" y="1851"/>
                  <a:pt x="9914" y="2005"/>
                </a:cubicBezTo>
                <a:cubicBezTo>
                  <a:pt x="9902" y="2158"/>
                  <a:pt x="9889" y="2311"/>
                  <a:pt x="9877" y="2464"/>
                </a:cubicBezTo>
                <a:cubicBezTo>
                  <a:pt x="9860" y="2618"/>
                  <a:pt x="9844" y="2771"/>
                  <a:pt x="9827" y="2925"/>
                </a:cubicBezTo>
                <a:cubicBezTo>
                  <a:pt x="9808" y="3078"/>
                  <a:pt x="9790" y="3231"/>
                  <a:pt x="9770" y="3384"/>
                </a:cubicBezTo>
                <a:cubicBezTo>
                  <a:pt x="9745" y="3527"/>
                  <a:pt x="9720" y="3669"/>
                  <a:pt x="9695" y="3812"/>
                </a:cubicBezTo>
                <a:cubicBezTo>
                  <a:pt x="9683" y="3889"/>
                  <a:pt x="9670" y="3965"/>
                  <a:pt x="9658" y="4042"/>
                </a:cubicBezTo>
                <a:cubicBezTo>
                  <a:pt x="9641" y="4107"/>
                  <a:pt x="9625" y="4172"/>
                  <a:pt x="9608" y="4238"/>
                </a:cubicBezTo>
                <a:cubicBezTo>
                  <a:pt x="9593" y="4293"/>
                  <a:pt x="9579" y="4348"/>
                  <a:pt x="9564" y="4403"/>
                </a:cubicBezTo>
                <a:cubicBezTo>
                  <a:pt x="9544" y="4469"/>
                  <a:pt x="9526" y="4534"/>
                  <a:pt x="9507" y="4600"/>
                </a:cubicBezTo>
                <a:cubicBezTo>
                  <a:pt x="9489" y="4644"/>
                  <a:pt x="9470" y="4688"/>
                  <a:pt x="9451" y="4732"/>
                </a:cubicBezTo>
                <a:cubicBezTo>
                  <a:pt x="9432" y="4787"/>
                  <a:pt x="9414" y="4841"/>
                  <a:pt x="9395" y="4896"/>
                </a:cubicBezTo>
                <a:lnTo>
                  <a:pt x="9332" y="4995"/>
                </a:lnTo>
                <a:cubicBezTo>
                  <a:pt x="9307" y="5027"/>
                  <a:pt x="9281" y="5060"/>
                  <a:pt x="9256" y="5093"/>
                </a:cubicBezTo>
                <a:cubicBezTo>
                  <a:pt x="9234" y="5126"/>
                  <a:pt x="9211" y="5158"/>
                  <a:pt x="9188" y="5191"/>
                </a:cubicBezTo>
                <a:lnTo>
                  <a:pt x="9107" y="5224"/>
                </a:lnTo>
                <a:lnTo>
                  <a:pt x="9107" y="5224"/>
                </a:lnTo>
                <a:lnTo>
                  <a:pt x="2" y="9404"/>
                </a:lnTo>
                <a:cubicBezTo>
                  <a:pt x="-1" y="9602"/>
                  <a:pt x="2" y="9801"/>
                  <a:pt x="0" y="10000"/>
                </a:cubicBezTo>
                <a:lnTo>
                  <a:pt x="9996" y="9989"/>
                </a:lnTo>
                <a:close/>
              </a:path>
            </a:pathLst>
          </a:custGeom>
          <a:solidFill>
            <a:schemeClr val="accent6"/>
          </a:solidFill>
          <a:ln>
            <a:noFill/>
          </a:ln>
        </p:spPr>
        <p:txBody>
          <a:bodyPr vert="horz" wrap="square" lIns="133428" tIns="66715" rIns="133428" bIns="66715" numCol="1" anchor="t" anchorCtr="0" compatLnSpc="1">
            <a:prstTxWarp prst="textNoShape">
              <a:avLst/>
            </a:prstTxWarp>
          </a:bodyPr>
          <a:lstStyle/>
          <a:p>
            <a:pPr marL="0" marR="0" lvl="0" indent="0" algn="l" defTabSz="478835" rtl="0" eaLnBrk="1" fontAlgn="auto" latinLnBrk="0" hangingPunct="1">
              <a:lnSpc>
                <a:spcPct val="100000"/>
              </a:lnSpc>
              <a:spcBef>
                <a:spcPts val="0"/>
              </a:spcBef>
              <a:spcAft>
                <a:spcPts val="0"/>
              </a:spcAft>
              <a:buClrTx/>
              <a:buSzTx/>
              <a:buFontTx/>
              <a:buNone/>
              <a:tabLst/>
              <a:defRPr/>
            </a:pPr>
            <a:endParaRPr kumimoji="1" lang="ja-JP" altLang="en-US" sz="2533"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endParaRPr>
          </a:p>
        </p:txBody>
      </p:sp>
      <p:sp>
        <p:nvSpPr>
          <p:cNvPr id="2" name="タイトル 1"/>
          <p:cNvSpPr>
            <a:spLocks noGrp="1"/>
          </p:cNvSpPr>
          <p:nvPr>
            <p:ph type="title"/>
          </p:nvPr>
        </p:nvSpPr>
        <p:spPr>
          <a:xfrm>
            <a:off x="368550" y="1959102"/>
            <a:ext cx="11451591" cy="540000"/>
          </a:xfrm>
          <a:prstGeom prst="rect">
            <a:avLst/>
          </a:prstGeom>
        </p:spPr>
        <p:txBody>
          <a:bodyPr lIns="95767" tIns="47884" rIns="95767" bIns="47884"/>
          <a:lstStyle>
            <a:lvl1pPr>
              <a:defRPr sz="3200">
                <a:latin typeface="Meiryo UI" panose="020B0604030504040204" pitchFamily="50" charset="-128"/>
                <a:ea typeface="Meiryo UI" panose="020B0604030504040204" pitchFamily="50" charset="-128"/>
              </a:defRPr>
            </a:lvl1pPr>
          </a:lstStyle>
          <a:p>
            <a:r>
              <a:rPr kumimoji="1" lang="ja-JP" altLang="en-US"/>
              <a:t>マスター タイトルの書式設定</a:t>
            </a:r>
          </a:p>
        </p:txBody>
      </p:sp>
      <p:sp>
        <p:nvSpPr>
          <p:cNvPr id="6" name="スライド番号プレースホルダー 5"/>
          <p:cNvSpPr>
            <a:spLocks noGrp="1"/>
          </p:cNvSpPr>
          <p:nvPr>
            <p:ph type="sldNum" sz="quarter" idx="12"/>
          </p:nvPr>
        </p:nvSpPr>
        <p:spPr>
          <a:xfrm>
            <a:off x="11524630" y="6468878"/>
            <a:ext cx="555811" cy="289299"/>
          </a:xfrm>
          <a:prstGeom prst="rect">
            <a:avLst/>
          </a:prstGeom>
        </p:spPr>
        <p:txBody>
          <a:bodyPr lIns="95767" tIns="47884" rIns="95767" bIns="47884"/>
          <a:lstStyle>
            <a:lvl1pPr algn="r">
              <a:defRPr sz="1050">
                <a:latin typeface="Meiryo UI" panose="020B0604030504040204" pitchFamily="50" charset="-128"/>
                <a:ea typeface="Meiryo UI" panose="020B0604030504040204" pitchFamily="50" charset="-128"/>
              </a:defRPr>
            </a:lvl1pPr>
          </a:lstStyle>
          <a:p>
            <a:pPr marL="0" marR="0" lvl="0" indent="0" algn="r" defTabSz="478835" rtl="0" eaLnBrk="1" fontAlgn="auto" latinLnBrk="0" hangingPunct="1">
              <a:lnSpc>
                <a:spcPct val="100000"/>
              </a:lnSpc>
              <a:spcBef>
                <a:spcPts val="0"/>
              </a:spcBef>
              <a:spcAft>
                <a:spcPts val="0"/>
              </a:spcAft>
              <a:buClrTx/>
              <a:buSzTx/>
              <a:buFontTx/>
              <a:buNone/>
              <a:tabLst/>
              <a:defRPr/>
            </a:pPr>
            <a:fld id="{2FF5E1DE-7B95-8A44-8552-65323269AE41}" type="slidenum">
              <a:rPr kumimoji="1" lang="ja-JP" altLang="en-US" sz="1050" b="0" i="0" u="none" strike="noStrike" kern="1200" cap="none" spc="0" normalizeH="0" baseline="0" noProof="0" smtClean="0">
                <a:ln>
                  <a:noFill/>
                </a:ln>
                <a:solidFill>
                  <a:srgbClr val="000000"/>
                </a:solidFill>
                <a:effectLst/>
                <a:uLnTx/>
                <a:uFillTx/>
                <a:latin typeface="Meiryo UI" panose="020B0604030504040204" pitchFamily="50" charset="-128"/>
                <a:ea typeface="Meiryo UI" panose="020B0604030504040204" pitchFamily="50" charset="-128"/>
                <a:cs typeface="+mn-cs"/>
              </a:rPr>
              <a:pPr marL="0" marR="0" lvl="0" indent="0" algn="r" defTabSz="478835" rtl="0" eaLnBrk="1" fontAlgn="auto" latinLnBrk="0" hangingPunct="1">
                <a:lnSpc>
                  <a:spcPct val="100000"/>
                </a:lnSpc>
                <a:spcBef>
                  <a:spcPts val="0"/>
                </a:spcBef>
                <a:spcAft>
                  <a:spcPts val="0"/>
                </a:spcAft>
                <a:buClrTx/>
                <a:buSzTx/>
                <a:buFontTx/>
                <a:buNone/>
                <a:tabLst/>
                <a:defRPr/>
              </a:pPr>
              <a:t>‹#›</a:t>
            </a:fld>
            <a:endParaRPr kumimoji="1" lang="ja-JP" altLang="en-US" sz="105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endParaRPr>
          </a:p>
        </p:txBody>
      </p:sp>
      <p:pic>
        <p:nvPicPr>
          <p:cNvPr id="8" name="Picture 2" descr="K:\新ロゴ（データ一式）\DLH_3_EN.png"/>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11038066" y="-34312"/>
            <a:ext cx="973128" cy="90043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89684112"/>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obj" preserve="1">
  <p:cSld name="26_タイトルとコンテンツ">
    <p:spTree>
      <p:nvGrpSpPr>
        <p:cNvPr id="1" name=""/>
        <p:cNvGrpSpPr/>
        <p:nvPr/>
      </p:nvGrpSpPr>
      <p:grpSpPr>
        <a:xfrm>
          <a:off x="0" y="0"/>
          <a:ext cx="0" cy="0"/>
          <a:chOff x="0" y="0"/>
          <a:chExt cx="0" cy="0"/>
        </a:xfrm>
      </p:grpSpPr>
      <p:sp>
        <p:nvSpPr>
          <p:cNvPr id="9" name="Freeform 8"/>
          <p:cNvSpPr>
            <a:spLocks/>
          </p:cNvSpPr>
          <p:nvPr userDrawn="1"/>
        </p:nvSpPr>
        <p:spPr bwMode="auto">
          <a:xfrm>
            <a:off x="-2100" y="5505984"/>
            <a:ext cx="12192504" cy="1353504"/>
          </a:xfrm>
          <a:custGeom>
            <a:avLst/>
            <a:gdLst>
              <a:gd name="T0" fmla="*/ 3622 w 3622"/>
              <a:gd name="T1" fmla="*/ 608 h 608"/>
              <a:gd name="T2" fmla="*/ 3622 w 3622"/>
              <a:gd name="T3" fmla="*/ 0 h 608"/>
              <a:gd name="T4" fmla="*/ 3622 w 3622"/>
              <a:gd name="T5" fmla="*/ 0 h 608"/>
              <a:gd name="T6" fmla="*/ 3622 w 3622"/>
              <a:gd name="T7" fmla="*/ 14 h 608"/>
              <a:gd name="T8" fmla="*/ 3616 w 3622"/>
              <a:gd name="T9" fmla="*/ 46 h 608"/>
              <a:gd name="T10" fmla="*/ 3612 w 3622"/>
              <a:gd name="T11" fmla="*/ 68 h 608"/>
              <a:gd name="T12" fmla="*/ 3604 w 3622"/>
              <a:gd name="T13" fmla="*/ 94 h 608"/>
              <a:gd name="T14" fmla="*/ 3596 w 3622"/>
              <a:gd name="T15" fmla="*/ 122 h 608"/>
              <a:gd name="T16" fmla="*/ 3584 w 3622"/>
              <a:gd name="T17" fmla="*/ 150 h 608"/>
              <a:gd name="T18" fmla="*/ 3568 w 3622"/>
              <a:gd name="T19" fmla="*/ 178 h 608"/>
              <a:gd name="T20" fmla="*/ 3550 w 3622"/>
              <a:gd name="T21" fmla="*/ 206 h 608"/>
              <a:gd name="T22" fmla="*/ 3526 w 3622"/>
              <a:gd name="T23" fmla="*/ 232 h 608"/>
              <a:gd name="T24" fmla="*/ 3514 w 3622"/>
              <a:gd name="T25" fmla="*/ 246 h 608"/>
              <a:gd name="T26" fmla="*/ 3498 w 3622"/>
              <a:gd name="T27" fmla="*/ 258 h 608"/>
              <a:gd name="T28" fmla="*/ 3484 w 3622"/>
              <a:gd name="T29" fmla="*/ 268 h 608"/>
              <a:gd name="T30" fmla="*/ 3466 w 3622"/>
              <a:gd name="T31" fmla="*/ 280 h 608"/>
              <a:gd name="T32" fmla="*/ 3448 w 3622"/>
              <a:gd name="T33" fmla="*/ 288 h 608"/>
              <a:gd name="T34" fmla="*/ 3430 w 3622"/>
              <a:gd name="T35" fmla="*/ 298 h 608"/>
              <a:gd name="T36" fmla="*/ 3410 w 3622"/>
              <a:gd name="T37" fmla="*/ 304 h 608"/>
              <a:gd name="T38" fmla="*/ 3386 w 3622"/>
              <a:gd name="T39" fmla="*/ 310 h 608"/>
              <a:gd name="T40" fmla="*/ 3364 w 3622"/>
              <a:gd name="T41" fmla="*/ 316 h 608"/>
              <a:gd name="T42" fmla="*/ 3338 w 3622"/>
              <a:gd name="T43" fmla="*/ 318 h 608"/>
              <a:gd name="T44" fmla="*/ 3338 w 3622"/>
              <a:gd name="T45" fmla="*/ 318 h 608"/>
              <a:gd name="T46" fmla="*/ 0 w 3622"/>
              <a:gd name="T47" fmla="*/ 608 h 608"/>
              <a:gd name="T48" fmla="*/ 3622 w 3622"/>
              <a:gd name="T49" fmla="*/ 608 h 608"/>
              <a:gd name="connsiteX0" fmla="*/ 10000 w 10000"/>
              <a:gd name="connsiteY0" fmla="*/ 10000 h 10000"/>
              <a:gd name="connsiteX1" fmla="*/ 10000 w 10000"/>
              <a:gd name="connsiteY1" fmla="*/ 0 h 10000"/>
              <a:gd name="connsiteX2" fmla="*/ 10000 w 10000"/>
              <a:gd name="connsiteY2" fmla="*/ 0 h 10000"/>
              <a:gd name="connsiteX3" fmla="*/ 10000 w 10000"/>
              <a:gd name="connsiteY3" fmla="*/ 230 h 10000"/>
              <a:gd name="connsiteX4" fmla="*/ 9983 w 10000"/>
              <a:gd name="connsiteY4" fmla="*/ 757 h 10000"/>
              <a:gd name="connsiteX5" fmla="*/ 9972 w 10000"/>
              <a:gd name="connsiteY5" fmla="*/ 1118 h 10000"/>
              <a:gd name="connsiteX6" fmla="*/ 9950 w 10000"/>
              <a:gd name="connsiteY6" fmla="*/ 1546 h 10000"/>
              <a:gd name="connsiteX7" fmla="*/ 9928 w 10000"/>
              <a:gd name="connsiteY7" fmla="*/ 2007 h 10000"/>
              <a:gd name="connsiteX8" fmla="*/ 9895 w 10000"/>
              <a:gd name="connsiteY8" fmla="*/ 2467 h 10000"/>
              <a:gd name="connsiteX9" fmla="*/ 9851 w 10000"/>
              <a:gd name="connsiteY9" fmla="*/ 2928 h 10000"/>
              <a:gd name="connsiteX10" fmla="*/ 9801 w 10000"/>
              <a:gd name="connsiteY10" fmla="*/ 3388 h 10000"/>
              <a:gd name="connsiteX11" fmla="*/ 9735 w 10000"/>
              <a:gd name="connsiteY11" fmla="*/ 3816 h 10000"/>
              <a:gd name="connsiteX12" fmla="*/ 9702 w 10000"/>
              <a:gd name="connsiteY12" fmla="*/ 4046 h 10000"/>
              <a:gd name="connsiteX13" fmla="*/ 9658 w 10000"/>
              <a:gd name="connsiteY13" fmla="*/ 4243 h 10000"/>
              <a:gd name="connsiteX14" fmla="*/ 9619 w 10000"/>
              <a:gd name="connsiteY14" fmla="*/ 4408 h 10000"/>
              <a:gd name="connsiteX15" fmla="*/ 9569 w 10000"/>
              <a:gd name="connsiteY15" fmla="*/ 4605 h 10000"/>
              <a:gd name="connsiteX16" fmla="*/ 9520 w 10000"/>
              <a:gd name="connsiteY16" fmla="*/ 4737 h 10000"/>
              <a:gd name="connsiteX17" fmla="*/ 9470 w 10000"/>
              <a:gd name="connsiteY17" fmla="*/ 4901 h 10000"/>
              <a:gd name="connsiteX18" fmla="*/ 9415 w 10000"/>
              <a:gd name="connsiteY18" fmla="*/ 5000 h 10000"/>
              <a:gd name="connsiteX19" fmla="*/ 9348 w 10000"/>
              <a:gd name="connsiteY19" fmla="*/ 5099 h 10000"/>
              <a:gd name="connsiteX20" fmla="*/ 9288 w 10000"/>
              <a:gd name="connsiteY20" fmla="*/ 5197 h 10000"/>
              <a:gd name="connsiteX21" fmla="*/ 9216 w 10000"/>
              <a:gd name="connsiteY21" fmla="*/ 5230 h 10000"/>
              <a:gd name="connsiteX22" fmla="*/ 9216 w 10000"/>
              <a:gd name="connsiteY22" fmla="*/ 5230 h 10000"/>
              <a:gd name="connsiteX23" fmla="*/ 1190 w 10000"/>
              <a:gd name="connsiteY23" fmla="*/ 9414 h 10000"/>
              <a:gd name="connsiteX24" fmla="*/ 0 w 10000"/>
              <a:gd name="connsiteY24" fmla="*/ 10000 h 10000"/>
              <a:gd name="connsiteX25" fmla="*/ 10000 w 10000"/>
              <a:gd name="connsiteY25" fmla="*/ 10000 h 10000"/>
              <a:gd name="connsiteX0" fmla="*/ 10000 w 10000"/>
              <a:gd name="connsiteY0" fmla="*/ 10000 h 10011"/>
              <a:gd name="connsiteX1" fmla="*/ 10000 w 10000"/>
              <a:gd name="connsiteY1" fmla="*/ 0 h 10011"/>
              <a:gd name="connsiteX2" fmla="*/ 10000 w 10000"/>
              <a:gd name="connsiteY2" fmla="*/ 0 h 10011"/>
              <a:gd name="connsiteX3" fmla="*/ 10000 w 10000"/>
              <a:gd name="connsiteY3" fmla="*/ 230 h 10011"/>
              <a:gd name="connsiteX4" fmla="*/ 9983 w 10000"/>
              <a:gd name="connsiteY4" fmla="*/ 757 h 10011"/>
              <a:gd name="connsiteX5" fmla="*/ 9972 w 10000"/>
              <a:gd name="connsiteY5" fmla="*/ 1118 h 10011"/>
              <a:gd name="connsiteX6" fmla="*/ 9950 w 10000"/>
              <a:gd name="connsiteY6" fmla="*/ 1546 h 10011"/>
              <a:gd name="connsiteX7" fmla="*/ 9928 w 10000"/>
              <a:gd name="connsiteY7" fmla="*/ 2007 h 10011"/>
              <a:gd name="connsiteX8" fmla="*/ 9895 w 10000"/>
              <a:gd name="connsiteY8" fmla="*/ 2467 h 10011"/>
              <a:gd name="connsiteX9" fmla="*/ 9851 w 10000"/>
              <a:gd name="connsiteY9" fmla="*/ 2928 h 10011"/>
              <a:gd name="connsiteX10" fmla="*/ 9801 w 10000"/>
              <a:gd name="connsiteY10" fmla="*/ 3388 h 10011"/>
              <a:gd name="connsiteX11" fmla="*/ 9735 w 10000"/>
              <a:gd name="connsiteY11" fmla="*/ 3816 h 10011"/>
              <a:gd name="connsiteX12" fmla="*/ 9702 w 10000"/>
              <a:gd name="connsiteY12" fmla="*/ 4046 h 10011"/>
              <a:gd name="connsiteX13" fmla="*/ 9658 w 10000"/>
              <a:gd name="connsiteY13" fmla="*/ 4243 h 10011"/>
              <a:gd name="connsiteX14" fmla="*/ 9619 w 10000"/>
              <a:gd name="connsiteY14" fmla="*/ 4408 h 10011"/>
              <a:gd name="connsiteX15" fmla="*/ 9569 w 10000"/>
              <a:gd name="connsiteY15" fmla="*/ 4605 h 10011"/>
              <a:gd name="connsiteX16" fmla="*/ 9520 w 10000"/>
              <a:gd name="connsiteY16" fmla="*/ 4737 h 10011"/>
              <a:gd name="connsiteX17" fmla="*/ 9470 w 10000"/>
              <a:gd name="connsiteY17" fmla="*/ 4901 h 10011"/>
              <a:gd name="connsiteX18" fmla="*/ 9415 w 10000"/>
              <a:gd name="connsiteY18" fmla="*/ 5000 h 10011"/>
              <a:gd name="connsiteX19" fmla="*/ 9348 w 10000"/>
              <a:gd name="connsiteY19" fmla="*/ 5099 h 10011"/>
              <a:gd name="connsiteX20" fmla="*/ 9288 w 10000"/>
              <a:gd name="connsiteY20" fmla="*/ 5197 h 10011"/>
              <a:gd name="connsiteX21" fmla="*/ 9216 w 10000"/>
              <a:gd name="connsiteY21" fmla="*/ 5230 h 10011"/>
              <a:gd name="connsiteX22" fmla="*/ 9216 w 10000"/>
              <a:gd name="connsiteY22" fmla="*/ 5230 h 10011"/>
              <a:gd name="connsiteX23" fmla="*/ 1190 w 10000"/>
              <a:gd name="connsiteY23" fmla="*/ 9414 h 10011"/>
              <a:gd name="connsiteX24" fmla="*/ 0 w 10000"/>
              <a:gd name="connsiteY24" fmla="*/ 10000 h 10011"/>
              <a:gd name="connsiteX25" fmla="*/ 1185 w 10000"/>
              <a:gd name="connsiteY25" fmla="*/ 10011 h 10011"/>
              <a:gd name="connsiteX26" fmla="*/ 10000 w 10000"/>
              <a:gd name="connsiteY26" fmla="*/ 10000 h 10011"/>
              <a:gd name="connsiteX0" fmla="*/ 8815 w 8815"/>
              <a:gd name="connsiteY0" fmla="*/ 10000 h 10011"/>
              <a:gd name="connsiteX1" fmla="*/ 8815 w 8815"/>
              <a:gd name="connsiteY1" fmla="*/ 0 h 10011"/>
              <a:gd name="connsiteX2" fmla="*/ 8815 w 8815"/>
              <a:gd name="connsiteY2" fmla="*/ 0 h 10011"/>
              <a:gd name="connsiteX3" fmla="*/ 8815 w 8815"/>
              <a:gd name="connsiteY3" fmla="*/ 230 h 10011"/>
              <a:gd name="connsiteX4" fmla="*/ 8798 w 8815"/>
              <a:gd name="connsiteY4" fmla="*/ 757 h 10011"/>
              <a:gd name="connsiteX5" fmla="*/ 8787 w 8815"/>
              <a:gd name="connsiteY5" fmla="*/ 1118 h 10011"/>
              <a:gd name="connsiteX6" fmla="*/ 8765 w 8815"/>
              <a:gd name="connsiteY6" fmla="*/ 1546 h 10011"/>
              <a:gd name="connsiteX7" fmla="*/ 8743 w 8815"/>
              <a:gd name="connsiteY7" fmla="*/ 2007 h 10011"/>
              <a:gd name="connsiteX8" fmla="*/ 8710 w 8815"/>
              <a:gd name="connsiteY8" fmla="*/ 2467 h 10011"/>
              <a:gd name="connsiteX9" fmla="*/ 8666 w 8815"/>
              <a:gd name="connsiteY9" fmla="*/ 2928 h 10011"/>
              <a:gd name="connsiteX10" fmla="*/ 8616 w 8815"/>
              <a:gd name="connsiteY10" fmla="*/ 3388 h 10011"/>
              <a:gd name="connsiteX11" fmla="*/ 8550 w 8815"/>
              <a:gd name="connsiteY11" fmla="*/ 3816 h 10011"/>
              <a:gd name="connsiteX12" fmla="*/ 8517 w 8815"/>
              <a:gd name="connsiteY12" fmla="*/ 4046 h 10011"/>
              <a:gd name="connsiteX13" fmla="*/ 8473 w 8815"/>
              <a:gd name="connsiteY13" fmla="*/ 4243 h 10011"/>
              <a:gd name="connsiteX14" fmla="*/ 8434 w 8815"/>
              <a:gd name="connsiteY14" fmla="*/ 4408 h 10011"/>
              <a:gd name="connsiteX15" fmla="*/ 8384 w 8815"/>
              <a:gd name="connsiteY15" fmla="*/ 4605 h 10011"/>
              <a:gd name="connsiteX16" fmla="*/ 8335 w 8815"/>
              <a:gd name="connsiteY16" fmla="*/ 4737 h 10011"/>
              <a:gd name="connsiteX17" fmla="*/ 8285 w 8815"/>
              <a:gd name="connsiteY17" fmla="*/ 4901 h 10011"/>
              <a:gd name="connsiteX18" fmla="*/ 8230 w 8815"/>
              <a:gd name="connsiteY18" fmla="*/ 5000 h 10011"/>
              <a:gd name="connsiteX19" fmla="*/ 8163 w 8815"/>
              <a:gd name="connsiteY19" fmla="*/ 5099 h 10011"/>
              <a:gd name="connsiteX20" fmla="*/ 8103 w 8815"/>
              <a:gd name="connsiteY20" fmla="*/ 5197 h 10011"/>
              <a:gd name="connsiteX21" fmla="*/ 8031 w 8815"/>
              <a:gd name="connsiteY21" fmla="*/ 5230 h 10011"/>
              <a:gd name="connsiteX22" fmla="*/ 8031 w 8815"/>
              <a:gd name="connsiteY22" fmla="*/ 5230 h 10011"/>
              <a:gd name="connsiteX23" fmla="*/ 5 w 8815"/>
              <a:gd name="connsiteY23" fmla="*/ 9414 h 10011"/>
              <a:gd name="connsiteX24" fmla="*/ 0 w 8815"/>
              <a:gd name="connsiteY24" fmla="*/ 10011 h 10011"/>
              <a:gd name="connsiteX25" fmla="*/ 8815 w 8815"/>
              <a:gd name="connsiteY25" fmla="*/ 10000 h 10011"/>
              <a:gd name="connsiteX0" fmla="*/ 9996 w 9996"/>
              <a:gd name="connsiteY0" fmla="*/ 9989 h 10000"/>
              <a:gd name="connsiteX1" fmla="*/ 9996 w 9996"/>
              <a:gd name="connsiteY1" fmla="*/ 0 h 10000"/>
              <a:gd name="connsiteX2" fmla="*/ 9996 w 9996"/>
              <a:gd name="connsiteY2" fmla="*/ 0 h 10000"/>
              <a:gd name="connsiteX3" fmla="*/ 9996 w 9996"/>
              <a:gd name="connsiteY3" fmla="*/ 230 h 10000"/>
              <a:gd name="connsiteX4" fmla="*/ 9977 w 9996"/>
              <a:gd name="connsiteY4" fmla="*/ 756 h 10000"/>
              <a:gd name="connsiteX5" fmla="*/ 9964 w 9996"/>
              <a:gd name="connsiteY5" fmla="*/ 1117 h 10000"/>
              <a:gd name="connsiteX6" fmla="*/ 9939 w 9996"/>
              <a:gd name="connsiteY6" fmla="*/ 1544 h 10000"/>
              <a:gd name="connsiteX7" fmla="*/ 9914 w 9996"/>
              <a:gd name="connsiteY7" fmla="*/ 2005 h 10000"/>
              <a:gd name="connsiteX8" fmla="*/ 9877 w 9996"/>
              <a:gd name="connsiteY8" fmla="*/ 2464 h 10000"/>
              <a:gd name="connsiteX9" fmla="*/ 9827 w 9996"/>
              <a:gd name="connsiteY9" fmla="*/ 2925 h 10000"/>
              <a:gd name="connsiteX10" fmla="*/ 9770 w 9996"/>
              <a:gd name="connsiteY10" fmla="*/ 3384 h 10000"/>
              <a:gd name="connsiteX11" fmla="*/ 9695 w 9996"/>
              <a:gd name="connsiteY11" fmla="*/ 3812 h 10000"/>
              <a:gd name="connsiteX12" fmla="*/ 9658 w 9996"/>
              <a:gd name="connsiteY12" fmla="*/ 4042 h 10000"/>
              <a:gd name="connsiteX13" fmla="*/ 9608 w 9996"/>
              <a:gd name="connsiteY13" fmla="*/ 4238 h 10000"/>
              <a:gd name="connsiteX14" fmla="*/ 9564 w 9996"/>
              <a:gd name="connsiteY14" fmla="*/ 4403 h 10000"/>
              <a:gd name="connsiteX15" fmla="*/ 9507 w 9996"/>
              <a:gd name="connsiteY15" fmla="*/ 4600 h 10000"/>
              <a:gd name="connsiteX16" fmla="*/ 9451 w 9996"/>
              <a:gd name="connsiteY16" fmla="*/ 4732 h 10000"/>
              <a:gd name="connsiteX17" fmla="*/ 9395 w 9996"/>
              <a:gd name="connsiteY17" fmla="*/ 4896 h 10000"/>
              <a:gd name="connsiteX18" fmla="*/ 9332 w 9996"/>
              <a:gd name="connsiteY18" fmla="*/ 4995 h 10000"/>
              <a:gd name="connsiteX19" fmla="*/ 9256 w 9996"/>
              <a:gd name="connsiteY19" fmla="*/ 5093 h 10000"/>
              <a:gd name="connsiteX20" fmla="*/ 9188 w 9996"/>
              <a:gd name="connsiteY20" fmla="*/ 5191 h 10000"/>
              <a:gd name="connsiteX21" fmla="*/ 9107 w 9996"/>
              <a:gd name="connsiteY21" fmla="*/ 5224 h 10000"/>
              <a:gd name="connsiteX22" fmla="*/ 9107 w 9996"/>
              <a:gd name="connsiteY22" fmla="*/ 5224 h 10000"/>
              <a:gd name="connsiteX23" fmla="*/ 2 w 9996"/>
              <a:gd name="connsiteY23" fmla="*/ 9404 h 10000"/>
              <a:gd name="connsiteX24" fmla="*/ 0 w 9996"/>
              <a:gd name="connsiteY24" fmla="*/ 10000 h 10000"/>
              <a:gd name="connsiteX25" fmla="*/ 9996 w 9996"/>
              <a:gd name="connsiteY25" fmla="*/ 9989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9996" h="10000">
                <a:moveTo>
                  <a:pt x="9996" y="9989"/>
                </a:moveTo>
                <a:lnTo>
                  <a:pt x="9996" y="0"/>
                </a:lnTo>
                <a:lnTo>
                  <a:pt x="9996" y="0"/>
                </a:lnTo>
                <a:lnTo>
                  <a:pt x="9996" y="230"/>
                </a:lnTo>
                <a:cubicBezTo>
                  <a:pt x="9989" y="406"/>
                  <a:pt x="9984" y="580"/>
                  <a:pt x="9977" y="756"/>
                </a:cubicBezTo>
                <a:cubicBezTo>
                  <a:pt x="9972" y="876"/>
                  <a:pt x="9969" y="997"/>
                  <a:pt x="9964" y="1117"/>
                </a:cubicBezTo>
                <a:cubicBezTo>
                  <a:pt x="9956" y="1260"/>
                  <a:pt x="9947" y="1401"/>
                  <a:pt x="9939" y="1544"/>
                </a:cubicBezTo>
                <a:cubicBezTo>
                  <a:pt x="9931" y="1698"/>
                  <a:pt x="9922" y="1851"/>
                  <a:pt x="9914" y="2005"/>
                </a:cubicBezTo>
                <a:cubicBezTo>
                  <a:pt x="9902" y="2158"/>
                  <a:pt x="9889" y="2311"/>
                  <a:pt x="9877" y="2464"/>
                </a:cubicBezTo>
                <a:cubicBezTo>
                  <a:pt x="9860" y="2618"/>
                  <a:pt x="9844" y="2771"/>
                  <a:pt x="9827" y="2925"/>
                </a:cubicBezTo>
                <a:cubicBezTo>
                  <a:pt x="9808" y="3078"/>
                  <a:pt x="9790" y="3231"/>
                  <a:pt x="9770" y="3384"/>
                </a:cubicBezTo>
                <a:cubicBezTo>
                  <a:pt x="9745" y="3527"/>
                  <a:pt x="9720" y="3669"/>
                  <a:pt x="9695" y="3812"/>
                </a:cubicBezTo>
                <a:cubicBezTo>
                  <a:pt x="9683" y="3889"/>
                  <a:pt x="9670" y="3965"/>
                  <a:pt x="9658" y="4042"/>
                </a:cubicBezTo>
                <a:cubicBezTo>
                  <a:pt x="9641" y="4107"/>
                  <a:pt x="9625" y="4172"/>
                  <a:pt x="9608" y="4238"/>
                </a:cubicBezTo>
                <a:cubicBezTo>
                  <a:pt x="9593" y="4293"/>
                  <a:pt x="9579" y="4348"/>
                  <a:pt x="9564" y="4403"/>
                </a:cubicBezTo>
                <a:cubicBezTo>
                  <a:pt x="9544" y="4469"/>
                  <a:pt x="9526" y="4534"/>
                  <a:pt x="9507" y="4600"/>
                </a:cubicBezTo>
                <a:cubicBezTo>
                  <a:pt x="9489" y="4644"/>
                  <a:pt x="9470" y="4688"/>
                  <a:pt x="9451" y="4732"/>
                </a:cubicBezTo>
                <a:cubicBezTo>
                  <a:pt x="9432" y="4787"/>
                  <a:pt x="9414" y="4841"/>
                  <a:pt x="9395" y="4896"/>
                </a:cubicBezTo>
                <a:lnTo>
                  <a:pt x="9332" y="4995"/>
                </a:lnTo>
                <a:cubicBezTo>
                  <a:pt x="9307" y="5027"/>
                  <a:pt x="9281" y="5060"/>
                  <a:pt x="9256" y="5093"/>
                </a:cubicBezTo>
                <a:cubicBezTo>
                  <a:pt x="9234" y="5126"/>
                  <a:pt x="9211" y="5158"/>
                  <a:pt x="9188" y="5191"/>
                </a:cubicBezTo>
                <a:lnTo>
                  <a:pt x="9107" y="5224"/>
                </a:lnTo>
                <a:lnTo>
                  <a:pt x="9107" y="5224"/>
                </a:lnTo>
                <a:lnTo>
                  <a:pt x="2" y="9404"/>
                </a:lnTo>
                <a:cubicBezTo>
                  <a:pt x="-1" y="9602"/>
                  <a:pt x="2" y="9801"/>
                  <a:pt x="0" y="10000"/>
                </a:cubicBezTo>
                <a:lnTo>
                  <a:pt x="9996" y="9989"/>
                </a:lnTo>
                <a:close/>
              </a:path>
            </a:pathLst>
          </a:custGeom>
          <a:solidFill>
            <a:schemeClr val="accent6"/>
          </a:solidFill>
          <a:ln>
            <a:noFill/>
          </a:ln>
        </p:spPr>
        <p:txBody>
          <a:bodyPr vert="horz" wrap="square" lIns="133428" tIns="66715" rIns="133428" bIns="66715" numCol="1" anchor="t" anchorCtr="0" compatLnSpc="1">
            <a:prstTxWarp prst="textNoShape">
              <a:avLst/>
            </a:prstTxWarp>
          </a:bodyPr>
          <a:lstStyle/>
          <a:p>
            <a:pPr marL="0" marR="0" lvl="0" indent="0" algn="l" defTabSz="478835" rtl="0" eaLnBrk="1" fontAlgn="auto" latinLnBrk="0" hangingPunct="1">
              <a:lnSpc>
                <a:spcPct val="100000"/>
              </a:lnSpc>
              <a:spcBef>
                <a:spcPts val="0"/>
              </a:spcBef>
              <a:spcAft>
                <a:spcPts val="0"/>
              </a:spcAft>
              <a:buClrTx/>
              <a:buSzTx/>
              <a:buFontTx/>
              <a:buNone/>
              <a:tabLst/>
              <a:defRPr/>
            </a:pPr>
            <a:endParaRPr kumimoji="1" lang="ja-JP" altLang="en-US" sz="2533"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endParaRPr>
          </a:p>
        </p:txBody>
      </p:sp>
      <p:sp>
        <p:nvSpPr>
          <p:cNvPr id="2" name="タイトル 1"/>
          <p:cNvSpPr>
            <a:spLocks noGrp="1"/>
          </p:cNvSpPr>
          <p:nvPr>
            <p:ph type="title"/>
          </p:nvPr>
        </p:nvSpPr>
        <p:spPr>
          <a:xfrm>
            <a:off x="368549" y="241861"/>
            <a:ext cx="9791452" cy="540000"/>
          </a:xfrm>
          <a:prstGeom prst="rect">
            <a:avLst/>
          </a:prstGeom>
        </p:spPr>
        <p:txBody>
          <a:bodyPr lIns="95767" tIns="47884" rIns="95767" bIns="47884" anchor="b"/>
          <a:lstStyle>
            <a:lvl1pPr>
              <a:defRPr sz="2200">
                <a:latin typeface="Meiryo UI" panose="020B0604030504040204" pitchFamily="50" charset="-128"/>
                <a:ea typeface="Meiryo UI" panose="020B0604030504040204" pitchFamily="50" charset="-128"/>
              </a:defRPr>
            </a:lvl1pPr>
          </a:lstStyle>
          <a:p>
            <a:r>
              <a:rPr kumimoji="1" lang="ja-JP" altLang="en-US"/>
              <a:t>マスター タイトルの書式設定</a:t>
            </a:r>
          </a:p>
        </p:txBody>
      </p:sp>
      <p:sp>
        <p:nvSpPr>
          <p:cNvPr id="3" name="コンテンツ プレースホルダー 2"/>
          <p:cNvSpPr>
            <a:spLocks noGrp="1"/>
          </p:cNvSpPr>
          <p:nvPr>
            <p:ph idx="1"/>
          </p:nvPr>
        </p:nvSpPr>
        <p:spPr>
          <a:xfrm>
            <a:off x="368551" y="903600"/>
            <a:ext cx="11583452" cy="5540400"/>
          </a:xfrm>
          <a:prstGeom prst="rect">
            <a:avLst/>
          </a:prstGeom>
        </p:spPr>
        <p:txBody>
          <a:bodyPr lIns="95767" tIns="47884" rIns="95767" bIns="47884"/>
          <a:lstStyle>
            <a:lvl1pPr>
              <a:defRPr sz="1800">
                <a:latin typeface="Meiryo UI" panose="020B0604030504040204" pitchFamily="50" charset="-128"/>
                <a:ea typeface="Meiryo UI" panose="020B0604030504040204" pitchFamily="50" charset="-128"/>
              </a:defRPr>
            </a:lvl1pPr>
            <a:lvl2pPr indent="-236233">
              <a:defRPr sz="1800">
                <a:latin typeface="Meiryo UI" panose="020B0604030504040204" pitchFamily="50" charset="-128"/>
                <a:ea typeface="Meiryo UI" panose="020B0604030504040204" pitchFamily="50" charset="-128"/>
              </a:defRPr>
            </a:lvl2pPr>
            <a:lvl3pPr indent="-236233">
              <a:defRPr sz="1800">
                <a:latin typeface="Meiryo UI" panose="020B0604030504040204" pitchFamily="50" charset="-128"/>
                <a:ea typeface="Meiryo UI" panose="020B0604030504040204" pitchFamily="50" charset="-128"/>
              </a:defRPr>
            </a:lvl3pPr>
            <a:lvl4pPr indent="-236233">
              <a:defRPr sz="1800">
                <a:latin typeface="Meiryo UI" panose="020B0604030504040204" pitchFamily="50" charset="-128"/>
                <a:ea typeface="Meiryo UI" panose="020B0604030504040204" pitchFamily="50" charset="-128"/>
              </a:defRPr>
            </a:lvl4pPr>
            <a:lvl5pPr indent="-236233">
              <a:defRPr sz="1800">
                <a:latin typeface="Meiryo UI" panose="020B0604030504040204" pitchFamily="50" charset="-128"/>
                <a:ea typeface="Meiryo UI" panose="020B0604030504040204" pitchFamily="50" charset="-128"/>
              </a:defRPr>
            </a:lvl5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6" name="スライド番号プレースホルダー 5"/>
          <p:cNvSpPr>
            <a:spLocks noGrp="1"/>
          </p:cNvSpPr>
          <p:nvPr>
            <p:ph type="sldNum" sz="quarter" idx="12"/>
          </p:nvPr>
        </p:nvSpPr>
        <p:spPr>
          <a:xfrm>
            <a:off x="11524630" y="6468878"/>
            <a:ext cx="555811" cy="289299"/>
          </a:xfrm>
          <a:prstGeom prst="rect">
            <a:avLst/>
          </a:prstGeom>
        </p:spPr>
        <p:txBody>
          <a:bodyPr lIns="95767" tIns="47884" rIns="95767" bIns="47884"/>
          <a:lstStyle>
            <a:lvl1pPr algn="r">
              <a:defRPr sz="1050">
                <a:latin typeface="Meiryo UI" panose="020B0604030504040204" pitchFamily="50" charset="-128"/>
                <a:ea typeface="Meiryo UI" panose="020B0604030504040204" pitchFamily="50" charset="-128"/>
              </a:defRPr>
            </a:lvl1pPr>
          </a:lstStyle>
          <a:p>
            <a:pPr marL="0" marR="0" lvl="0" indent="0" algn="r" defTabSz="478835" rtl="0" eaLnBrk="1" fontAlgn="auto" latinLnBrk="0" hangingPunct="1">
              <a:lnSpc>
                <a:spcPct val="100000"/>
              </a:lnSpc>
              <a:spcBef>
                <a:spcPts val="0"/>
              </a:spcBef>
              <a:spcAft>
                <a:spcPts val="0"/>
              </a:spcAft>
              <a:buClrTx/>
              <a:buSzTx/>
              <a:buFontTx/>
              <a:buNone/>
              <a:tabLst/>
              <a:defRPr/>
            </a:pPr>
            <a:fld id="{2FF5E1DE-7B95-8A44-8552-65323269AE41}" type="slidenum">
              <a:rPr kumimoji="1" lang="ja-JP" altLang="en-US" sz="1050" b="0" i="0" u="none" strike="noStrike" kern="1200" cap="none" spc="0" normalizeH="0" baseline="0" noProof="0" smtClean="0">
                <a:ln>
                  <a:noFill/>
                </a:ln>
                <a:solidFill>
                  <a:srgbClr val="000000"/>
                </a:solidFill>
                <a:effectLst/>
                <a:uLnTx/>
                <a:uFillTx/>
                <a:latin typeface="Meiryo UI" panose="020B0604030504040204" pitchFamily="50" charset="-128"/>
                <a:ea typeface="Meiryo UI" panose="020B0604030504040204" pitchFamily="50" charset="-128"/>
                <a:cs typeface="+mn-cs"/>
              </a:rPr>
              <a:pPr marL="0" marR="0" lvl="0" indent="0" algn="r" defTabSz="478835" rtl="0" eaLnBrk="1" fontAlgn="auto" latinLnBrk="0" hangingPunct="1">
                <a:lnSpc>
                  <a:spcPct val="100000"/>
                </a:lnSpc>
                <a:spcBef>
                  <a:spcPts val="0"/>
                </a:spcBef>
                <a:spcAft>
                  <a:spcPts val="0"/>
                </a:spcAft>
                <a:buClrTx/>
                <a:buSzTx/>
                <a:buFontTx/>
                <a:buNone/>
                <a:tabLst/>
                <a:defRPr/>
              </a:pPr>
              <a:t>‹#›</a:t>
            </a:fld>
            <a:endParaRPr kumimoji="1" lang="ja-JP" altLang="en-US" sz="105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endParaRPr>
          </a:p>
        </p:txBody>
      </p:sp>
      <p:cxnSp>
        <p:nvCxnSpPr>
          <p:cNvPr id="8" name="直線コネクタ 7"/>
          <p:cNvCxnSpPr/>
          <p:nvPr userDrawn="1"/>
        </p:nvCxnSpPr>
        <p:spPr>
          <a:xfrm>
            <a:off x="239959" y="817200"/>
            <a:ext cx="11709966" cy="0"/>
          </a:xfrm>
          <a:prstGeom prst="line">
            <a:avLst/>
          </a:prstGeom>
          <a:ln>
            <a:solidFill>
              <a:srgbClr val="92846E"/>
            </a:solidFill>
          </a:ln>
          <a:effectLst/>
        </p:spPr>
        <p:style>
          <a:lnRef idx="2">
            <a:schemeClr val="accent1"/>
          </a:lnRef>
          <a:fillRef idx="0">
            <a:schemeClr val="accent1"/>
          </a:fillRef>
          <a:effectRef idx="1">
            <a:schemeClr val="accent1"/>
          </a:effectRef>
          <a:fontRef idx="minor">
            <a:schemeClr val="tx1"/>
          </a:fontRef>
        </p:style>
      </p:cxnSp>
      <p:pic>
        <p:nvPicPr>
          <p:cNvPr id="10" name="Picture 2" descr="K:\新ロゴ（データ一式）\DLH_3_EN.png"/>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11038066" y="-34312"/>
            <a:ext cx="973128" cy="90043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49287750"/>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type="title" preserve="1">
  <p:cSld name="タイトル スライド">
    <p:spTree>
      <p:nvGrpSpPr>
        <p:cNvPr id="1" name=""/>
        <p:cNvGrpSpPr/>
        <p:nvPr/>
      </p:nvGrpSpPr>
      <p:grpSpPr>
        <a:xfrm>
          <a:off x="0" y="0"/>
          <a:ext cx="0" cy="0"/>
          <a:chOff x="0" y="0"/>
          <a:chExt cx="0" cy="0"/>
        </a:xfrm>
      </p:grpSpPr>
      <p:pic>
        <p:nvPicPr>
          <p:cNvPr id="8" name="図 7"/>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3" y="0"/>
            <a:ext cx="12192000" cy="6858000"/>
          </a:xfrm>
          <a:prstGeom prst="rect">
            <a:avLst/>
          </a:prstGeom>
        </p:spPr>
      </p:pic>
      <p:sp>
        <p:nvSpPr>
          <p:cNvPr id="2" name="タイトル 1"/>
          <p:cNvSpPr>
            <a:spLocks noGrp="1"/>
          </p:cNvSpPr>
          <p:nvPr>
            <p:ph type="ctrTitle"/>
          </p:nvPr>
        </p:nvSpPr>
        <p:spPr>
          <a:xfrm>
            <a:off x="914403" y="1416807"/>
            <a:ext cx="10363200" cy="1470025"/>
          </a:xfrm>
        </p:spPr>
        <p:txBody>
          <a:bodyPr anchor="b">
            <a:normAutofit/>
          </a:bodyPr>
          <a:lstStyle>
            <a:lvl1pPr algn="l">
              <a:defRPr sz="2138" kern="1200">
                <a:solidFill>
                  <a:schemeClr val="tx1"/>
                </a:solidFill>
              </a:defRPr>
            </a:lvl1pPr>
          </a:lstStyle>
          <a:p>
            <a:r>
              <a:rPr kumimoji="1" lang="ja-JP" altLang="en-US"/>
              <a:t>マスター タイトルの書式設定</a:t>
            </a:r>
          </a:p>
        </p:txBody>
      </p:sp>
      <p:sp>
        <p:nvSpPr>
          <p:cNvPr id="3" name="サブタイトル 2"/>
          <p:cNvSpPr>
            <a:spLocks noGrp="1"/>
          </p:cNvSpPr>
          <p:nvPr>
            <p:ph type="subTitle" idx="1"/>
          </p:nvPr>
        </p:nvSpPr>
        <p:spPr>
          <a:xfrm>
            <a:off x="916805" y="3420000"/>
            <a:ext cx="9691435" cy="977153"/>
          </a:xfrm>
        </p:spPr>
        <p:txBody>
          <a:bodyPr>
            <a:normAutofit/>
          </a:bodyPr>
          <a:lstStyle>
            <a:lvl1pPr marL="0" indent="0" algn="l">
              <a:buNone/>
              <a:defRPr sz="1350">
                <a:solidFill>
                  <a:srgbClr val="000000"/>
                </a:solidFill>
              </a:defRPr>
            </a:lvl1pPr>
            <a:lvl2pPr marL="257175" indent="0" algn="ctr">
              <a:buNone/>
              <a:defRPr>
                <a:solidFill>
                  <a:schemeClr val="tx1">
                    <a:tint val="75000"/>
                  </a:schemeClr>
                </a:solidFill>
              </a:defRPr>
            </a:lvl2pPr>
            <a:lvl3pPr marL="514350" indent="0" algn="ctr">
              <a:buNone/>
              <a:defRPr>
                <a:solidFill>
                  <a:schemeClr val="tx1">
                    <a:tint val="75000"/>
                  </a:schemeClr>
                </a:solidFill>
              </a:defRPr>
            </a:lvl3pPr>
            <a:lvl4pPr marL="771525" indent="0" algn="ctr">
              <a:buNone/>
              <a:defRPr>
                <a:solidFill>
                  <a:schemeClr val="tx1">
                    <a:tint val="75000"/>
                  </a:schemeClr>
                </a:solidFill>
              </a:defRPr>
            </a:lvl4pPr>
            <a:lvl5pPr marL="1028700" indent="0" algn="ctr">
              <a:buNone/>
              <a:defRPr>
                <a:solidFill>
                  <a:schemeClr val="tx1">
                    <a:tint val="75000"/>
                  </a:schemeClr>
                </a:solidFill>
              </a:defRPr>
            </a:lvl5pPr>
            <a:lvl6pPr marL="1285875" indent="0" algn="ctr">
              <a:buNone/>
              <a:defRPr>
                <a:solidFill>
                  <a:schemeClr val="tx1">
                    <a:tint val="75000"/>
                  </a:schemeClr>
                </a:solidFill>
              </a:defRPr>
            </a:lvl6pPr>
            <a:lvl7pPr marL="1543050" indent="0" algn="ctr">
              <a:buNone/>
              <a:defRPr>
                <a:solidFill>
                  <a:schemeClr val="tx1">
                    <a:tint val="75000"/>
                  </a:schemeClr>
                </a:solidFill>
              </a:defRPr>
            </a:lvl7pPr>
            <a:lvl8pPr marL="1800225" indent="0" algn="ctr">
              <a:buNone/>
              <a:defRPr>
                <a:solidFill>
                  <a:schemeClr val="tx1">
                    <a:tint val="75000"/>
                  </a:schemeClr>
                </a:solidFill>
              </a:defRPr>
            </a:lvl8pPr>
            <a:lvl9pPr marL="2057400" indent="0" algn="ctr">
              <a:buNone/>
              <a:defRPr>
                <a:solidFill>
                  <a:schemeClr val="tx1">
                    <a:tint val="75000"/>
                  </a:schemeClr>
                </a:solidFill>
              </a:defRPr>
            </a:lvl9pPr>
          </a:lstStyle>
          <a:p>
            <a:r>
              <a:rPr kumimoji="1" lang="ja-JP" altLang="en-US"/>
              <a:t>マスター サブタイトルの書式設定</a:t>
            </a:r>
          </a:p>
        </p:txBody>
      </p:sp>
      <p:sp>
        <p:nvSpPr>
          <p:cNvPr id="13" name="フッター プレースホルダー 12"/>
          <p:cNvSpPr>
            <a:spLocks noGrp="1"/>
          </p:cNvSpPr>
          <p:nvPr>
            <p:ph type="ftr" sz="quarter" idx="11"/>
          </p:nvPr>
        </p:nvSpPr>
        <p:spPr>
          <a:xfrm>
            <a:off x="609603" y="6084295"/>
            <a:ext cx="3860800" cy="365125"/>
          </a:xfrm>
          <a:prstGeom prst="rect">
            <a:avLst/>
          </a:prstGeom>
        </p:spPr>
        <p:txBody>
          <a:bodyPr/>
          <a:lstStyle>
            <a:lvl1pPr algn="l">
              <a:defRPr sz="900"/>
            </a:lvl1pPr>
          </a:lstStyle>
          <a:p>
            <a:pPr marL="0" marR="0" lvl="0" indent="0" algn="l" defTabSz="685800" rtl="0" eaLnBrk="1" fontAlgn="base" latinLnBrk="0" hangingPunct="1">
              <a:lnSpc>
                <a:spcPct val="100000"/>
              </a:lnSpc>
              <a:spcBef>
                <a:spcPct val="0"/>
              </a:spcBef>
              <a:spcAft>
                <a:spcPct val="0"/>
              </a:spcAft>
              <a:buClrTx/>
              <a:buSzTx/>
              <a:buFontTx/>
              <a:buNone/>
              <a:tabLst/>
              <a:defRPr/>
            </a:pPr>
            <a:endParaRPr kumimoji="1" lang="ja-JP" altLang="en-US" sz="900" b="0" i="0" u="none" strike="noStrike" kern="1200" cap="none" spc="0" normalizeH="0" baseline="0" noProof="0">
              <a:ln>
                <a:noFill/>
              </a:ln>
              <a:solidFill>
                <a:srgbClr val="000000"/>
              </a:solidFill>
              <a:effectLst/>
              <a:uLnTx/>
              <a:uFillTx/>
              <a:latin typeface="Arial" charset="0"/>
              <a:ea typeface="ＭＳ Ｐゴシック" panose="020B0600070205080204" pitchFamily="50" charset="-128"/>
              <a:cs typeface="+mn-cs"/>
            </a:endParaRPr>
          </a:p>
        </p:txBody>
      </p:sp>
      <p:sp>
        <p:nvSpPr>
          <p:cNvPr id="11" name="日付プレースホルダー 11"/>
          <p:cNvSpPr>
            <a:spLocks noGrp="1"/>
          </p:cNvSpPr>
          <p:nvPr>
            <p:ph type="dt" sz="half" idx="10"/>
          </p:nvPr>
        </p:nvSpPr>
        <p:spPr>
          <a:xfrm>
            <a:off x="609603" y="5676534"/>
            <a:ext cx="3860800" cy="365125"/>
          </a:xfrm>
          <a:prstGeom prst="rect">
            <a:avLst/>
          </a:prstGeom>
        </p:spPr>
        <p:txBody>
          <a:bodyPr/>
          <a:lstStyle>
            <a:lvl1pPr algn="l">
              <a:defRPr sz="900">
                <a:solidFill>
                  <a:srgbClr val="000000"/>
                </a:solidFill>
              </a:defRPr>
            </a:lvl1pPr>
          </a:lstStyle>
          <a:p>
            <a:pPr marL="0" marR="0" lvl="0" indent="0" algn="l" defTabSz="685800" rtl="0" eaLnBrk="1" fontAlgn="base" latinLnBrk="0" hangingPunct="1">
              <a:lnSpc>
                <a:spcPct val="100000"/>
              </a:lnSpc>
              <a:spcBef>
                <a:spcPct val="0"/>
              </a:spcBef>
              <a:spcAft>
                <a:spcPct val="0"/>
              </a:spcAft>
              <a:buClrTx/>
              <a:buSzTx/>
              <a:buFontTx/>
              <a:buNone/>
              <a:tabLst/>
              <a:defRPr/>
            </a:pPr>
            <a:endParaRPr kumimoji="1" lang="ja-JP" altLang="en-US" sz="900" b="0" i="0" u="none" strike="noStrike" kern="1200" cap="none" spc="0" normalizeH="0" baseline="0" noProof="0">
              <a:ln>
                <a:noFill/>
              </a:ln>
              <a:solidFill>
                <a:srgbClr val="000000"/>
              </a:solidFill>
              <a:effectLst/>
              <a:uLnTx/>
              <a:uFillTx/>
              <a:latin typeface="Arial" charset="0"/>
              <a:ea typeface="ＭＳ Ｐゴシック" panose="020B0600070205080204" pitchFamily="50" charset="-128"/>
              <a:cs typeface="+mn-cs"/>
            </a:endParaRPr>
          </a:p>
        </p:txBody>
      </p:sp>
      <p:pic>
        <p:nvPicPr>
          <p:cNvPr id="10" name="Picture 2" descr="K:\新ロゴ（データ一式）\★logo_3_jn.png"/>
          <p:cNvPicPr>
            <a:picLocks noChangeAspect="1" noChangeArrowheads="1"/>
          </p:cNvPicPr>
          <p:nvPr userDrawn="1"/>
        </p:nvPicPr>
        <p:blipFill>
          <a:blip r:embed="rId3" cstate="email">
            <a:extLst>
              <a:ext uri="{28A0092B-C50C-407E-A947-70E740481C1C}">
                <a14:useLocalDpi xmlns:a14="http://schemas.microsoft.com/office/drawing/2010/main"/>
              </a:ext>
            </a:extLst>
          </a:blip>
          <a:srcRect/>
          <a:stretch>
            <a:fillRect/>
          </a:stretch>
        </p:blipFill>
        <p:spPr bwMode="auto">
          <a:xfrm>
            <a:off x="8930631" y="5172657"/>
            <a:ext cx="3358903" cy="1507239"/>
          </a:xfrm>
          <a:prstGeom prst="rect">
            <a:avLst/>
          </a:prstGeom>
          <a:noFill/>
          <a:extLst>
            <a:ext uri="{909E8E84-426E-40DD-AFC4-6F175D3DCCD1}">
              <a14:hiddenFill xmlns:a14="http://schemas.microsoft.com/office/drawing/2010/main">
                <a:solidFill>
                  <a:srgbClr val="FFFFFF"/>
                </a:solidFill>
              </a14:hiddenFill>
            </a:ext>
          </a:extLst>
        </p:spPr>
      </p:pic>
      <p:sp>
        <p:nvSpPr>
          <p:cNvPr id="9" name="スライド番号プレースホルダ 2"/>
          <p:cNvSpPr txBox="1">
            <a:spLocks/>
          </p:cNvSpPr>
          <p:nvPr userDrawn="1"/>
        </p:nvSpPr>
        <p:spPr>
          <a:xfrm>
            <a:off x="11261540" y="6611796"/>
            <a:ext cx="930461" cy="246221"/>
          </a:xfrm>
          <a:prstGeom prst="rect">
            <a:avLst/>
          </a:prstGeom>
        </p:spPr>
        <p:txBody>
          <a:bodyPr/>
          <a:lstStyle>
            <a:defPPr>
              <a:defRPr lang="ja-JP"/>
            </a:defPPr>
            <a:lvl1pPr algn="r" rtl="0" fontAlgn="base">
              <a:spcBef>
                <a:spcPct val="0"/>
              </a:spcBef>
              <a:spcAft>
                <a:spcPct val="0"/>
              </a:spcAft>
              <a:defRPr kumimoji="1" sz="1050" kern="1200">
                <a:solidFill>
                  <a:schemeClr val="tx1"/>
                </a:solidFill>
                <a:latin typeface="メイリオ" pitchFamily="50" charset="-128"/>
                <a:ea typeface="メイリオ" pitchFamily="50" charset="-128"/>
                <a:cs typeface="メイリオ" pitchFamily="50" charset="-128"/>
              </a:defRPr>
            </a:lvl1pPr>
            <a:lvl2pPr marL="457200" algn="l" rtl="0" fontAlgn="base">
              <a:spcBef>
                <a:spcPct val="0"/>
              </a:spcBef>
              <a:spcAft>
                <a:spcPct val="0"/>
              </a:spcAft>
              <a:defRPr kumimoji="1" sz="1200" kern="1200">
                <a:solidFill>
                  <a:schemeClr val="tx1"/>
                </a:solidFill>
                <a:latin typeface="Arial" charset="0"/>
                <a:ea typeface="ＭＳ Ｐゴシック" charset="-128"/>
                <a:cs typeface="+mn-cs"/>
              </a:defRPr>
            </a:lvl2pPr>
            <a:lvl3pPr marL="914400" algn="l" rtl="0" fontAlgn="base">
              <a:spcBef>
                <a:spcPct val="0"/>
              </a:spcBef>
              <a:spcAft>
                <a:spcPct val="0"/>
              </a:spcAft>
              <a:defRPr kumimoji="1" sz="1200" kern="1200">
                <a:solidFill>
                  <a:schemeClr val="tx1"/>
                </a:solidFill>
                <a:latin typeface="Arial" charset="0"/>
                <a:ea typeface="ＭＳ Ｐゴシック" charset="-128"/>
                <a:cs typeface="+mn-cs"/>
              </a:defRPr>
            </a:lvl3pPr>
            <a:lvl4pPr marL="1371600" algn="l" rtl="0" fontAlgn="base">
              <a:spcBef>
                <a:spcPct val="0"/>
              </a:spcBef>
              <a:spcAft>
                <a:spcPct val="0"/>
              </a:spcAft>
              <a:defRPr kumimoji="1" sz="1200" kern="1200">
                <a:solidFill>
                  <a:schemeClr val="tx1"/>
                </a:solidFill>
                <a:latin typeface="Arial" charset="0"/>
                <a:ea typeface="ＭＳ Ｐゴシック" charset="-128"/>
                <a:cs typeface="+mn-cs"/>
              </a:defRPr>
            </a:lvl4pPr>
            <a:lvl5pPr marL="1828800" algn="l" rtl="0" fontAlgn="base">
              <a:spcBef>
                <a:spcPct val="0"/>
              </a:spcBef>
              <a:spcAft>
                <a:spcPct val="0"/>
              </a:spcAft>
              <a:defRPr kumimoji="1" sz="1200" kern="1200">
                <a:solidFill>
                  <a:schemeClr val="tx1"/>
                </a:solidFill>
                <a:latin typeface="Arial" charset="0"/>
                <a:ea typeface="ＭＳ Ｐゴシック" charset="-128"/>
                <a:cs typeface="+mn-cs"/>
              </a:defRPr>
            </a:lvl5pPr>
            <a:lvl6pPr marL="2286000" algn="l" defTabSz="914400" rtl="0" eaLnBrk="1" latinLnBrk="0" hangingPunct="1">
              <a:defRPr kumimoji="1" sz="1200" kern="1200">
                <a:solidFill>
                  <a:schemeClr val="tx1"/>
                </a:solidFill>
                <a:latin typeface="Arial" charset="0"/>
                <a:ea typeface="ＭＳ Ｐゴシック" charset="-128"/>
                <a:cs typeface="+mn-cs"/>
              </a:defRPr>
            </a:lvl6pPr>
            <a:lvl7pPr marL="2743200" algn="l" defTabSz="914400" rtl="0" eaLnBrk="1" latinLnBrk="0" hangingPunct="1">
              <a:defRPr kumimoji="1" sz="1200" kern="1200">
                <a:solidFill>
                  <a:schemeClr val="tx1"/>
                </a:solidFill>
                <a:latin typeface="Arial" charset="0"/>
                <a:ea typeface="ＭＳ Ｐゴシック" charset="-128"/>
                <a:cs typeface="+mn-cs"/>
              </a:defRPr>
            </a:lvl7pPr>
            <a:lvl8pPr marL="3200400" algn="l" defTabSz="914400" rtl="0" eaLnBrk="1" latinLnBrk="0" hangingPunct="1">
              <a:defRPr kumimoji="1" sz="1200" kern="1200">
                <a:solidFill>
                  <a:schemeClr val="tx1"/>
                </a:solidFill>
                <a:latin typeface="Arial" charset="0"/>
                <a:ea typeface="ＭＳ Ｐゴシック" charset="-128"/>
                <a:cs typeface="+mn-cs"/>
              </a:defRPr>
            </a:lvl8pPr>
            <a:lvl9pPr marL="3657600" algn="l" defTabSz="914400" rtl="0" eaLnBrk="1" latinLnBrk="0" hangingPunct="1">
              <a:defRPr kumimoji="1" sz="1200" kern="1200">
                <a:solidFill>
                  <a:schemeClr val="tx1"/>
                </a:solidFill>
                <a:latin typeface="Arial" charset="0"/>
                <a:ea typeface="ＭＳ Ｐゴシック" charset="-128"/>
                <a:cs typeface="+mn-cs"/>
              </a:defRPr>
            </a:lvl9pPr>
          </a:lstStyle>
          <a:p>
            <a:pPr marL="0" marR="0" lvl="0" indent="0" algn="r" defTabSz="514350" rtl="0" eaLnBrk="1" fontAlgn="base" latinLnBrk="0" hangingPunct="1">
              <a:lnSpc>
                <a:spcPct val="100000"/>
              </a:lnSpc>
              <a:spcBef>
                <a:spcPct val="0"/>
              </a:spcBef>
              <a:spcAft>
                <a:spcPct val="0"/>
              </a:spcAft>
              <a:buClrTx/>
              <a:buSzTx/>
              <a:buFontTx/>
              <a:buNone/>
              <a:tabLst/>
              <a:defRPr/>
            </a:pPr>
            <a:fld id="{050776FD-7E44-4DD7-B66F-BCBA88E6D63E}" type="slidenum">
              <a:rPr kumimoji="1" lang="ja-JP" altLang="ja-JP" sz="591" b="0" i="0" u="none" strike="noStrike" kern="1200" cap="none" spc="0" normalizeH="0" baseline="0" noProof="0" smtClean="0">
                <a:ln>
                  <a:noFill/>
                </a:ln>
                <a:solidFill>
                  <a:srgbClr val="C2B7A8"/>
                </a:solidFill>
                <a:effectLst/>
                <a:uLnTx/>
                <a:uFillTx/>
                <a:latin typeface="メイリオ" pitchFamily="50" charset="-128"/>
                <a:ea typeface="メイリオ" pitchFamily="50" charset="-128"/>
              </a:rPr>
              <a:pPr marL="0" marR="0" lvl="0" indent="0" algn="r" defTabSz="514350" rtl="0" eaLnBrk="1" fontAlgn="base" latinLnBrk="0" hangingPunct="1">
                <a:lnSpc>
                  <a:spcPct val="100000"/>
                </a:lnSpc>
                <a:spcBef>
                  <a:spcPct val="0"/>
                </a:spcBef>
                <a:spcAft>
                  <a:spcPct val="0"/>
                </a:spcAft>
                <a:buClrTx/>
                <a:buSzTx/>
                <a:buFontTx/>
                <a:buNone/>
                <a:tabLst/>
                <a:defRPr/>
              </a:pPr>
              <a:t>‹#›</a:t>
            </a:fld>
            <a:endParaRPr kumimoji="1" lang="ja-JP" altLang="ja-JP" sz="591" b="0" i="0" u="none" strike="noStrike" kern="1200" cap="none" spc="0" normalizeH="0" baseline="0" noProof="0">
              <a:ln>
                <a:noFill/>
              </a:ln>
              <a:solidFill>
                <a:srgbClr val="C2B7A8"/>
              </a:solidFill>
              <a:effectLst/>
              <a:uLnTx/>
              <a:uFillTx/>
              <a:latin typeface="メイリオ" pitchFamily="50" charset="-128"/>
              <a:ea typeface="メイリオ" pitchFamily="50" charset="-128"/>
            </a:endParaRPr>
          </a:p>
        </p:txBody>
      </p:sp>
      <p:sp>
        <p:nvSpPr>
          <p:cNvPr id="12" name="正方形/長方形 11"/>
          <p:cNvSpPr/>
          <p:nvPr userDrawn="1"/>
        </p:nvSpPr>
        <p:spPr>
          <a:xfrm>
            <a:off x="7392609" y="6133363"/>
            <a:ext cx="1761067" cy="246207"/>
          </a:xfrm>
          <a:prstGeom prst="rect">
            <a:avLst/>
          </a:prstGeom>
          <a:noFill/>
          <a:ln>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1" lang="en-US" altLang="ja-JP" sz="900" b="0" i="0" u="none" strike="noStrike" kern="1200" cap="none" spc="0" normalizeH="0" baseline="0" noProof="0" err="1">
                <a:ln>
                  <a:noFill/>
                </a:ln>
                <a:solidFill>
                  <a:srgbClr val="FF0000"/>
                </a:solidFill>
                <a:effectLst/>
                <a:uLnTx/>
                <a:uFillTx/>
                <a:latin typeface="Calibri"/>
                <a:ea typeface="ＭＳ Ｐゴシック" panose="020B0600070205080204" pitchFamily="50" charset="-128"/>
                <a:cs typeface="+mn-cs"/>
              </a:rPr>
              <a:t>Confidencial</a:t>
            </a:r>
            <a:endParaRPr kumimoji="1" lang="ja-JP" altLang="en-US" sz="900" b="0" i="0" u="none" strike="noStrike" kern="1200" cap="none" spc="0" normalizeH="0" baseline="0" noProof="0">
              <a:ln>
                <a:noFill/>
              </a:ln>
              <a:solidFill>
                <a:srgbClr val="FF0000"/>
              </a:solidFill>
              <a:effectLst/>
              <a:uLnTx/>
              <a:uFillTx/>
              <a:latin typeface="Calibri"/>
              <a:ea typeface="ＭＳ Ｐゴシック" panose="020B0600070205080204" pitchFamily="50" charset="-128"/>
              <a:cs typeface="+mn-cs"/>
            </a:endParaRPr>
          </a:p>
        </p:txBody>
      </p:sp>
    </p:spTree>
    <p:extLst>
      <p:ext uri="{BB962C8B-B14F-4D97-AF65-F5344CB8AC3E}">
        <p14:creationId xmlns:p14="http://schemas.microsoft.com/office/powerpoint/2010/main" val="3331216373"/>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normAutofit/>
          </a:bodyPr>
          <a:lstStyle>
            <a:lvl1pPr>
              <a:defRPr sz="2000"/>
            </a:lvl1pPr>
          </a:lstStyle>
          <a:p>
            <a:r>
              <a:rPr kumimoji="1" lang="ja-JP" altLang="en-US"/>
              <a:t>マスター タイトルの書式設定</a:t>
            </a:r>
          </a:p>
        </p:txBody>
      </p:sp>
      <p:sp>
        <p:nvSpPr>
          <p:cNvPr id="3" name="コンテンツ プレースホルダー 2"/>
          <p:cNvSpPr>
            <a:spLocks noGrp="1"/>
          </p:cNvSpPr>
          <p:nvPr>
            <p:ph idx="1"/>
          </p:nvPr>
        </p:nvSpPr>
        <p:spPr>
          <a:xfrm>
            <a:off x="368551" y="903600"/>
            <a:ext cx="11583452" cy="5540400"/>
          </a:xfrm>
        </p:spPr>
        <p:txBody>
          <a:bodyPr/>
          <a:lstStyle>
            <a:lvl2pPr indent="-95175">
              <a:defRPr/>
            </a:lvl2pPr>
            <a:lvl3pPr indent="-95175">
              <a:defRPr/>
            </a:lvl3pPr>
            <a:lvl4pPr indent="-95175">
              <a:defRPr/>
            </a:lvl4pPr>
            <a:lvl5pPr indent="-95175">
              <a:defRPr/>
            </a:lvl5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Tree>
    <p:extLst>
      <p:ext uri="{BB962C8B-B14F-4D97-AF65-F5344CB8AC3E}">
        <p14:creationId xmlns:p14="http://schemas.microsoft.com/office/powerpoint/2010/main" val="3032763591"/>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2 つの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normAutofit/>
          </a:bodyPr>
          <a:lstStyle>
            <a:lvl1pPr>
              <a:defRPr sz="2000"/>
            </a:lvl1pPr>
          </a:lstStyle>
          <a:p>
            <a:r>
              <a:rPr kumimoji="1" lang="ja-JP" altLang="en-US"/>
              <a:t>マスター タイトルの書式設定</a:t>
            </a:r>
          </a:p>
        </p:txBody>
      </p:sp>
      <p:sp>
        <p:nvSpPr>
          <p:cNvPr id="3" name="コンテンツ プレースホルダー 2"/>
          <p:cNvSpPr>
            <a:spLocks noGrp="1"/>
          </p:cNvSpPr>
          <p:nvPr>
            <p:ph sz="half" idx="1"/>
          </p:nvPr>
        </p:nvSpPr>
        <p:spPr>
          <a:xfrm>
            <a:off x="368555" y="903602"/>
            <a:ext cx="11518647" cy="722001"/>
          </a:xfrm>
        </p:spPr>
        <p:txBody>
          <a:bodyPr>
            <a:normAutofit/>
          </a:bodyPr>
          <a:lstStyle>
            <a:lvl1pPr>
              <a:defRPr sz="1350"/>
            </a:lvl1pPr>
            <a:lvl2pPr>
              <a:defRPr sz="1125"/>
            </a:lvl2pPr>
            <a:lvl3pPr>
              <a:defRPr sz="1013"/>
            </a:lvl3pPr>
            <a:lvl4pPr>
              <a:defRPr sz="900"/>
            </a:lvl4pPr>
            <a:lvl5pPr>
              <a:defRPr sz="900"/>
            </a:lvl5pPr>
            <a:lvl6pPr>
              <a:defRPr sz="1013"/>
            </a:lvl6pPr>
            <a:lvl7pPr>
              <a:defRPr sz="1013"/>
            </a:lvl7pPr>
            <a:lvl8pPr>
              <a:defRPr sz="1013"/>
            </a:lvl8pPr>
            <a:lvl9pPr>
              <a:defRPr sz="1013"/>
            </a:lvl9pPr>
          </a:lstStyle>
          <a:p>
            <a:pPr lvl="0"/>
            <a:r>
              <a:rPr kumimoji="1" lang="ja-JP" altLang="en-US"/>
              <a:t>マスター テキストの書式設定</a:t>
            </a:r>
          </a:p>
        </p:txBody>
      </p:sp>
    </p:spTree>
    <p:extLst>
      <p:ext uri="{BB962C8B-B14F-4D97-AF65-F5344CB8AC3E}">
        <p14:creationId xmlns:p14="http://schemas.microsoft.com/office/powerpoint/2010/main" val="264885148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obj" preserve="1">
  <p:cSld name="18_タイトルとコンテンツ">
    <p:spTree>
      <p:nvGrpSpPr>
        <p:cNvPr id="1" name=""/>
        <p:cNvGrpSpPr/>
        <p:nvPr/>
      </p:nvGrpSpPr>
      <p:grpSpPr>
        <a:xfrm>
          <a:off x="0" y="0"/>
          <a:ext cx="0" cy="0"/>
          <a:chOff x="0" y="0"/>
          <a:chExt cx="0" cy="0"/>
        </a:xfrm>
      </p:grpSpPr>
      <p:sp>
        <p:nvSpPr>
          <p:cNvPr id="9" name="Freeform 8"/>
          <p:cNvSpPr>
            <a:spLocks/>
          </p:cNvSpPr>
          <p:nvPr userDrawn="1"/>
        </p:nvSpPr>
        <p:spPr bwMode="auto">
          <a:xfrm>
            <a:off x="-2100" y="5505984"/>
            <a:ext cx="12192504" cy="1353504"/>
          </a:xfrm>
          <a:custGeom>
            <a:avLst/>
            <a:gdLst>
              <a:gd name="T0" fmla="*/ 3622 w 3622"/>
              <a:gd name="T1" fmla="*/ 608 h 608"/>
              <a:gd name="T2" fmla="*/ 3622 w 3622"/>
              <a:gd name="T3" fmla="*/ 0 h 608"/>
              <a:gd name="T4" fmla="*/ 3622 w 3622"/>
              <a:gd name="T5" fmla="*/ 0 h 608"/>
              <a:gd name="T6" fmla="*/ 3622 w 3622"/>
              <a:gd name="T7" fmla="*/ 14 h 608"/>
              <a:gd name="T8" fmla="*/ 3616 w 3622"/>
              <a:gd name="T9" fmla="*/ 46 h 608"/>
              <a:gd name="T10" fmla="*/ 3612 w 3622"/>
              <a:gd name="T11" fmla="*/ 68 h 608"/>
              <a:gd name="T12" fmla="*/ 3604 w 3622"/>
              <a:gd name="T13" fmla="*/ 94 h 608"/>
              <a:gd name="T14" fmla="*/ 3596 w 3622"/>
              <a:gd name="T15" fmla="*/ 122 h 608"/>
              <a:gd name="T16" fmla="*/ 3584 w 3622"/>
              <a:gd name="T17" fmla="*/ 150 h 608"/>
              <a:gd name="T18" fmla="*/ 3568 w 3622"/>
              <a:gd name="T19" fmla="*/ 178 h 608"/>
              <a:gd name="T20" fmla="*/ 3550 w 3622"/>
              <a:gd name="T21" fmla="*/ 206 h 608"/>
              <a:gd name="T22" fmla="*/ 3526 w 3622"/>
              <a:gd name="T23" fmla="*/ 232 h 608"/>
              <a:gd name="T24" fmla="*/ 3514 w 3622"/>
              <a:gd name="T25" fmla="*/ 246 h 608"/>
              <a:gd name="T26" fmla="*/ 3498 w 3622"/>
              <a:gd name="T27" fmla="*/ 258 h 608"/>
              <a:gd name="T28" fmla="*/ 3484 w 3622"/>
              <a:gd name="T29" fmla="*/ 268 h 608"/>
              <a:gd name="T30" fmla="*/ 3466 w 3622"/>
              <a:gd name="T31" fmla="*/ 280 h 608"/>
              <a:gd name="T32" fmla="*/ 3448 w 3622"/>
              <a:gd name="T33" fmla="*/ 288 h 608"/>
              <a:gd name="T34" fmla="*/ 3430 w 3622"/>
              <a:gd name="T35" fmla="*/ 298 h 608"/>
              <a:gd name="T36" fmla="*/ 3410 w 3622"/>
              <a:gd name="T37" fmla="*/ 304 h 608"/>
              <a:gd name="T38" fmla="*/ 3386 w 3622"/>
              <a:gd name="T39" fmla="*/ 310 h 608"/>
              <a:gd name="T40" fmla="*/ 3364 w 3622"/>
              <a:gd name="T41" fmla="*/ 316 h 608"/>
              <a:gd name="T42" fmla="*/ 3338 w 3622"/>
              <a:gd name="T43" fmla="*/ 318 h 608"/>
              <a:gd name="T44" fmla="*/ 3338 w 3622"/>
              <a:gd name="T45" fmla="*/ 318 h 608"/>
              <a:gd name="T46" fmla="*/ 0 w 3622"/>
              <a:gd name="T47" fmla="*/ 608 h 608"/>
              <a:gd name="T48" fmla="*/ 3622 w 3622"/>
              <a:gd name="T49" fmla="*/ 608 h 608"/>
              <a:gd name="connsiteX0" fmla="*/ 10000 w 10000"/>
              <a:gd name="connsiteY0" fmla="*/ 10000 h 10000"/>
              <a:gd name="connsiteX1" fmla="*/ 10000 w 10000"/>
              <a:gd name="connsiteY1" fmla="*/ 0 h 10000"/>
              <a:gd name="connsiteX2" fmla="*/ 10000 w 10000"/>
              <a:gd name="connsiteY2" fmla="*/ 0 h 10000"/>
              <a:gd name="connsiteX3" fmla="*/ 10000 w 10000"/>
              <a:gd name="connsiteY3" fmla="*/ 230 h 10000"/>
              <a:gd name="connsiteX4" fmla="*/ 9983 w 10000"/>
              <a:gd name="connsiteY4" fmla="*/ 757 h 10000"/>
              <a:gd name="connsiteX5" fmla="*/ 9972 w 10000"/>
              <a:gd name="connsiteY5" fmla="*/ 1118 h 10000"/>
              <a:gd name="connsiteX6" fmla="*/ 9950 w 10000"/>
              <a:gd name="connsiteY6" fmla="*/ 1546 h 10000"/>
              <a:gd name="connsiteX7" fmla="*/ 9928 w 10000"/>
              <a:gd name="connsiteY7" fmla="*/ 2007 h 10000"/>
              <a:gd name="connsiteX8" fmla="*/ 9895 w 10000"/>
              <a:gd name="connsiteY8" fmla="*/ 2467 h 10000"/>
              <a:gd name="connsiteX9" fmla="*/ 9851 w 10000"/>
              <a:gd name="connsiteY9" fmla="*/ 2928 h 10000"/>
              <a:gd name="connsiteX10" fmla="*/ 9801 w 10000"/>
              <a:gd name="connsiteY10" fmla="*/ 3388 h 10000"/>
              <a:gd name="connsiteX11" fmla="*/ 9735 w 10000"/>
              <a:gd name="connsiteY11" fmla="*/ 3816 h 10000"/>
              <a:gd name="connsiteX12" fmla="*/ 9702 w 10000"/>
              <a:gd name="connsiteY12" fmla="*/ 4046 h 10000"/>
              <a:gd name="connsiteX13" fmla="*/ 9658 w 10000"/>
              <a:gd name="connsiteY13" fmla="*/ 4243 h 10000"/>
              <a:gd name="connsiteX14" fmla="*/ 9619 w 10000"/>
              <a:gd name="connsiteY14" fmla="*/ 4408 h 10000"/>
              <a:gd name="connsiteX15" fmla="*/ 9569 w 10000"/>
              <a:gd name="connsiteY15" fmla="*/ 4605 h 10000"/>
              <a:gd name="connsiteX16" fmla="*/ 9520 w 10000"/>
              <a:gd name="connsiteY16" fmla="*/ 4737 h 10000"/>
              <a:gd name="connsiteX17" fmla="*/ 9470 w 10000"/>
              <a:gd name="connsiteY17" fmla="*/ 4901 h 10000"/>
              <a:gd name="connsiteX18" fmla="*/ 9415 w 10000"/>
              <a:gd name="connsiteY18" fmla="*/ 5000 h 10000"/>
              <a:gd name="connsiteX19" fmla="*/ 9348 w 10000"/>
              <a:gd name="connsiteY19" fmla="*/ 5099 h 10000"/>
              <a:gd name="connsiteX20" fmla="*/ 9288 w 10000"/>
              <a:gd name="connsiteY20" fmla="*/ 5197 h 10000"/>
              <a:gd name="connsiteX21" fmla="*/ 9216 w 10000"/>
              <a:gd name="connsiteY21" fmla="*/ 5230 h 10000"/>
              <a:gd name="connsiteX22" fmla="*/ 9216 w 10000"/>
              <a:gd name="connsiteY22" fmla="*/ 5230 h 10000"/>
              <a:gd name="connsiteX23" fmla="*/ 1190 w 10000"/>
              <a:gd name="connsiteY23" fmla="*/ 9414 h 10000"/>
              <a:gd name="connsiteX24" fmla="*/ 0 w 10000"/>
              <a:gd name="connsiteY24" fmla="*/ 10000 h 10000"/>
              <a:gd name="connsiteX25" fmla="*/ 10000 w 10000"/>
              <a:gd name="connsiteY25" fmla="*/ 10000 h 10000"/>
              <a:gd name="connsiteX0" fmla="*/ 10000 w 10000"/>
              <a:gd name="connsiteY0" fmla="*/ 10000 h 10011"/>
              <a:gd name="connsiteX1" fmla="*/ 10000 w 10000"/>
              <a:gd name="connsiteY1" fmla="*/ 0 h 10011"/>
              <a:gd name="connsiteX2" fmla="*/ 10000 w 10000"/>
              <a:gd name="connsiteY2" fmla="*/ 0 h 10011"/>
              <a:gd name="connsiteX3" fmla="*/ 10000 w 10000"/>
              <a:gd name="connsiteY3" fmla="*/ 230 h 10011"/>
              <a:gd name="connsiteX4" fmla="*/ 9983 w 10000"/>
              <a:gd name="connsiteY4" fmla="*/ 757 h 10011"/>
              <a:gd name="connsiteX5" fmla="*/ 9972 w 10000"/>
              <a:gd name="connsiteY5" fmla="*/ 1118 h 10011"/>
              <a:gd name="connsiteX6" fmla="*/ 9950 w 10000"/>
              <a:gd name="connsiteY6" fmla="*/ 1546 h 10011"/>
              <a:gd name="connsiteX7" fmla="*/ 9928 w 10000"/>
              <a:gd name="connsiteY7" fmla="*/ 2007 h 10011"/>
              <a:gd name="connsiteX8" fmla="*/ 9895 w 10000"/>
              <a:gd name="connsiteY8" fmla="*/ 2467 h 10011"/>
              <a:gd name="connsiteX9" fmla="*/ 9851 w 10000"/>
              <a:gd name="connsiteY9" fmla="*/ 2928 h 10011"/>
              <a:gd name="connsiteX10" fmla="*/ 9801 w 10000"/>
              <a:gd name="connsiteY10" fmla="*/ 3388 h 10011"/>
              <a:gd name="connsiteX11" fmla="*/ 9735 w 10000"/>
              <a:gd name="connsiteY11" fmla="*/ 3816 h 10011"/>
              <a:gd name="connsiteX12" fmla="*/ 9702 w 10000"/>
              <a:gd name="connsiteY12" fmla="*/ 4046 h 10011"/>
              <a:gd name="connsiteX13" fmla="*/ 9658 w 10000"/>
              <a:gd name="connsiteY13" fmla="*/ 4243 h 10011"/>
              <a:gd name="connsiteX14" fmla="*/ 9619 w 10000"/>
              <a:gd name="connsiteY14" fmla="*/ 4408 h 10011"/>
              <a:gd name="connsiteX15" fmla="*/ 9569 w 10000"/>
              <a:gd name="connsiteY15" fmla="*/ 4605 h 10011"/>
              <a:gd name="connsiteX16" fmla="*/ 9520 w 10000"/>
              <a:gd name="connsiteY16" fmla="*/ 4737 h 10011"/>
              <a:gd name="connsiteX17" fmla="*/ 9470 w 10000"/>
              <a:gd name="connsiteY17" fmla="*/ 4901 h 10011"/>
              <a:gd name="connsiteX18" fmla="*/ 9415 w 10000"/>
              <a:gd name="connsiteY18" fmla="*/ 5000 h 10011"/>
              <a:gd name="connsiteX19" fmla="*/ 9348 w 10000"/>
              <a:gd name="connsiteY19" fmla="*/ 5099 h 10011"/>
              <a:gd name="connsiteX20" fmla="*/ 9288 w 10000"/>
              <a:gd name="connsiteY20" fmla="*/ 5197 h 10011"/>
              <a:gd name="connsiteX21" fmla="*/ 9216 w 10000"/>
              <a:gd name="connsiteY21" fmla="*/ 5230 h 10011"/>
              <a:gd name="connsiteX22" fmla="*/ 9216 w 10000"/>
              <a:gd name="connsiteY22" fmla="*/ 5230 h 10011"/>
              <a:gd name="connsiteX23" fmla="*/ 1190 w 10000"/>
              <a:gd name="connsiteY23" fmla="*/ 9414 h 10011"/>
              <a:gd name="connsiteX24" fmla="*/ 0 w 10000"/>
              <a:gd name="connsiteY24" fmla="*/ 10000 h 10011"/>
              <a:gd name="connsiteX25" fmla="*/ 1185 w 10000"/>
              <a:gd name="connsiteY25" fmla="*/ 10011 h 10011"/>
              <a:gd name="connsiteX26" fmla="*/ 10000 w 10000"/>
              <a:gd name="connsiteY26" fmla="*/ 10000 h 10011"/>
              <a:gd name="connsiteX0" fmla="*/ 8815 w 8815"/>
              <a:gd name="connsiteY0" fmla="*/ 10000 h 10011"/>
              <a:gd name="connsiteX1" fmla="*/ 8815 w 8815"/>
              <a:gd name="connsiteY1" fmla="*/ 0 h 10011"/>
              <a:gd name="connsiteX2" fmla="*/ 8815 w 8815"/>
              <a:gd name="connsiteY2" fmla="*/ 0 h 10011"/>
              <a:gd name="connsiteX3" fmla="*/ 8815 w 8815"/>
              <a:gd name="connsiteY3" fmla="*/ 230 h 10011"/>
              <a:gd name="connsiteX4" fmla="*/ 8798 w 8815"/>
              <a:gd name="connsiteY4" fmla="*/ 757 h 10011"/>
              <a:gd name="connsiteX5" fmla="*/ 8787 w 8815"/>
              <a:gd name="connsiteY5" fmla="*/ 1118 h 10011"/>
              <a:gd name="connsiteX6" fmla="*/ 8765 w 8815"/>
              <a:gd name="connsiteY6" fmla="*/ 1546 h 10011"/>
              <a:gd name="connsiteX7" fmla="*/ 8743 w 8815"/>
              <a:gd name="connsiteY7" fmla="*/ 2007 h 10011"/>
              <a:gd name="connsiteX8" fmla="*/ 8710 w 8815"/>
              <a:gd name="connsiteY8" fmla="*/ 2467 h 10011"/>
              <a:gd name="connsiteX9" fmla="*/ 8666 w 8815"/>
              <a:gd name="connsiteY9" fmla="*/ 2928 h 10011"/>
              <a:gd name="connsiteX10" fmla="*/ 8616 w 8815"/>
              <a:gd name="connsiteY10" fmla="*/ 3388 h 10011"/>
              <a:gd name="connsiteX11" fmla="*/ 8550 w 8815"/>
              <a:gd name="connsiteY11" fmla="*/ 3816 h 10011"/>
              <a:gd name="connsiteX12" fmla="*/ 8517 w 8815"/>
              <a:gd name="connsiteY12" fmla="*/ 4046 h 10011"/>
              <a:gd name="connsiteX13" fmla="*/ 8473 w 8815"/>
              <a:gd name="connsiteY13" fmla="*/ 4243 h 10011"/>
              <a:gd name="connsiteX14" fmla="*/ 8434 w 8815"/>
              <a:gd name="connsiteY14" fmla="*/ 4408 h 10011"/>
              <a:gd name="connsiteX15" fmla="*/ 8384 w 8815"/>
              <a:gd name="connsiteY15" fmla="*/ 4605 h 10011"/>
              <a:gd name="connsiteX16" fmla="*/ 8335 w 8815"/>
              <a:gd name="connsiteY16" fmla="*/ 4737 h 10011"/>
              <a:gd name="connsiteX17" fmla="*/ 8285 w 8815"/>
              <a:gd name="connsiteY17" fmla="*/ 4901 h 10011"/>
              <a:gd name="connsiteX18" fmla="*/ 8230 w 8815"/>
              <a:gd name="connsiteY18" fmla="*/ 5000 h 10011"/>
              <a:gd name="connsiteX19" fmla="*/ 8163 w 8815"/>
              <a:gd name="connsiteY19" fmla="*/ 5099 h 10011"/>
              <a:gd name="connsiteX20" fmla="*/ 8103 w 8815"/>
              <a:gd name="connsiteY20" fmla="*/ 5197 h 10011"/>
              <a:gd name="connsiteX21" fmla="*/ 8031 w 8815"/>
              <a:gd name="connsiteY21" fmla="*/ 5230 h 10011"/>
              <a:gd name="connsiteX22" fmla="*/ 8031 w 8815"/>
              <a:gd name="connsiteY22" fmla="*/ 5230 h 10011"/>
              <a:gd name="connsiteX23" fmla="*/ 5 w 8815"/>
              <a:gd name="connsiteY23" fmla="*/ 9414 h 10011"/>
              <a:gd name="connsiteX24" fmla="*/ 0 w 8815"/>
              <a:gd name="connsiteY24" fmla="*/ 10011 h 10011"/>
              <a:gd name="connsiteX25" fmla="*/ 8815 w 8815"/>
              <a:gd name="connsiteY25" fmla="*/ 10000 h 10011"/>
              <a:gd name="connsiteX0" fmla="*/ 9996 w 9996"/>
              <a:gd name="connsiteY0" fmla="*/ 9989 h 10000"/>
              <a:gd name="connsiteX1" fmla="*/ 9996 w 9996"/>
              <a:gd name="connsiteY1" fmla="*/ 0 h 10000"/>
              <a:gd name="connsiteX2" fmla="*/ 9996 w 9996"/>
              <a:gd name="connsiteY2" fmla="*/ 0 h 10000"/>
              <a:gd name="connsiteX3" fmla="*/ 9996 w 9996"/>
              <a:gd name="connsiteY3" fmla="*/ 230 h 10000"/>
              <a:gd name="connsiteX4" fmla="*/ 9977 w 9996"/>
              <a:gd name="connsiteY4" fmla="*/ 756 h 10000"/>
              <a:gd name="connsiteX5" fmla="*/ 9964 w 9996"/>
              <a:gd name="connsiteY5" fmla="*/ 1117 h 10000"/>
              <a:gd name="connsiteX6" fmla="*/ 9939 w 9996"/>
              <a:gd name="connsiteY6" fmla="*/ 1544 h 10000"/>
              <a:gd name="connsiteX7" fmla="*/ 9914 w 9996"/>
              <a:gd name="connsiteY7" fmla="*/ 2005 h 10000"/>
              <a:gd name="connsiteX8" fmla="*/ 9877 w 9996"/>
              <a:gd name="connsiteY8" fmla="*/ 2464 h 10000"/>
              <a:gd name="connsiteX9" fmla="*/ 9827 w 9996"/>
              <a:gd name="connsiteY9" fmla="*/ 2925 h 10000"/>
              <a:gd name="connsiteX10" fmla="*/ 9770 w 9996"/>
              <a:gd name="connsiteY10" fmla="*/ 3384 h 10000"/>
              <a:gd name="connsiteX11" fmla="*/ 9695 w 9996"/>
              <a:gd name="connsiteY11" fmla="*/ 3812 h 10000"/>
              <a:gd name="connsiteX12" fmla="*/ 9658 w 9996"/>
              <a:gd name="connsiteY12" fmla="*/ 4042 h 10000"/>
              <a:gd name="connsiteX13" fmla="*/ 9608 w 9996"/>
              <a:gd name="connsiteY13" fmla="*/ 4238 h 10000"/>
              <a:gd name="connsiteX14" fmla="*/ 9564 w 9996"/>
              <a:gd name="connsiteY14" fmla="*/ 4403 h 10000"/>
              <a:gd name="connsiteX15" fmla="*/ 9507 w 9996"/>
              <a:gd name="connsiteY15" fmla="*/ 4600 h 10000"/>
              <a:gd name="connsiteX16" fmla="*/ 9451 w 9996"/>
              <a:gd name="connsiteY16" fmla="*/ 4732 h 10000"/>
              <a:gd name="connsiteX17" fmla="*/ 9395 w 9996"/>
              <a:gd name="connsiteY17" fmla="*/ 4896 h 10000"/>
              <a:gd name="connsiteX18" fmla="*/ 9332 w 9996"/>
              <a:gd name="connsiteY18" fmla="*/ 4995 h 10000"/>
              <a:gd name="connsiteX19" fmla="*/ 9256 w 9996"/>
              <a:gd name="connsiteY19" fmla="*/ 5093 h 10000"/>
              <a:gd name="connsiteX20" fmla="*/ 9188 w 9996"/>
              <a:gd name="connsiteY20" fmla="*/ 5191 h 10000"/>
              <a:gd name="connsiteX21" fmla="*/ 9107 w 9996"/>
              <a:gd name="connsiteY21" fmla="*/ 5224 h 10000"/>
              <a:gd name="connsiteX22" fmla="*/ 9107 w 9996"/>
              <a:gd name="connsiteY22" fmla="*/ 5224 h 10000"/>
              <a:gd name="connsiteX23" fmla="*/ 2 w 9996"/>
              <a:gd name="connsiteY23" fmla="*/ 9404 h 10000"/>
              <a:gd name="connsiteX24" fmla="*/ 0 w 9996"/>
              <a:gd name="connsiteY24" fmla="*/ 10000 h 10000"/>
              <a:gd name="connsiteX25" fmla="*/ 9996 w 9996"/>
              <a:gd name="connsiteY25" fmla="*/ 9989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9996" h="10000">
                <a:moveTo>
                  <a:pt x="9996" y="9989"/>
                </a:moveTo>
                <a:lnTo>
                  <a:pt x="9996" y="0"/>
                </a:lnTo>
                <a:lnTo>
                  <a:pt x="9996" y="0"/>
                </a:lnTo>
                <a:lnTo>
                  <a:pt x="9996" y="230"/>
                </a:lnTo>
                <a:cubicBezTo>
                  <a:pt x="9989" y="406"/>
                  <a:pt x="9984" y="580"/>
                  <a:pt x="9977" y="756"/>
                </a:cubicBezTo>
                <a:cubicBezTo>
                  <a:pt x="9972" y="876"/>
                  <a:pt x="9969" y="997"/>
                  <a:pt x="9964" y="1117"/>
                </a:cubicBezTo>
                <a:cubicBezTo>
                  <a:pt x="9956" y="1260"/>
                  <a:pt x="9947" y="1401"/>
                  <a:pt x="9939" y="1544"/>
                </a:cubicBezTo>
                <a:cubicBezTo>
                  <a:pt x="9931" y="1698"/>
                  <a:pt x="9922" y="1851"/>
                  <a:pt x="9914" y="2005"/>
                </a:cubicBezTo>
                <a:cubicBezTo>
                  <a:pt x="9902" y="2158"/>
                  <a:pt x="9889" y="2311"/>
                  <a:pt x="9877" y="2464"/>
                </a:cubicBezTo>
                <a:cubicBezTo>
                  <a:pt x="9860" y="2618"/>
                  <a:pt x="9844" y="2771"/>
                  <a:pt x="9827" y="2925"/>
                </a:cubicBezTo>
                <a:cubicBezTo>
                  <a:pt x="9808" y="3078"/>
                  <a:pt x="9790" y="3231"/>
                  <a:pt x="9770" y="3384"/>
                </a:cubicBezTo>
                <a:cubicBezTo>
                  <a:pt x="9745" y="3527"/>
                  <a:pt x="9720" y="3669"/>
                  <a:pt x="9695" y="3812"/>
                </a:cubicBezTo>
                <a:cubicBezTo>
                  <a:pt x="9683" y="3889"/>
                  <a:pt x="9670" y="3965"/>
                  <a:pt x="9658" y="4042"/>
                </a:cubicBezTo>
                <a:cubicBezTo>
                  <a:pt x="9641" y="4107"/>
                  <a:pt x="9625" y="4172"/>
                  <a:pt x="9608" y="4238"/>
                </a:cubicBezTo>
                <a:cubicBezTo>
                  <a:pt x="9593" y="4293"/>
                  <a:pt x="9579" y="4348"/>
                  <a:pt x="9564" y="4403"/>
                </a:cubicBezTo>
                <a:cubicBezTo>
                  <a:pt x="9544" y="4469"/>
                  <a:pt x="9526" y="4534"/>
                  <a:pt x="9507" y="4600"/>
                </a:cubicBezTo>
                <a:cubicBezTo>
                  <a:pt x="9489" y="4644"/>
                  <a:pt x="9470" y="4688"/>
                  <a:pt x="9451" y="4732"/>
                </a:cubicBezTo>
                <a:cubicBezTo>
                  <a:pt x="9432" y="4787"/>
                  <a:pt x="9414" y="4841"/>
                  <a:pt x="9395" y="4896"/>
                </a:cubicBezTo>
                <a:lnTo>
                  <a:pt x="9332" y="4995"/>
                </a:lnTo>
                <a:cubicBezTo>
                  <a:pt x="9307" y="5027"/>
                  <a:pt x="9281" y="5060"/>
                  <a:pt x="9256" y="5093"/>
                </a:cubicBezTo>
                <a:cubicBezTo>
                  <a:pt x="9234" y="5126"/>
                  <a:pt x="9211" y="5158"/>
                  <a:pt x="9188" y="5191"/>
                </a:cubicBezTo>
                <a:lnTo>
                  <a:pt x="9107" y="5224"/>
                </a:lnTo>
                <a:lnTo>
                  <a:pt x="9107" y="5224"/>
                </a:lnTo>
                <a:lnTo>
                  <a:pt x="2" y="9404"/>
                </a:lnTo>
                <a:cubicBezTo>
                  <a:pt x="-1" y="9602"/>
                  <a:pt x="2" y="9801"/>
                  <a:pt x="0" y="10000"/>
                </a:cubicBezTo>
                <a:lnTo>
                  <a:pt x="9996" y="9989"/>
                </a:lnTo>
                <a:close/>
              </a:path>
            </a:pathLst>
          </a:custGeom>
          <a:solidFill>
            <a:schemeClr val="accent6"/>
          </a:solidFill>
          <a:ln>
            <a:noFill/>
          </a:ln>
        </p:spPr>
        <p:txBody>
          <a:bodyPr vert="horz" wrap="square" lIns="133428" tIns="66715" rIns="133428" bIns="66715" numCol="1" anchor="t" anchorCtr="0" compatLnSpc="1">
            <a:prstTxWarp prst="textNoShape">
              <a:avLst/>
            </a:prstTxWarp>
          </a:bodyPr>
          <a:lstStyle/>
          <a:p>
            <a:endParaRPr lang="ja-JP" altLang="en-US" sz="2533"/>
          </a:p>
        </p:txBody>
      </p:sp>
      <p:sp>
        <p:nvSpPr>
          <p:cNvPr id="2" name="タイトル 1"/>
          <p:cNvSpPr>
            <a:spLocks noGrp="1"/>
          </p:cNvSpPr>
          <p:nvPr>
            <p:ph type="title"/>
          </p:nvPr>
        </p:nvSpPr>
        <p:spPr>
          <a:xfrm>
            <a:off x="368549" y="194236"/>
            <a:ext cx="9791452" cy="540000"/>
          </a:xfrm>
          <a:prstGeom prst="rect">
            <a:avLst/>
          </a:prstGeom>
        </p:spPr>
        <p:txBody>
          <a:bodyPr lIns="95767" tIns="47884" rIns="95767" bIns="47884"/>
          <a:lstStyle/>
          <a:p>
            <a:r>
              <a:rPr kumimoji="1" lang="ja-JP" altLang="en-US"/>
              <a:t>マスター タイトルの書式設定</a:t>
            </a:r>
          </a:p>
        </p:txBody>
      </p:sp>
      <p:sp>
        <p:nvSpPr>
          <p:cNvPr id="3" name="コンテンツ プレースホルダー 2"/>
          <p:cNvSpPr>
            <a:spLocks noGrp="1"/>
          </p:cNvSpPr>
          <p:nvPr>
            <p:ph idx="1"/>
          </p:nvPr>
        </p:nvSpPr>
        <p:spPr>
          <a:xfrm>
            <a:off x="368551" y="903600"/>
            <a:ext cx="11583452" cy="5540400"/>
          </a:xfrm>
          <a:prstGeom prst="rect">
            <a:avLst/>
          </a:prstGeom>
        </p:spPr>
        <p:txBody>
          <a:bodyPr lIns="95767" tIns="47884" rIns="95767" bIns="47884"/>
          <a:lstStyle>
            <a:lvl2pPr indent="-236233">
              <a:defRPr/>
            </a:lvl2pPr>
            <a:lvl3pPr indent="-236233">
              <a:defRPr/>
            </a:lvl3pPr>
            <a:lvl4pPr indent="-236233">
              <a:defRPr/>
            </a:lvl4pPr>
            <a:lvl5pPr indent="-236233">
              <a:defRPr/>
            </a:lvl5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6" name="スライド番号プレースホルダー 5"/>
          <p:cNvSpPr>
            <a:spLocks noGrp="1"/>
          </p:cNvSpPr>
          <p:nvPr>
            <p:ph type="sldNum" sz="quarter" idx="12"/>
          </p:nvPr>
        </p:nvSpPr>
        <p:spPr>
          <a:xfrm>
            <a:off x="11524630" y="6468878"/>
            <a:ext cx="555811" cy="289299"/>
          </a:xfrm>
          <a:prstGeom prst="rect">
            <a:avLst/>
          </a:prstGeom>
        </p:spPr>
        <p:txBody>
          <a:bodyPr lIns="95767" tIns="47884" rIns="95767" bIns="47884"/>
          <a:lstStyle>
            <a:lvl1pPr>
              <a:defRPr sz="1333"/>
            </a:lvl1pPr>
          </a:lstStyle>
          <a:p>
            <a:fld id="{2FF5E1DE-7B95-8A44-8552-65323269AE41}" type="slidenum">
              <a:rPr lang="ja-JP" altLang="en-US" smtClean="0"/>
              <a:pPr/>
              <a:t>‹#›</a:t>
            </a:fld>
            <a:endParaRPr lang="ja-JP" altLang="en-US"/>
          </a:p>
        </p:txBody>
      </p:sp>
      <p:cxnSp>
        <p:nvCxnSpPr>
          <p:cNvPr id="8" name="直線コネクタ 7"/>
          <p:cNvCxnSpPr/>
          <p:nvPr userDrawn="1"/>
        </p:nvCxnSpPr>
        <p:spPr>
          <a:xfrm>
            <a:off x="239959" y="817200"/>
            <a:ext cx="11709966" cy="0"/>
          </a:xfrm>
          <a:prstGeom prst="line">
            <a:avLst/>
          </a:prstGeom>
          <a:ln>
            <a:solidFill>
              <a:srgbClr val="92846E"/>
            </a:solidFill>
          </a:ln>
          <a:effectLst/>
        </p:spPr>
        <p:style>
          <a:lnRef idx="2">
            <a:schemeClr val="accent1"/>
          </a:lnRef>
          <a:fillRef idx="0">
            <a:schemeClr val="accent1"/>
          </a:fillRef>
          <a:effectRef idx="1">
            <a:schemeClr val="accent1"/>
          </a:effectRef>
          <a:fontRef idx="minor">
            <a:schemeClr val="tx1"/>
          </a:fontRef>
        </p:style>
      </p:cxnSp>
      <p:pic>
        <p:nvPicPr>
          <p:cNvPr id="10" name="Picture 2" descr="K:\新ロゴ（データ一式）\DLH_3_EN.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1038066" y="-34312"/>
            <a:ext cx="973128" cy="90043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43007300"/>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type="titleOnly" preserve="1">
  <p:cSld name="タイトルのみ">
    <p:spTree>
      <p:nvGrpSpPr>
        <p:cNvPr id="1" name=""/>
        <p:cNvGrpSpPr/>
        <p:nvPr/>
      </p:nvGrpSpPr>
      <p:grpSpPr>
        <a:xfrm>
          <a:off x="0" y="0"/>
          <a:ext cx="0" cy="0"/>
          <a:chOff x="0" y="0"/>
          <a:chExt cx="0" cy="0"/>
        </a:xfrm>
      </p:grpSpPr>
      <p:sp>
        <p:nvSpPr>
          <p:cNvPr id="5" name="スライド番号プレースホルダー 4"/>
          <p:cNvSpPr>
            <a:spLocks noGrp="1"/>
          </p:cNvSpPr>
          <p:nvPr>
            <p:ph type="sldNum" sz="quarter" idx="12"/>
          </p:nvPr>
        </p:nvSpPr>
        <p:spPr>
          <a:xfrm>
            <a:off x="11524627" y="6468884"/>
            <a:ext cx="555812" cy="289299"/>
          </a:xfrm>
          <a:prstGeom prst="rect">
            <a:avLst/>
          </a:prstGeom>
        </p:spPr>
        <p:txBody>
          <a:bodyPr/>
          <a:lstStyle/>
          <a:p>
            <a:pPr marL="0" marR="0" lvl="0" indent="0" algn="l" defTabSz="685800" rtl="0" eaLnBrk="1" fontAlgn="base" latinLnBrk="0" hangingPunct="1">
              <a:lnSpc>
                <a:spcPct val="100000"/>
              </a:lnSpc>
              <a:spcBef>
                <a:spcPct val="0"/>
              </a:spcBef>
              <a:spcAft>
                <a:spcPct val="0"/>
              </a:spcAft>
              <a:buClrTx/>
              <a:buSzTx/>
              <a:buFontTx/>
              <a:buNone/>
              <a:tabLst/>
              <a:defRPr/>
            </a:pPr>
            <a:fld id="{2FF5E1DE-7B95-8A44-8552-65323269AE41}" type="slidenum">
              <a:rPr kumimoji="1" lang="ja-JP" altLang="en-US" sz="675" b="0" i="0" u="none" strike="noStrike" kern="1200" cap="none" spc="0" normalizeH="0" baseline="0" noProof="0" smtClean="0">
                <a:ln>
                  <a:noFill/>
                </a:ln>
                <a:solidFill>
                  <a:srgbClr val="000000"/>
                </a:solidFill>
                <a:effectLst/>
                <a:uLnTx/>
                <a:uFillTx/>
                <a:latin typeface="Arial" charset="0"/>
                <a:ea typeface="ＭＳ Ｐゴシック" panose="020B0600070205080204" pitchFamily="50" charset="-128"/>
                <a:cs typeface="+mn-cs"/>
              </a:rPr>
              <a:pPr marL="0" marR="0" lvl="0" indent="0" algn="l" defTabSz="685800" rtl="0" eaLnBrk="1" fontAlgn="base" latinLnBrk="0" hangingPunct="1">
                <a:lnSpc>
                  <a:spcPct val="100000"/>
                </a:lnSpc>
                <a:spcBef>
                  <a:spcPct val="0"/>
                </a:spcBef>
                <a:spcAft>
                  <a:spcPct val="0"/>
                </a:spcAft>
                <a:buClrTx/>
                <a:buSzTx/>
                <a:buFontTx/>
                <a:buNone/>
                <a:tabLst/>
                <a:defRPr/>
              </a:pPr>
              <a:t>‹#›</a:t>
            </a:fld>
            <a:endParaRPr kumimoji="1" lang="ja-JP" altLang="en-US" sz="675" b="0" i="0" u="none" strike="noStrike" kern="1200" cap="none" spc="0" normalizeH="0" baseline="0" noProof="0">
              <a:ln>
                <a:noFill/>
              </a:ln>
              <a:solidFill>
                <a:srgbClr val="000000"/>
              </a:solidFill>
              <a:effectLst/>
              <a:uLnTx/>
              <a:uFillTx/>
              <a:latin typeface="Arial" charset="0"/>
              <a:ea typeface="ＭＳ Ｐゴシック" panose="020B0600070205080204" pitchFamily="50" charset="-128"/>
              <a:cs typeface="+mn-cs"/>
            </a:endParaRPr>
          </a:p>
        </p:txBody>
      </p:sp>
      <p:sp>
        <p:nvSpPr>
          <p:cNvPr id="6" name="正方形/長方形 5"/>
          <p:cNvSpPr/>
          <p:nvPr userDrawn="1"/>
        </p:nvSpPr>
        <p:spPr>
          <a:xfrm>
            <a:off x="0" y="0"/>
            <a:ext cx="12192000" cy="68580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1" lang="ja-JP" altLang="en-US" sz="1350" b="0" i="0" u="none" strike="noStrike" kern="1200" cap="none" spc="0" normalizeH="0" baseline="0" noProof="0">
              <a:ln>
                <a:noFill/>
              </a:ln>
              <a:solidFill>
                <a:prstClr val="white"/>
              </a:solidFill>
              <a:effectLst/>
              <a:uLnTx/>
              <a:uFillTx/>
              <a:latin typeface="Calibri"/>
              <a:ea typeface="ＭＳ Ｐゴシック" panose="020B0600070205080204" pitchFamily="50" charset="-128"/>
              <a:cs typeface="+mn-cs"/>
            </a:endParaRPr>
          </a:p>
        </p:txBody>
      </p:sp>
      <p:sp>
        <p:nvSpPr>
          <p:cNvPr id="2" name="タイトル 1"/>
          <p:cNvSpPr>
            <a:spLocks noGrp="1"/>
          </p:cNvSpPr>
          <p:nvPr>
            <p:ph type="title"/>
          </p:nvPr>
        </p:nvSpPr>
        <p:spPr>
          <a:xfrm>
            <a:off x="1062819" y="3057400"/>
            <a:ext cx="9791452" cy="540000"/>
          </a:xfrm>
        </p:spPr>
        <p:txBody>
          <a:bodyPr/>
          <a:lstStyle>
            <a:lvl1pPr algn="ctr">
              <a:defRPr b="1"/>
            </a:lvl1pPr>
          </a:lstStyle>
          <a:p>
            <a:r>
              <a:rPr kumimoji="1" lang="ja-JP" altLang="en-US"/>
              <a:t>マスター タイトルの書式設定</a:t>
            </a:r>
          </a:p>
        </p:txBody>
      </p:sp>
    </p:spTree>
    <p:extLst>
      <p:ext uri="{BB962C8B-B14F-4D97-AF65-F5344CB8AC3E}">
        <p14:creationId xmlns:p14="http://schemas.microsoft.com/office/powerpoint/2010/main" val="3041447036"/>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userDrawn="1">
  <p:cSld name="5_タイトルとコンテンツ">
    <p:spTree>
      <p:nvGrpSpPr>
        <p:cNvPr id="1" name=""/>
        <p:cNvGrpSpPr/>
        <p:nvPr/>
      </p:nvGrpSpPr>
      <p:grpSpPr>
        <a:xfrm>
          <a:off x="0" y="0"/>
          <a:ext cx="0" cy="0"/>
          <a:chOff x="0" y="0"/>
          <a:chExt cx="0" cy="0"/>
        </a:xfrm>
      </p:grpSpPr>
      <p:cxnSp>
        <p:nvCxnSpPr>
          <p:cNvPr id="5" name="直線コネクタ 4"/>
          <p:cNvCxnSpPr/>
          <p:nvPr userDrawn="1"/>
        </p:nvCxnSpPr>
        <p:spPr>
          <a:xfrm>
            <a:off x="240000" y="817200"/>
            <a:ext cx="11712000" cy="0"/>
          </a:xfrm>
          <a:prstGeom prst="line">
            <a:avLst/>
          </a:prstGeom>
          <a:ln>
            <a:solidFill>
              <a:srgbClr val="DF0010"/>
            </a:solidFill>
          </a:ln>
          <a:effectLst/>
        </p:spPr>
        <p:style>
          <a:lnRef idx="2">
            <a:schemeClr val="accent1"/>
          </a:lnRef>
          <a:fillRef idx="0">
            <a:schemeClr val="accent1"/>
          </a:fillRef>
          <a:effectRef idx="1">
            <a:schemeClr val="accent1"/>
          </a:effectRef>
          <a:fontRef idx="minor">
            <a:schemeClr val="tx1"/>
          </a:fontRef>
        </p:style>
      </p:cxnSp>
      <p:sp>
        <p:nvSpPr>
          <p:cNvPr id="3" name="タイトル 1"/>
          <p:cNvSpPr>
            <a:spLocks noGrp="1"/>
          </p:cNvSpPr>
          <p:nvPr>
            <p:ph type="title"/>
          </p:nvPr>
        </p:nvSpPr>
        <p:spPr>
          <a:xfrm>
            <a:off x="368551" y="194236"/>
            <a:ext cx="9791452" cy="540000"/>
          </a:xfrm>
        </p:spPr>
        <p:txBody>
          <a:bodyPr>
            <a:normAutofit/>
          </a:bodyPr>
          <a:lstStyle>
            <a:lvl1pPr>
              <a:defRPr sz="2000"/>
            </a:lvl1pPr>
          </a:lstStyle>
          <a:p>
            <a:r>
              <a:rPr kumimoji="1" lang="ja-JP" altLang="en-US"/>
              <a:t>マスター タイトルの書式設定</a:t>
            </a:r>
          </a:p>
        </p:txBody>
      </p:sp>
    </p:spTree>
    <p:extLst>
      <p:ext uri="{BB962C8B-B14F-4D97-AF65-F5344CB8AC3E}">
        <p14:creationId xmlns:p14="http://schemas.microsoft.com/office/powerpoint/2010/main" val="2418328491"/>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type="title" preserve="1">
  <p:cSld name="1_タイトル スライド">
    <p:spTree>
      <p:nvGrpSpPr>
        <p:cNvPr id="1" name=""/>
        <p:cNvGrpSpPr/>
        <p:nvPr/>
      </p:nvGrpSpPr>
      <p:grpSpPr>
        <a:xfrm>
          <a:off x="0" y="0"/>
          <a:ext cx="0" cy="0"/>
          <a:chOff x="0" y="0"/>
          <a:chExt cx="0" cy="0"/>
        </a:xfrm>
      </p:grpSpPr>
      <p:sp>
        <p:nvSpPr>
          <p:cNvPr id="10" name="Freeform 5"/>
          <p:cNvSpPr>
            <a:spLocks/>
          </p:cNvSpPr>
          <p:nvPr userDrawn="1"/>
        </p:nvSpPr>
        <p:spPr bwMode="auto">
          <a:xfrm>
            <a:off x="233538" y="169337"/>
            <a:ext cx="11730712" cy="5207000"/>
          </a:xfrm>
          <a:custGeom>
            <a:avLst/>
            <a:gdLst>
              <a:gd name="T0" fmla="*/ 0 w 1618"/>
              <a:gd name="T1" fmla="*/ 0 h 957"/>
              <a:gd name="T2" fmla="*/ 0 w 1618"/>
              <a:gd name="T3" fmla="*/ 957 h 957"/>
              <a:gd name="T4" fmla="*/ 1279 w 1618"/>
              <a:gd name="T5" fmla="*/ 842 h 957"/>
              <a:gd name="T6" fmla="*/ 1618 w 1618"/>
              <a:gd name="T7" fmla="*/ 472 h 957"/>
              <a:gd name="T8" fmla="*/ 1618 w 1618"/>
              <a:gd name="T9" fmla="*/ 0 h 957"/>
              <a:gd name="T10" fmla="*/ 0 w 1618"/>
              <a:gd name="T11" fmla="*/ 0 h 957"/>
            </a:gdLst>
            <a:ahLst/>
            <a:cxnLst>
              <a:cxn ang="0">
                <a:pos x="T0" y="T1"/>
              </a:cxn>
              <a:cxn ang="0">
                <a:pos x="T2" y="T3"/>
              </a:cxn>
              <a:cxn ang="0">
                <a:pos x="T4" y="T5"/>
              </a:cxn>
              <a:cxn ang="0">
                <a:pos x="T6" y="T7"/>
              </a:cxn>
              <a:cxn ang="0">
                <a:pos x="T8" y="T9"/>
              </a:cxn>
              <a:cxn ang="0">
                <a:pos x="T10" y="T11"/>
              </a:cxn>
            </a:cxnLst>
            <a:rect l="0" t="0" r="r" b="b"/>
            <a:pathLst>
              <a:path w="1618" h="957">
                <a:moveTo>
                  <a:pt x="0" y="0"/>
                </a:moveTo>
                <a:cubicBezTo>
                  <a:pt x="0" y="957"/>
                  <a:pt x="0" y="957"/>
                  <a:pt x="0" y="957"/>
                </a:cubicBezTo>
                <a:cubicBezTo>
                  <a:pt x="1279" y="842"/>
                  <a:pt x="1279" y="842"/>
                  <a:pt x="1279" y="842"/>
                </a:cubicBezTo>
                <a:cubicBezTo>
                  <a:pt x="1465" y="825"/>
                  <a:pt x="1618" y="659"/>
                  <a:pt x="1618" y="472"/>
                </a:cubicBezTo>
                <a:cubicBezTo>
                  <a:pt x="1618" y="0"/>
                  <a:pt x="1618" y="0"/>
                  <a:pt x="1618" y="0"/>
                </a:cubicBezTo>
                <a:lnTo>
                  <a:pt x="0" y="0"/>
                </a:lnTo>
                <a:close/>
              </a:path>
            </a:pathLst>
          </a:custGeom>
          <a:solidFill>
            <a:schemeClr val="accent2"/>
          </a:solidFill>
          <a:ln>
            <a:noFill/>
          </a:ln>
        </p:spPr>
        <p:txBody>
          <a:bodyPr lIns="127667" tIns="63834" rIns="127667" bIns="63834"/>
          <a:lstStyle/>
          <a:p>
            <a:endParaRPr lang="ja-JP" altLang="en-US" sz="2533"/>
          </a:p>
        </p:txBody>
      </p:sp>
      <p:sp>
        <p:nvSpPr>
          <p:cNvPr id="2" name="タイトル 1"/>
          <p:cNvSpPr>
            <a:spLocks noGrp="1"/>
          </p:cNvSpPr>
          <p:nvPr>
            <p:ph type="ctrTitle"/>
          </p:nvPr>
        </p:nvSpPr>
        <p:spPr>
          <a:xfrm>
            <a:off x="914400" y="1416804"/>
            <a:ext cx="10363200" cy="1470025"/>
          </a:xfrm>
          <a:prstGeom prst="rect">
            <a:avLst/>
          </a:prstGeom>
        </p:spPr>
        <p:txBody>
          <a:bodyPr lIns="95767" tIns="47884" rIns="95767" bIns="47884" anchor="b">
            <a:normAutofit/>
          </a:bodyPr>
          <a:lstStyle>
            <a:lvl1pPr algn="l">
              <a:defRPr sz="5199" kern="1200">
                <a:solidFill>
                  <a:schemeClr val="bg1"/>
                </a:solidFill>
                <a:latin typeface="Meiryo UI" panose="020B0604030504040204" pitchFamily="50" charset="-128"/>
                <a:ea typeface="Meiryo UI" panose="020B0604030504040204" pitchFamily="50" charset="-128"/>
              </a:defRPr>
            </a:lvl1pPr>
          </a:lstStyle>
          <a:p>
            <a:r>
              <a:rPr kumimoji="1" lang="ja-JP" altLang="en-US"/>
              <a:t>マスター タイトルの書式設定</a:t>
            </a:r>
          </a:p>
        </p:txBody>
      </p:sp>
      <p:sp>
        <p:nvSpPr>
          <p:cNvPr id="3" name="サブタイトル 2"/>
          <p:cNvSpPr>
            <a:spLocks noGrp="1"/>
          </p:cNvSpPr>
          <p:nvPr>
            <p:ph type="subTitle" idx="1"/>
          </p:nvPr>
        </p:nvSpPr>
        <p:spPr>
          <a:xfrm>
            <a:off x="916801" y="3420000"/>
            <a:ext cx="9691436" cy="977153"/>
          </a:xfrm>
          <a:prstGeom prst="rect">
            <a:avLst/>
          </a:prstGeom>
        </p:spPr>
        <p:txBody>
          <a:bodyPr lIns="95767" tIns="47884" rIns="95767" bIns="47884">
            <a:normAutofit/>
          </a:bodyPr>
          <a:lstStyle>
            <a:lvl1pPr marL="0" indent="0" algn="l">
              <a:buNone/>
              <a:defRPr sz="3333">
                <a:solidFill>
                  <a:schemeClr val="bg1"/>
                </a:solidFill>
                <a:latin typeface="Meiryo UI" panose="020B0604030504040204" pitchFamily="50" charset="-128"/>
                <a:ea typeface="Meiryo UI" panose="020B0604030504040204" pitchFamily="50" charset="-128"/>
              </a:defRPr>
            </a:lvl1pPr>
            <a:lvl2pPr marL="638335" indent="0" algn="ctr">
              <a:buNone/>
              <a:defRPr>
                <a:solidFill>
                  <a:schemeClr val="tx1">
                    <a:tint val="75000"/>
                  </a:schemeClr>
                </a:solidFill>
              </a:defRPr>
            </a:lvl2pPr>
            <a:lvl3pPr marL="1276669" indent="0" algn="ctr">
              <a:buNone/>
              <a:defRPr>
                <a:solidFill>
                  <a:schemeClr val="tx1">
                    <a:tint val="75000"/>
                  </a:schemeClr>
                </a:solidFill>
              </a:defRPr>
            </a:lvl3pPr>
            <a:lvl4pPr marL="1915003" indent="0" algn="ctr">
              <a:buNone/>
              <a:defRPr>
                <a:solidFill>
                  <a:schemeClr val="tx1">
                    <a:tint val="75000"/>
                  </a:schemeClr>
                </a:solidFill>
              </a:defRPr>
            </a:lvl4pPr>
            <a:lvl5pPr marL="2553338" indent="0" algn="ctr">
              <a:buNone/>
              <a:defRPr>
                <a:solidFill>
                  <a:schemeClr val="tx1">
                    <a:tint val="75000"/>
                  </a:schemeClr>
                </a:solidFill>
              </a:defRPr>
            </a:lvl5pPr>
            <a:lvl6pPr marL="3191671" indent="0" algn="ctr">
              <a:buNone/>
              <a:defRPr>
                <a:solidFill>
                  <a:schemeClr val="tx1">
                    <a:tint val="75000"/>
                  </a:schemeClr>
                </a:solidFill>
              </a:defRPr>
            </a:lvl6pPr>
            <a:lvl7pPr marL="3830007" indent="0" algn="ctr">
              <a:buNone/>
              <a:defRPr>
                <a:solidFill>
                  <a:schemeClr val="tx1">
                    <a:tint val="75000"/>
                  </a:schemeClr>
                </a:solidFill>
              </a:defRPr>
            </a:lvl7pPr>
            <a:lvl8pPr marL="4468342" indent="0" algn="ctr">
              <a:buNone/>
              <a:defRPr>
                <a:solidFill>
                  <a:schemeClr val="tx1">
                    <a:tint val="75000"/>
                  </a:schemeClr>
                </a:solidFill>
              </a:defRPr>
            </a:lvl8pPr>
            <a:lvl9pPr marL="5106676" indent="0" algn="ctr">
              <a:buNone/>
              <a:defRPr>
                <a:solidFill>
                  <a:schemeClr val="tx1">
                    <a:tint val="75000"/>
                  </a:schemeClr>
                </a:solidFill>
              </a:defRPr>
            </a:lvl9pPr>
          </a:lstStyle>
          <a:p>
            <a:r>
              <a:rPr kumimoji="1" lang="ja-JP" altLang="en-US"/>
              <a:t>マスター サブタイトルの書式設定</a:t>
            </a:r>
          </a:p>
        </p:txBody>
      </p:sp>
      <p:sp>
        <p:nvSpPr>
          <p:cNvPr id="9" name="フッター プレースホルダー 12"/>
          <p:cNvSpPr>
            <a:spLocks noGrp="1"/>
          </p:cNvSpPr>
          <p:nvPr>
            <p:ph type="ftr" sz="quarter" idx="11"/>
          </p:nvPr>
        </p:nvSpPr>
        <p:spPr>
          <a:xfrm>
            <a:off x="609600" y="6099529"/>
            <a:ext cx="3860800" cy="365125"/>
          </a:xfrm>
          <a:prstGeom prst="rect">
            <a:avLst/>
          </a:prstGeom>
        </p:spPr>
        <p:txBody>
          <a:bodyPr lIns="95767" tIns="47884" rIns="95767" bIns="47884"/>
          <a:lstStyle>
            <a:lvl1pPr algn="l">
              <a:defRPr sz="2266">
                <a:latin typeface="Meiryo UI" panose="020B0604030504040204" pitchFamily="50" charset="-128"/>
                <a:ea typeface="Meiryo UI" panose="020B0604030504040204" pitchFamily="50" charset="-128"/>
              </a:defRPr>
            </a:lvl1pPr>
          </a:lstStyle>
          <a:p>
            <a:endParaRPr lang="ja-JP" altLang="en-US"/>
          </a:p>
        </p:txBody>
      </p:sp>
      <p:sp>
        <p:nvSpPr>
          <p:cNvPr id="12" name="日付プレースホルダー 11"/>
          <p:cNvSpPr>
            <a:spLocks noGrp="1"/>
          </p:cNvSpPr>
          <p:nvPr>
            <p:ph type="dt" sz="half" idx="10"/>
          </p:nvPr>
        </p:nvSpPr>
        <p:spPr>
          <a:xfrm>
            <a:off x="609600" y="5691768"/>
            <a:ext cx="3860800" cy="365125"/>
          </a:xfrm>
          <a:prstGeom prst="rect">
            <a:avLst/>
          </a:prstGeom>
        </p:spPr>
        <p:txBody>
          <a:bodyPr lIns="95767" tIns="47884" rIns="95767" bIns="47884"/>
          <a:lstStyle>
            <a:lvl1pPr algn="l">
              <a:defRPr sz="2266">
                <a:solidFill>
                  <a:srgbClr val="000000"/>
                </a:solidFill>
                <a:latin typeface="Meiryo UI" panose="020B0604030504040204" pitchFamily="50" charset="-128"/>
                <a:ea typeface="Meiryo UI" panose="020B0604030504040204" pitchFamily="50" charset="-128"/>
              </a:defRPr>
            </a:lvl1pPr>
          </a:lstStyle>
          <a:p>
            <a:endParaRPr lang="ja-JP" altLang="en-US"/>
          </a:p>
        </p:txBody>
      </p:sp>
      <p:pic>
        <p:nvPicPr>
          <p:cNvPr id="11" name="Picture 2" descr="C:\Users\00057835\AppData\Local\Temp\notesEA5B2A\グループ併記ロゴ（縦・英文）.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9672823" y="5316525"/>
            <a:ext cx="2519177" cy="1507239"/>
          </a:xfrm>
          <a:prstGeom prst="rect">
            <a:avLst/>
          </a:prstGeom>
          <a:noFill/>
          <a:extLst>
            <a:ext uri="{909E8E84-426E-40DD-AFC4-6F175D3DCCD1}">
              <a14:hiddenFill xmlns:a14="http://schemas.microsoft.com/office/drawing/2010/main">
                <a:solidFill>
                  <a:srgbClr val="FFFFFF"/>
                </a:solidFill>
              </a14:hiddenFill>
            </a:ext>
          </a:extLst>
        </p:spPr>
      </p:pic>
      <p:pic>
        <p:nvPicPr>
          <p:cNvPr id="5" name="図 4" descr="テキスト&#10;&#10;自動的に生成された説明">
            <a:extLst>
              <a:ext uri="{FF2B5EF4-FFF2-40B4-BE49-F238E27FC236}">
                <a16:creationId xmlns:a16="http://schemas.microsoft.com/office/drawing/2014/main" id="{01F41C4B-80DA-47D5-AD1C-68529F2E0EBF}"/>
              </a:ext>
            </a:extLst>
          </p:cNvPr>
          <p:cNvPicPr>
            <a:picLocks noChangeAspect="1"/>
          </p:cNvPicPr>
          <p:nvPr userDrawn="1"/>
        </p:nvPicPr>
        <p:blipFill>
          <a:blip r:embed="rId3"/>
          <a:stretch>
            <a:fillRect/>
          </a:stretch>
        </p:blipFill>
        <p:spPr>
          <a:xfrm>
            <a:off x="7614083" y="5874330"/>
            <a:ext cx="2138567" cy="637168"/>
          </a:xfrm>
          <a:prstGeom prst="rect">
            <a:avLst/>
          </a:prstGeom>
        </p:spPr>
      </p:pic>
    </p:spTree>
    <p:extLst>
      <p:ext uri="{BB962C8B-B14F-4D97-AF65-F5344CB8AC3E}">
        <p14:creationId xmlns:p14="http://schemas.microsoft.com/office/powerpoint/2010/main" val="1890052799"/>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5_タイトルとコンテンツ">
    <p:spTree>
      <p:nvGrpSpPr>
        <p:cNvPr id="1" name=""/>
        <p:cNvGrpSpPr/>
        <p:nvPr/>
      </p:nvGrpSpPr>
      <p:grpSpPr>
        <a:xfrm>
          <a:off x="0" y="0"/>
          <a:ext cx="0" cy="0"/>
          <a:chOff x="0" y="0"/>
          <a:chExt cx="0" cy="0"/>
        </a:xfrm>
      </p:grpSpPr>
      <p:sp>
        <p:nvSpPr>
          <p:cNvPr id="9" name="Freeform 8"/>
          <p:cNvSpPr>
            <a:spLocks/>
          </p:cNvSpPr>
          <p:nvPr userDrawn="1"/>
        </p:nvSpPr>
        <p:spPr bwMode="auto">
          <a:xfrm>
            <a:off x="-2100" y="5505984"/>
            <a:ext cx="12192504" cy="1353504"/>
          </a:xfrm>
          <a:custGeom>
            <a:avLst/>
            <a:gdLst>
              <a:gd name="T0" fmla="*/ 3622 w 3622"/>
              <a:gd name="T1" fmla="*/ 608 h 608"/>
              <a:gd name="T2" fmla="*/ 3622 w 3622"/>
              <a:gd name="T3" fmla="*/ 0 h 608"/>
              <a:gd name="T4" fmla="*/ 3622 w 3622"/>
              <a:gd name="T5" fmla="*/ 0 h 608"/>
              <a:gd name="T6" fmla="*/ 3622 w 3622"/>
              <a:gd name="T7" fmla="*/ 14 h 608"/>
              <a:gd name="T8" fmla="*/ 3616 w 3622"/>
              <a:gd name="T9" fmla="*/ 46 h 608"/>
              <a:gd name="T10" fmla="*/ 3612 w 3622"/>
              <a:gd name="T11" fmla="*/ 68 h 608"/>
              <a:gd name="T12" fmla="*/ 3604 w 3622"/>
              <a:gd name="T13" fmla="*/ 94 h 608"/>
              <a:gd name="T14" fmla="*/ 3596 w 3622"/>
              <a:gd name="T15" fmla="*/ 122 h 608"/>
              <a:gd name="T16" fmla="*/ 3584 w 3622"/>
              <a:gd name="T17" fmla="*/ 150 h 608"/>
              <a:gd name="T18" fmla="*/ 3568 w 3622"/>
              <a:gd name="T19" fmla="*/ 178 h 608"/>
              <a:gd name="T20" fmla="*/ 3550 w 3622"/>
              <a:gd name="T21" fmla="*/ 206 h 608"/>
              <a:gd name="T22" fmla="*/ 3526 w 3622"/>
              <a:gd name="T23" fmla="*/ 232 h 608"/>
              <a:gd name="T24" fmla="*/ 3514 w 3622"/>
              <a:gd name="T25" fmla="*/ 246 h 608"/>
              <a:gd name="T26" fmla="*/ 3498 w 3622"/>
              <a:gd name="T27" fmla="*/ 258 h 608"/>
              <a:gd name="T28" fmla="*/ 3484 w 3622"/>
              <a:gd name="T29" fmla="*/ 268 h 608"/>
              <a:gd name="T30" fmla="*/ 3466 w 3622"/>
              <a:gd name="T31" fmla="*/ 280 h 608"/>
              <a:gd name="T32" fmla="*/ 3448 w 3622"/>
              <a:gd name="T33" fmla="*/ 288 h 608"/>
              <a:gd name="T34" fmla="*/ 3430 w 3622"/>
              <a:gd name="T35" fmla="*/ 298 h 608"/>
              <a:gd name="T36" fmla="*/ 3410 w 3622"/>
              <a:gd name="T37" fmla="*/ 304 h 608"/>
              <a:gd name="T38" fmla="*/ 3386 w 3622"/>
              <a:gd name="T39" fmla="*/ 310 h 608"/>
              <a:gd name="T40" fmla="*/ 3364 w 3622"/>
              <a:gd name="T41" fmla="*/ 316 h 608"/>
              <a:gd name="T42" fmla="*/ 3338 w 3622"/>
              <a:gd name="T43" fmla="*/ 318 h 608"/>
              <a:gd name="T44" fmla="*/ 3338 w 3622"/>
              <a:gd name="T45" fmla="*/ 318 h 608"/>
              <a:gd name="T46" fmla="*/ 0 w 3622"/>
              <a:gd name="T47" fmla="*/ 608 h 608"/>
              <a:gd name="T48" fmla="*/ 3622 w 3622"/>
              <a:gd name="T49" fmla="*/ 608 h 608"/>
              <a:gd name="connsiteX0" fmla="*/ 10000 w 10000"/>
              <a:gd name="connsiteY0" fmla="*/ 10000 h 10000"/>
              <a:gd name="connsiteX1" fmla="*/ 10000 w 10000"/>
              <a:gd name="connsiteY1" fmla="*/ 0 h 10000"/>
              <a:gd name="connsiteX2" fmla="*/ 10000 w 10000"/>
              <a:gd name="connsiteY2" fmla="*/ 0 h 10000"/>
              <a:gd name="connsiteX3" fmla="*/ 10000 w 10000"/>
              <a:gd name="connsiteY3" fmla="*/ 230 h 10000"/>
              <a:gd name="connsiteX4" fmla="*/ 9983 w 10000"/>
              <a:gd name="connsiteY4" fmla="*/ 757 h 10000"/>
              <a:gd name="connsiteX5" fmla="*/ 9972 w 10000"/>
              <a:gd name="connsiteY5" fmla="*/ 1118 h 10000"/>
              <a:gd name="connsiteX6" fmla="*/ 9950 w 10000"/>
              <a:gd name="connsiteY6" fmla="*/ 1546 h 10000"/>
              <a:gd name="connsiteX7" fmla="*/ 9928 w 10000"/>
              <a:gd name="connsiteY7" fmla="*/ 2007 h 10000"/>
              <a:gd name="connsiteX8" fmla="*/ 9895 w 10000"/>
              <a:gd name="connsiteY8" fmla="*/ 2467 h 10000"/>
              <a:gd name="connsiteX9" fmla="*/ 9851 w 10000"/>
              <a:gd name="connsiteY9" fmla="*/ 2928 h 10000"/>
              <a:gd name="connsiteX10" fmla="*/ 9801 w 10000"/>
              <a:gd name="connsiteY10" fmla="*/ 3388 h 10000"/>
              <a:gd name="connsiteX11" fmla="*/ 9735 w 10000"/>
              <a:gd name="connsiteY11" fmla="*/ 3816 h 10000"/>
              <a:gd name="connsiteX12" fmla="*/ 9702 w 10000"/>
              <a:gd name="connsiteY12" fmla="*/ 4046 h 10000"/>
              <a:gd name="connsiteX13" fmla="*/ 9658 w 10000"/>
              <a:gd name="connsiteY13" fmla="*/ 4243 h 10000"/>
              <a:gd name="connsiteX14" fmla="*/ 9619 w 10000"/>
              <a:gd name="connsiteY14" fmla="*/ 4408 h 10000"/>
              <a:gd name="connsiteX15" fmla="*/ 9569 w 10000"/>
              <a:gd name="connsiteY15" fmla="*/ 4605 h 10000"/>
              <a:gd name="connsiteX16" fmla="*/ 9520 w 10000"/>
              <a:gd name="connsiteY16" fmla="*/ 4737 h 10000"/>
              <a:gd name="connsiteX17" fmla="*/ 9470 w 10000"/>
              <a:gd name="connsiteY17" fmla="*/ 4901 h 10000"/>
              <a:gd name="connsiteX18" fmla="*/ 9415 w 10000"/>
              <a:gd name="connsiteY18" fmla="*/ 5000 h 10000"/>
              <a:gd name="connsiteX19" fmla="*/ 9348 w 10000"/>
              <a:gd name="connsiteY19" fmla="*/ 5099 h 10000"/>
              <a:gd name="connsiteX20" fmla="*/ 9288 w 10000"/>
              <a:gd name="connsiteY20" fmla="*/ 5197 h 10000"/>
              <a:gd name="connsiteX21" fmla="*/ 9216 w 10000"/>
              <a:gd name="connsiteY21" fmla="*/ 5230 h 10000"/>
              <a:gd name="connsiteX22" fmla="*/ 9216 w 10000"/>
              <a:gd name="connsiteY22" fmla="*/ 5230 h 10000"/>
              <a:gd name="connsiteX23" fmla="*/ 1190 w 10000"/>
              <a:gd name="connsiteY23" fmla="*/ 9414 h 10000"/>
              <a:gd name="connsiteX24" fmla="*/ 0 w 10000"/>
              <a:gd name="connsiteY24" fmla="*/ 10000 h 10000"/>
              <a:gd name="connsiteX25" fmla="*/ 10000 w 10000"/>
              <a:gd name="connsiteY25" fmla="*/ 10000 h 10000"/>
              <a:gd name="connsiteX0" fmla="*/ 10000 w 10000"/>
              <a:gd name="connsiteY0" fmla="*/ 10000 h 10011"/>
              <a:gd name="connsiteX1" fmla="*/ 10000 w 10000"/>
              <a:gd name="connsiteY1" fmla="*/ 0 h 10011"/>
              <a:gd name="connsiteX2" fmla="*/ 10000 w 10000"/>
              <a:gd name="connsiteY2" fmla="*/ 0 h 10011"/>
              <a:gd name="connsiteX3" fmla="*/ 10000 w 10000"/>
              <a:gd name="connsiteY3" fmla="*/ 230 h 10011"/>
              <a:gd name="connsiteX4" fmla="*/ 9983 w 10000"/>
              <a:gd name="connsiteY4" fmla="*/ 757 h 10011"/>
              <a:gd name="connsiteX5" fmla="*/ 9972 w 10000"/>
              <a:gd name="connsiteY5" fmla="*/ 1118 h 10011"/>
              <a:gd name="connsiteX6" fmla="*/ 9950 w 10000"/>
              <a:gd name="connsiteY6" fmla="*/ 1546 h 10011"/>
              <a:gd name="connsiteX7" fmla="*/ 9928 w 10000"/>
              <a:gd name="connsiteY7" fmla="*/ 2007 h 10011"/>
              <a:gd name="connsiteX8" fmla="*/ 9895 w 10000"/>
              <a:gd name="connsiteY8" fmla="*/ 2467 h 10011"/>
              <a:gd name="connsiteX9" fmla="*/ 9851 w 10000"/>
              <a:gd name="connsiteY9" fmla="*/ 2928 h 10011"/>
              <a:gd name="connsiteX10" fmla="*/ 9801 w 10000"/>
              <a:gd name="connsiteY10" fmla="*/ 3388 h 10011"/>
              <a:gd name="connsiteX11" fmla="*/ 9735 w 10000"/>
              <a:gd name="connsiteY11" fmla="*/ 3816 h 10011"/>
              <a:gd name="connsiteX12" fmla="*/ 9702 w 10000"/>
              <a:gd name="connsiteY12" fmla="*/ 4046 h 10011"/>
              <a:gd name="connsiteX13" fmla="*/ 9658 w 10000"/>
              <a:gd name="connsiteY13" fmla="*/ 4243 h 10011"/>
              <a:gd name="connsiteX14" fmla="*/ 9619 w 10000"/>
              <a:gd name="connsiteY14" fmla="*/ 4408 h 10011"/>
              <a:gd name="connsiteX15" fmla="*/ 9569 w 10000"/>
              <a:gd name="connsiteY15" fmla="*/ 4605 h 10011"/>
              <a:gd name="connsiteX16" fmla="*/ 9520 w 10000"/>
              <a:gd name="connsiteY16" fmla="*/ 4737 h 10011"/>
              <a:gd name="connsiteX17" fmla="*/ 9470 w 10000"/>
              <a:gd name="connsiteY17" fmla="*/ 4901 h 10011"/>
              <a:gd name="connsiteX18" fmla="*/ 9415 w 10000"/>
              <a:gd name="connsiteY18" fmla="*/ 5000 h 10011"/>
              <a:gd name="connsiteX19" fmla="*/ 9348 w 10000"/>
              <a:gd name="connsiteY19" fmla="*/ 5099 h 10011"/>
              <a:gd name="connsiteX20" fmla="*/ 9288 w 10000"/>
              <a:gd name="connsiteY20" fmla="*/ 5197 h 10011"/>
              <a:gd name="connsiteX21" fmla="*/ 9216 w 10000"/>
              <a:gd name="connsiteY21" fmla="*/ 5230 h 10011"/>
              <a:gd name="connsiteX22" fmla="*/ 9216 w 10000"/>
              <a:gd name="connsiteY22" fmla="*/ 5230 h 10011"/>
              <a:gd name="connsiteX23" fmla="*/ 1190 w 10000"/>
              <a:gd name="connsiteY23" fmla="*/ 9414 h 10011"/>
              <a:gd name="connsiteX24" fmla="*/ 0 w 10000"/>
              <a:gd name="connsiteY24" fmla="*/ 10000 h 10011"/>
              <a:gd name="connsiteX25" fmla="*/ 1185 w 10000"/>
              <a:gd name="connsiteY25" fmla="*/ 10011 h 10011"/>
              <a:gd name="connsiteX26" fmla="*/ 10000 w 10000"/>
              <a:gd name="connsiteY26" fmla="*/ 10000 h 10011"/>
              <a:gd name="connsiteX0" fmla="*/ 8815 w 8815"/>
              <a:gd name="connsiteY0" fmla="*/ 10000 h 10011"/>
              <a:gd name="connsiteX1" fmla="*/ 8815 w 8815"/>
              <a:gd name="connsiteY1" fmla="*/ 0 h 10011"/>
              <a:gd name="connsiteX2" fmla="*/ 8815 w 8815"/>
              <a:gd name="connsiteY2" fmla="*/ 0 h 10011"/>
              <a:gd name="connsiteX3" fmla="*/ 8815 w 8815"/>
              <a:gd name="connsiteY3" fmla="*/ 230 h 10011"/>
              <a:gd name="connsiteX4" fmla="*/ 8798 w 8815"/>
              <a:gd name="connsiteY4" fmla="*/ 757 h 10011"/>
              <a:gd name="connsiteX5" fmla="*/ 8787 w 8815"/>
              <a:gd name="connsiteY5" fmla="*/ 1118 h 10011"/>
              <a:gd name="connsiteX6" fmla="*/ 8765 w 8815"/>
              <a:gd name="connsiteY6" fmla="*/ 1546 h 10011"/>
              <a:gd name="connsiteX7" fmla="*/ 8743 w 8815"/>
              <a:gd name="connsiteY7" fmla="*/ 2007 h 10011"/>
              <a:gd name="connsiteX8" fmla="*/ 8710 w 8815"/>
              <a:gd name="connsiteY8" fmla="*/ 2467 h 10011"/>
              <a:gd name="connsiteX9" fmla="*/ 8666 w 8815"/>
              <a:gd name="connsiteY9" fmla="*/ 2928 h 10011"/>
              <a:gd name="connsiteX10" fmla="*/ 8616 w 8815"/>
              <a:gd name="connsiteY10" fmla="*/ 3388 h 10011"/>
              <a:gd name="connsiteX11" fmla="*/ 8550 w 8815"/>
              <a:gd name="connsiteY11" fmla="*/ 3816 h 10011"/>
              <a:gd name="connsiteX12" fmla="*/ 8517 w 8815"/>
              <a:gd name="connsiteY12" fmla="*/ 4046 h 10011"/>
              <a:gd name="connsiteX13" fmla="*/ 8473 w 8815"/>
              <a:gd name="connsiteY13" fmla="*/ 4243 h 10011"/>
              <a:gd name="connsiteX14" fmla="*/ 8434 w 8815"/>
              <a:gd name="connsiteY14" fmla="*/ 4408 h 10011"/>
              <a:gd name="connsiteX15" fmla="*/ 8384 w 8815"/>
              <a:gd name="connsiteY15" fmla="*/ 4605 h 10011"/>
              <a:gd name="connsiteX16" fmla="*/ 8335 w 8815"/>
              <a:gd name="connsiteY16" fmla="*/ 4737 h 10011"/>
              <a:gd name="connsiteX17" fmla="*/ 8285 w 8815"/>
              <a:gd name="connsiteY17" fmla="*/ 4901 h 10011"/>
              <a:gd name="connsiteX18" fmla="*/ 8230 w 8815"/>
              <a:gd name="connsiteY18" fmla="*/ 5000 h 10011"/>
              <a:gd name="connsiteX19" fmla="*/ 8163 w 8815"/>
              <a:gd name="connsiteY19" fmla="*/ 5099 h 10011"/>
              <a:gd name="connsiteX20" fmla="*/ 8103 w 8815"/>
              <a:gd name="connsiteY20" fmla="*/ 5197 h 10011"/>
              <a:gd name="connsiteX21" fmla="*/ 8031 w 8815"/>
              <a:gd name="connsiteY21" fmla="*/ 5230 h 10011"/>
              <a:gd name="connsiteX22" fmla="*/ 8031 w 8815"/>
              <a:gd name="connsiteY22" fmla="*/ 5230 h 10011"/>
              <a:gd name="connsiteX23" fmla="*/ 5 w 8815"/>
              <a:gd name="connsiteY23" fmla="*/ 9414 h 10011"/>
              <a:gd name="connsiteX24" fmla="*/ 0 w 8815"/>
              <a:gd name="connsiteY24" fmla="*/ 10011 h 10011"/>
              <a:gd name="connsiteX25" fmla="*/ 8815 w 8815"/>
              <a:gd name="connsiteY25" fmla="*/ 10000 h 10011"/>
              <a:gd name="connsiteX0" fmla="*/ 9996 w 9996"/>
              <a:gd name="connsiteY0" fmla="*/ 9989 h 10000"/>
              <a:gd name="connsiteX1" fmla="*/ 9996 w 9996"/>
              <a:gd name="connsiteY1" fmla="*/ 0 h 10000"/>
              <a:gd name="connsiteX2" fmla="*/ 9996 w 9996"/>
              <a:gd name="connsiteY2" fmla="*/ 0 h 10000"/>
              <a:gd name="connsiteX3" fmla="*/ 9996 w 9996"/>
              <a:gd name="connsiteY3" fmla="*/ 230 h 10000"/>
              <a:gd name="connsiteX4" fmla="*/ 9977 w 9996"/>
              <a:gd name="connsiteY4" fmla="*/ 756 h 10000"/>
              <a:gd name="connsiteX5" fmla="*/ 9964 w 9996"/>
              <a:gd name="connsiteY5" fmla="*/ 1117 h 10000"/>
              <a:gd name="connsiteX6" fmla="*/ 9939 w 9996"/>
              <a:gd name="connsiteY6" fmla="*/ 1544 h 10000"/>
              <a:gd name="connsiteX7" fmla="*/ 9914 w 9996"/>
              <a:gd name="connsiteY7" fmla="*/ 2005 h 10000"/>
              <a:gd name="connsiteX8" fmla="*/ 9877 w 9996"/>
              <a:gd name="connsiteY8" fmla="*/ 2464 h 10000"/>
              <a:gd name="connsiteX9" fmla="*/ 9827 w 9996"/>
              <a:gd name="connsiteY9" fmla="*/ 2925 h 10000"/>
              <a:gd name="connsiteX10" fmla="*/ 9770 w 9996"/>
              <a:gd name="connsiteY10" fmla="*/ 3384 h 10000"/>
              <a:gd name="connsiteX11" fmla="*/ 9695 w 9996"/>
              <a:gd name="connsiteY11" fmla="*/ 3812 h 10000"/>
              <a:gd name="connsiteX12" fmla="*/ 9658 w 9996"/>
              <a:gd name="connsiteY12" fmla="*/ 4042 h 10000"/>
              <a:gd name="connsiteX13" fmla="*/ 9608 w 9996"/>
              <a:gd name="connsiteY13" fmla="*/ 4238 h 10000"/>
              <a:gd name="connsiteX14" fmla="*/ 9564 w 9996"/>
              <a:gd name="connsiteY14" fmla="*/ 4403 h 10000"/>
              <a:gd name="connsiteX15" fmla="*/ 9507 w 9996"/>
              <a:gd name="connsiteY15" fmla="*/ 4600 h 10000"/>
              <a:gd name="connsiteX16" fmla="*/ 9451 w 9996"/>
              <a:gd name="connsiteY16" fmla="*/ 4732 h 10000"/>
              <a:gd name="connsiteX17" fmla="*/ 9395 w 9996"/>
              <a:gd name="connsiteY17" fmla="*/ 4896 h 10000"/>
              <a:gd name="connsiteX18" fmla="*/ 9332 w 9996"/>
              <a:gd name="connsiteY18" fmla="*/ 4995 h 10000"/>
              <a:gd name="connsiteX19" fmla="*/ 9256 w 9996"/>
              <a:gd name="connsiteY19" fmla="*/ 5093 h 10000"/>
              <a:gd name="connsiteX20" fmla="*/ 9188 w 9996"/>
              <a:gd name="connsiteY20" fmla="*/ 5191 h 10000"/>
              <a:gd name="connsiteX21" fmla="*/ 9107 w 9996"/>
              <a:gd name="connsiteY21" fmla="*/ 5224 h 10000"/>
              <a:gd name="connsiteX22" fmla="*/ 9107 w 9996"/>
              <a:gd name="connsiteY22" fmla="*/ 5224 h 10000"/>
              <a:gd name="connsiteX23" fmla="*/ 2 w 9996"/>
              <a:gd name="connsiteY23" fmla="*/ 9404 h 10000"/>
              <a:gd name="connsiteX24" fmla="*/ 0 w 9996"/>
              <a:gd name="connsiteY24" fmla="*/ 10000 h 10000"/>
              <a:gd name="connsiteX25" fmla="*/ 9996 w 9996"/>
              <a:gd name="connsiteY25" fmla="*/ 9989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9996" h="10000">
                <a:moveTo>
                  <a:pt x="9996" y="9989"/>
                </a:moveTo>
                <a:lnTo>
                  <a:pt x="9996" y="0"/>
                </a:lnTo>
                <a:lnTo>
                  <a:pt x="9996" y="0"/>
                </a:lnTo>
                <a:lnTo>
                  <a:pt x="9996" y="230"/>
                </a:lnTo>
                <a:cubicBezTo>
                  <a:pt x="9989" y="406"/>
                  <a:pt x="9984" y="580"/>
                  <a:pt x="9977" y="756"/>
                </a:cubicBezTo>
                <a:cubicBezTo>
                  <a:pt x="9972" y="876"/>
                  <a:pt x="9969" y="997"/>
                  <a:pt x="9964" y="1117"/>
                </a:cubicBezTo>
                <a:cubicBezTo>
                  <a:pt x="9956" y="1260"/>
                  <a:pt x="9947" y="1401"/>
                  <a:pt x="9939" y="1544"/>
                </a:cubicBezTo>
                <a:cubicBezTo>
                  <a:pt x="9931" y="1698"/>
                  <a:pt x="9922" y="1851"/>
                  <a:pt x="9914" y="2005"/>
                </a:cubicBezTo>
                <a:cubicBezTo>
                  <a:pt x="9902" y="2158"/>
                  <a:pt x="9889" y="2311"/>
                  <a:pt x="9877" y="2464"/>
                </a:cubicBezTo>
                <a:cubicBezTo>
                  <a:pt x="9860" y="2618"/>
                  <a:pt x="9844" y="2771"/>
                  <a:pt x="9827" y="2925"/>
                </a:cubicBezTo>
                <a:cubicBezTo>
                  <a:pt x="9808" y="3078"/>
                  <a:pt x="9790" y="3231"/>
                  <a:pt x="9770" y="3384"/>
                </a:cubicBezTo>
                <a:cubicBezTo>
                  <a:pt x="9745" y="3527"/>
                  <a:pt x="9720" y="3669"/>
                  <a:pt x="9695" y="3812"/>
                </a:cubicBezTo>
                <a:cubicBezTo>
                  <a:pt x="9683" y="3889"/>
                  <a:pt x="9670" y="3965"/>
                  <a:pt x="9658" y="4042"/>
                </a:cubicBezTo>
                <a:cubicBezTo>
                  <a:pt x="9641" y="4107"/>
                  <a:pt x="9625" y="4172"/>
                  <a:pt x="9608" y="4238"/>
                </a:cubicBezTo>
                <a:cubicBezTo>
                  <a:pt x="9593" y="4293"/>
                  <a:pt x="9579" y="4348"/>
                  <a:pt x="9564" y="4403"/>
                </a:cubicBezTo>
                <a:cubicBezTo>
                  <a:pt x="9544" y="4469"/>
                  <a:pt x="9526" y="4534"/>
                  <a:pt x="9507" y="4600"/>
                </a:cubicBezTo>
                <a:cubicBezTo>
                  <a:pt x="9489" y="4644"/>
                  <a:pt x="9470" y="4688"/>
                  <a:pt x="9451" y="4732"/>
                </a:cubicBezTo>
                <a:cubicBezTo>
                  <a:pt x="9432" y="4787"/>
                  <a:pt x="9414" y="4841"/>
                  <a:pt x="9395" y="4896"/>
                </a:cubicBezTo>
                <a:lnTo>
                  <a:pt x="9332" y="4995"/>
                </a:lnTo>
                <a:cubicBezTo>
                  <a:pt x="9307" y="5027"/>
                  <a:pt x="9281" y="5060"/>
                  <a:pt x="9256" y="5093"/>
                </a:cubicBezTo>
                <a:cubicBezTo>
                  <a:pt x="9234" y="5126"/>
                  <a:pt x="9211" y="5158"/>
                  <a:pt x="9188" y="5191"/>
                </a:cubicBezTo>
                <a:lnTo>
                  <a:pt x="9107" y="5224"/>
                </a:lnTo>
                <a:lnTo>
                  <a:pt x="9107" y="5224"/>
                </a:lnTo>
                <a:lnTo>
                  <a:pt x="2" y="9404"/>
                </a:lnTo>
                <a:cubicBezTo>
                  <a:pt x="-1" y="9602"/>
                  <a:pt x="2" y="9801"/>
                  <a:pt x="0" y="10000"/>
                </a:cubicBezTo>
                <a:lnTo>
                  <a:pt x="9996" y="9989"/>
                </a:lnTo>
                <a:close/>
              </a:path>
            </a:pathLst>
          </a:custGeom>
          <a:solidFill>
            <a:schemeClr val="accent6"/>
          </a:solidFill>
          <a:ln>
            <a:noFill/>
          </a:ln>
        </p:spPr>
        <p:txBody>
          <a:bodyPr vert="horz" wrap="square" lIns="133428" tIns="66715" rIns="133428" bIns="66715" numCol="1" anchor="t" anchorCtr="0" compatLnSpc="1">
            <a:prstTxWarp prst="textNoShape">
              <a:avLst/>
            </a:prstTxWarp>
          </a:bodyPr>
          <a:lstStyle/>
          <a:p>
            <a:endParaRPr lang="ja-JP" altLang="en-US" sz="2533"/>
          </a:p>
        </p:txBody>
      </p:sp>
      <p:sp>
        <p:nvSpPr>
          <p:cNvPr id="2" name="タイトル 1"/>
          <p:cNvSpPr>
            <a:spLocks noGrp="1"/>
          </p:cNvSpPr>
          <p:nvPr>
            <p:ph type="title"/>
          </p:nvPr>
        </p:nvSpPr>
        <p:spPr>
          <a:xfrm>
            <a:off x="368550" y="1959102"/>
            <a:ext cx="11451591" cy="540000"/>
          </a:xfrm>
          <a:prstGeom prst="rect">
            <a:avLst/>
          </a:prstGeom>
        </p:spPr>
        <p:txBody>
          <a:bodyPr lIns="95767" tIns="47884" rIns="95767" bIns="47884"/>
          <a:lstStyle>
            <a:lvl1pPr>
              <a:defRPr>
                <a:latin typeface="Meiryo UI" panose="020B0604030504040204" pitchFamily="50" charset="-128"/>
                <a:ea typeface="Meiryo UI" panose="020B0604030504040204" pitchFamily="50" charset="-128"/>
              </a:defRPr>
            </a:lvl1pPr>
          </a:lstStyle>
          <a:p>
            <a:r>
              <a:rPr kumimoji="1" lang="ja-JP" altLang="en-US"/>
              <a:t>マスター タイトルの書式設定</a:t>
            </a:r>
          </a:p>
        </p:txBody>
      </p:sp>
      <p:sp>
        <p:nvSpPr>
          <p:cNvPr id="6" name="スライド番号プレースホルダー 5"/>
          <p:cNvSpPr>
            <a:spLocks noGrp="1"/>
          </p:cNvSpPr>
          <p:nvPr>
            <p:ph type="sldNum" sz="quarter" idx="12"/>
          </p:nvPr>
        </p:nvSpPr>
        <p:spPr>
          <a:xfrm>
            <a:off x="11524630" y="6468878"/>
            <a:ext cx="555811" cy="289299"/>
          </a:xfrm>
          <a:prstGeom prst="rect">
            <a:avLst/>
          </a:prstGeom>
        </p:spPr>
        <p:txBody>
          <a:bodyPr lIns="95767" tIns="47884" rIns="95767" bIns="47884"/>
          <a:lstStyle>
            <a:lvl1pPr>
              <a:defRPr sz="1333"/>
            </a:lvl1pPr>
          </a:lstStyle>
          <a:p>
            <a:fld id="{2FF5E1DE-7B95-8A44-8552-65323269AE41}" type="slidenum">
              <a:rPr lang="ja-JP" altLang="en-US" smtClean="0"/>
              <a:pPr/>
              <a:t>‹#›</a:t>
            </a:fld>
            <a:endParaRPr lang="ja-JP" altLang="en-US"/>
          </a:p>
        </p:txBody>
      </p:sp>
      <p:pic>
        <p:nvPicPr>
          <p:cNvPr id="7" name="Picture 2" descr="C:\Users\00057835\AppData\Local\Temp\notesEA5B2A\グループ併記ロゴ（縦・英文）.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0756324" y="26652"/>
            <a:ext cx="1434080" cy="85801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90935306"/>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type="obj" preserve="1">
  <p:cSld name="6_タイトルとコンテンツ">
    <p:spTree>
      <p:nvGrpSpPr>
        <p:cNvPr id="1" name=""/>
        <p:cNvGrpSpPr/>
        <p:nvPr/>
      </p:nvGrpSpPr>
      <p:grpSpPr>
        <a:xfrm>
          <a:off x="0" y="0"/>
          <a:ext cx="0" cy="0"/>
          <a:chOff x="0" y="0"/>
          <a:chExt cx="0" cy="0"/>
        </a:xfrm>
      </p:grpSpPr>
      <p:sp>
        <p:nvSpPr>
          <p:cNvPr id="2" name="タイトル 1"/>
          <p:cNvSpPr>
            <a:spLocks noGrp="1"/>
          </p:cNvSpPr>
          <p:nvPr>
            <p:ph type="title"/>
          </p:nvPr>
        </p:nvSpPr>
        <p:spPr>
          <a:xfrm>
            <a:off x="368549" y="194236"/>
            <a:ext cx="9791452" cy="540000"/>
          </a:xfrm>
          <a:prstGeom prst="rect">
            <a:avLst/>
          </a:prstGeom>
        </p:spPr>
        <p:txBody>
          <a:bodyPr lIns="95767" tIns="47884" rIns="95767" bIns="47884"/>
          <a:lstStyle>
            <a:lvl1pPr>
              <a:defRPr>
                <a:latin typeface="Meiryo UI" panose="020B0604030504040204" pitchFamily="50" charset="-128"/>
                <a:ea typeface="Meiryo UI" panose="020B0604030504040204" pitchFamily="50" charset="-128"/>
              </a:defRPr>
            </a:lvl1pPr>
          </a:lstStyle>
          <a:p>
            <a:r>
              <a:rPr kumimoji="1" lang="ja-JP" altLang="en-US"/>
              <a:t>マスター タイトルの書式設定</a:t>
            </a:r>
          </a:p>
        </p:txBody>
      </p:sp>
      <p:sp>
        <p:nvSpPr>
          <p:cNvPr id="3" name="コンテンツ プレースホルダー 2"/>
          <p:cNvSpPr>
            <a:spLocks noGrp="1"/>
          </p:cNvSpPr>
          <p:nvPr>
            <p:ph idx="1"/>
          </p:nvPr>
        </p:nvSpPr>
        <p:spPr>
          <a:xfrm>
            <a:off x="368551" y="903600"/>
            <a:ext cx="11583452" cy="5540400"/>
          </a:xfrm>
          <a:prstGeom prst="rect">
            <a:avLst/>
          </a:prstGeom>
        </p:spPr>
        <p:txBody>
          <a:bodyPr lIns="95767" tIns="47884" rIns="95767" bIns="47884"/>
          <a:lstStyle>
            <a:lvl1pPr>
              <a:defRPr>
                <a:latin typeface="Meiryo UI" panose="020B0604030504040204" pitchFamily="50" charset="-128"/>
                <a:ea typeface="Meiryo UI" panose="020B0604030504040204" pitchFamily="50" charset="-128"/>
              </a:defRPr>
            </a:lvl1pPr>
            <a:lvl2pPr indent="-236233">
              <a:defRPr>
                <a:latin typeface="Meiryo UI" panose="020B0604030504040204" pitchFamily="50" charset="-128"/>
                <a:ea typeface="Meiryo UI" panose="020B0604030504040204" pitchFamily="50" charset="-128"/>
              </a:defRPr>
            </a:lvl2pPr>
            <a:lvl3pPr indent="-236233">
              <a:defRPr>
                <a:latin typeface="Meiryo UI" panose="020B0604030504040204" pitchFamily="50" charset="-128"/>
                <a:ea typeface="Meiryo UI" panose="020B0604030504040204" pitchFamily="50" charset="-128"/>
              </a:defRPr>
            </a:lvl3pPr>
            <a:lvl4pPr indent="-236233">
              <a:defRPr>
                <a:latin typeface="Meiryo UI" panose="020B0604030504040204" pitchFamily="50" charset="-128"/>
                <a:ea typeface="Meiryo UI" panose="020B0604030504040204" pitchFamily="50" charset="-128"/>
              </a:defRPr>
            </a:lvl4pPr>
            <a:lvl5pPr indent="-236233">
              <a:defRPr>
                <a:latin typeface="Meiryo UI" panose="020B0604030504040204" pitchFamily="50" charset="-128"/>
                <a:ea typeface="Meiryo UI" panose="020B0604030504040204" pitchFamily="50" charset="-128"/>
              </a:defRPr>
            </a:lvl5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cxnSp>
        <p:nvCxnSpPr>
          <p:cNvPr id="8" name="直線コネクタ 7"/>
          <p:cNvCxnSpPr/>
          <p:nvPr userDrawn="1"/>
        </p:nvCxnSpPr>
        <p:spPr>
          <a:xfrm>
            <a:off x="239959" y="817200"/>
            <a:ext cx="11709966" cy="0"/>
          </a:xfrm>
          <a:prstGeom prst="line">
            <a:avLst/>
          </a:prstGeom>
          <a:ln>
            <a:solidFill>
              <a:srgbClr val="C7000D"/>
            </a:solidFill>
          </a:ln>
          <a:effectLst/>
        </p:spPr>
        <p:style>
          <a:lnRef idx="2">
            <a:schemeClr val="accent1"/>
          </a:lnRef>
          <a:fillRef idx="0">
            <a:schemeClr val="accent1"/>
          </a:fillRef>
          <a:effectRef idx="1">
            <a:schemeClr val="accent1"/>
          </a:effectRef>
          <a:fontRef idx="minor">
            <a:schemeClr val="tx1"/>
          </a:fontRef>
        </p:style>
      </p:cxnSp>
      <p:pic>
        <p:nvPicPr>
          <p:cNvPr id="11" name="Picture 2" descr="C:\Users\00057835\AppData\Local\Temp\notesEA5B2A\グループ併記ロゴ（縦・英文）.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0756324" y="26652"/>
            <a:ext cx="1434080" cy="858018"/>
          </a:xfrm>
          <a:prstGeom prst="rect">
            <a:avLst/>
          </a:prstGeom>
          <a:noFill/>
          <a:extLst>
            <a:ext uri="{909E8E84-426E-40DD-AFC4-6F175D3DCCD1}">
              <a14:hiddenFill xmlns:a14="http://schemas.microsoft.com/office/drawing/2010/main">
                <a:solidFill>
                  <a:srgbClr val="FFFFFF"/>
                </a:solidFill>
              </a14:hiddenFill>
            </a:ext>
          </a:extLst>
        </p:spPr>
      </p:pic>
      <p:sp>
        <p:nvSpPr>
          <p:cNvPr id="6" name="スライド番号プレースホルダー 5"/>
          <p:cNvSpPr>
            <a:spLocks noGrp="1"/>
          </p:cNvSpPr>
          <p:nvPr>
            <p:ph type="sldNum" sz="quarter" idx="12"/>
          </p:nvPr>
        </p:nvSpPr>
        <p:spPr>
          <a:xfrm>
            <a:off x="11524630" y="6468878"/>
            <a:ext cx="555811" cy="289299"/>
          </a:xfrm>
          <a:prstGeom prst="rect">
            <a:avLst/>
          </a:prstGeom>
        </p:spPr>
        <p:txBody>
          <a:bodyPr lIns="95767" tIns="47884" rIns="95767" bIns="47884"/>
          <a:lstStyle>
            <a:lvl1pPr>
              <a:defRPr sz="1333"/>
            </a:lvl1pPr>
          </a:lstStyle>
          <a:p>
            <a:fld id="{2FF5E1DE-7B95-8A44-8552-65323269AE41}" type="slidenum">
              <a:rPr lang="ja-JP" altLang="en-US" smtClean="0"/>
              <a:pPr/>
              <a:t>‹#›</a:t>
            </a:fld>
            <a:endParaRPr lang="ja-JP" altLang="en-US"/>
          </a:p>
        </p:txBody>
      </p:sp>
    </p:spTree>
    <p:extLst>
      <p:ext uri="{BB962C8B-B14F-4D97-AF65-F5344CB8AC3E}">
        <p14:creationId xmlns:p14="http://schemas.microsoft.com/office/powerpoint/2010/main" val="3820823817"/>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type="title" preserve="1">
  <p:cSld name="2_タイトル スライド">
    <p:spTree>
      <p:nvGrpSpPr>
        <p:cNvPr id="1" name=""/>
        <p:cNvGrpSpPr/>
        <p:nvPr/>
      </p:nvGrpSpPr>
      <p:grpSpPr>
        <a:xfrm>
          <a:off x="0" y="0"/>
          <a:ext cx="0" cy="0"/>
          <a:chOff x="0" y="0"/>
          <a:chExt cx="0" cy="0"/>
        </a:xfrm>
      </p:grpSpPr>
      <p:sp>
        <p:nvSpPr>
          <p:cNvPr id="10" name="Freeform 5"/>
          <p:cNvSpPr>
            <a:spLocks/>
          </p:cNvSpPr>
          <p:nvPr userDrawn="1"/>
        </p:nvSpPr>
        <p:spPr bwMode="auto">
          <a:xfrm>
            <a:off x="233538" y="169337"/>
            <a:ext cx="11730712" cy="5207000"/>
          </a:xfrm>
          <a:custGeom>
            <a:avLst/>
            <a:gdLst>
              <a:gd name="T0" fmla="*/ 0 w 1618"/>
              <a:gd name="T1" fmla="*/ 0 h 957"/>
              <a:gd name="T2" fmla="*/ 0 w 1618"/>
              <a:gd name="T3" fmla="*/ 957 h 957"/>
              <a:gd name="T4" fmla="*/ 1279 w 1618"/>
              <a:gd name="T5" fmla="*/ 842 h 957"/>
              <a:gd name="T6" fmla="*/ 1618 w 1618"/>
              <a:gd name="T7" fmla="*/ 472 h 957"/>
              <a:gd name="T8" fmla="*/ 1618 w 1618"/>
              <a:gd name="T9" fmla="*/ 0 h 957"/>
              <a:gd name="T10" fmla="*/ 0 w 1618"/>
              <a:gd name="T11" fmla="*/ 0 h 957"/>
            </a:gdLst>
            <a:ahLst/>
            <a:cxnLst>
              <a:cxn ang="0">
                <a:pos x="T0" y="T1"/>
              </a:cxn>
              <a:cxn ang="0">
                <a:pos x="T2" y="T3"/>
              </a:cxn>
              <a:cxn ang="0">
                <a:pos x="T4" y="T5"/>
              </a:cxn>
              <a:cxn ang="0">
                <a:pos x="T6" y="T7"/>
              </a:cxn>
              <a:cxn ang="0">
                <a:pos x="T8" y="T9"/>
              </a:cxn>
              <a:cxn ang="0">
                <a:pos x="T10" y="T11"/>
              </a:cxn>
            </a:cxnLst>
            <a:rect l="0" t="0" r="r" b="b"/>
            <a:pathLst>
              <a:path w="1618" h="957">
                <a:moveTo>
                  <a:pt x="0" y="0"/>
                </a:moveTo>
                <a:cubicBezTo>
                  <a:pt x="0" y="957"/>
                  <a:pt x="0" y="957"/>
                  <a:pt x="0" y="957"/>
                </a:cubicBezTo>
                <a:cubicBezTo>
                  <a:pt x="1279" y="842"/>
                  <a:pt x="1279" y="842"/>
                  <a:pt x="1279" y="842"/>
                </a:cubicBezTo>
                <a:cubicBezTo>
                  <a:pt x="1465" y="825"/>
                  <a:pt x="1618" y="659"/>
                  <a:pt x="1618" y="472"/>
                </a:cubicBezTo>
                <a:cubicBezTo>
                  <a:pt x="1618" y="0"/>
                  <a:pt x="1618" y="0"/>
                  <a:pt x="1618" y="0"/>
                </a:cubicBezTo>
                <a:lnTo>
                  <a:pt x="0" y="0"/>
                </a:lnTo>
                <a:close/>
              </a:path>
            </a:pathLst>
          </a:custGeom>
          <a:solidFill>
            <a:schemeClr val="accent3"/>
          </a:solidFill>
          <a:ln>
            <a:noFill/>
          </a:ln>
        </p:spPr>
        <p:txBody>
          <a:bodyPr lIns="127667" tIns="63834" rIns="127667" bIns="63834"/>
          <a:lstStyle/>
          <a:p>
            <a:endParaRPr lang="ja-JP" altLang="en-US" sz="2533"/>
          </a:p>
        </p:txBody>
      </p:sp>
      <p:sp>
        <p:nvSpPr>
          <p:cNvPr id="2" name="タイトル 1"/>
          <p:cNvSpPr>
            <a:spLocks noGrp="1"/>
          </p:cNvSpPr>
          <p:nvPr>
            <p:ph type="ctrTitle"/>
          </p:nvPr>
        </p:nvSpPr>
        <p:spPr>
          <a:xfrm>
            <a:off x="914400" y="1416804"/>
            <a:ext cx="10363200" cy="1470025"/>
          </a:xfrm>
          <a:prstGeom prst="rect">
            <a:avLst/>
          </a:prstGeom>
        </p:spPr>
        <p:txBody>
          <a:bodyPr lIns="95767" tIns="47884" rIns="95767" bIns="47884" anchor="b">
            <a:normAutofit/>
          </a:bodyPr>
          <a:lstStyle>
            <a:lvl1pPr algn="l">
              <a:defRPr sz="5199" kern="1200">
                <a:solidFill>
                  <a:schemeClr val="tx1"/>
                </a:solidFill>
                <a:latin typeface="Meiryo UI" panose="020B0604030504040204" pitchFamily="50" charset="-128"/>
                <a:ea typeface="Meiryo UI" panose="020B0604030504040204" pitchFamily="50" charset="-128"/>
              </a:defRPr>
            </a:lvl1pPr>
          </a:lstStyle>
          <a:p>
            <a:r>
              <a:rPr kumimoji="1" lang="ja-JP" altLang="en-US"/>
              <a:t>マスター タイトルの書式設定</a:t>
            </a:r>
          </a:p>
        </p:txBody>
      </p:sp>
      <p:sp>
        <p:nvSpPr>
          <p:cNvPr id="3" name="サブタイトル 2"/>
          <p:cNvSpPr>
            <a:spLocks noGrp="1"/>
          </p:cNvSpPr>
          <p:nvPr>
            <p:ph type="subTitle" idx="1"/>
          </p:nvPr>
        </p:nvSpPr>
        <p:spPr>
          <a:xfrm>
            <a:off x="916801" y="3420000"/>
            <a:ext cx="9691436" cy="977153"/>
          </a:xfrm>
          <a:prstGeom prst="rect">
            <a:avLst/>
          </a:prstGeom>
        </p:spPr>
        <p:txBody>
          <a:bodyPr lIns="95767" tIns="47884" rIns="95767" bIns="47884">
            <a:normAutofit/>
          </a:bodyPr>
          <a:lstStyle>
            <a:lvl1pPr marL="0" indent="0" algn="l">
              <a:buNone/>
              <a:defRPr sz="3333">
                <a:solidFill>
                  <a:schemeClr val="tx1"/>
                </a:solidFill>
                <a:latin typeface="Meiryo UI" panose="020B0604030504040204" pitchFamily="50" charset="-128"/>
                <a:ea typeface="Meiryo UI" panose="020B0604030504040204" pitchFamily="50" charset="-128"/>
              </a:defRPr>
            </a:lvl1pPr>
            <a:lvl2pPr marL="638335" indent="0" algn="ctr">
              <a:buNone/>
              <a:defRPr>
                <a:solidFill>
                  <a:schemeClr val="tx1">
                    <a:tint val="75000"/>
                  </a:schemeClr>
                </a:solidFill>
              </a:defRPr>
            </a:lvl2pPr>
            <a:lvl3pPr marL="1276669" indent="0" algn="ctr">
              <a:buNone/>
              <a:defRPr>
                <a:solidFill>
                  <a:schemeClr val="tx1">
                    <a:tint val="75000"/>
                  </a:schemeClr>
                </a:solidFill>
              </a:defRPr>
            </a:lvl3pPr>
            <a:lvl4pPr marL="1915003" indent="0" algn="ctr">
              <a:buNone/>
              <a:defRPr>
                <a:solidFill>
                  <a:schemeClr val="tx1">
                    <a:tint val="75000"/>
                  </a:schemeClr>
                </a:solidFill>
              </a:defRPr>
            </a:lvl4pPr>
            <a:lvl5pPr marL="2553338" indent="0" algn="ctr">
              <a:buNone/>
              <a:defRPr>
                <a:solidFill>
                  <a:schemeClr val="tx1">
                    <a:tint val="75000"/>
                  </a:schemeClr>
                </a:solidFill>
              </a:defRPr>
            </a:lvl5pPr>
            <a:lvl6pPr marL="3191671" indent="0" algn="ctr">
              <a:buNone/>
              <a:defRPr>
                <a:solidFill>
                  <a:schemeClr val="tx1">
                    <a:tint val="75000"/>
                  </a:schemeClr>
                </a:solidFill>
              </a:defRPr>
            </a:lvl6pPr>
            <a:lvl7pPr marL="3830007" indent="0" algn="ctr">
              <a:buNone/>
              <a:defRPr>
                <a:solidFill>
                  <a:schemeClr val="tx1">
                    <a:tint val="75000"/>
                  </a:schemeClr>
                </a:solidFill>
              </a:defRPr>
            </a:lvl7pPr>
            <a:lvl8pPr marL="4468342" indent="0" algn="ctr">
              <a:buNone/>
              <a:defRPr>
                <a:solidFill>
                  <a:schemeClr val="tx1">
                    <a:tint val="75000"/>
                  </a:schemeClr>
                </a:solidFill>
              </a:defRPr>
            </a:lvl8pPr>
            <a:lvl9pPr marL="5106676" indent="0" algn="ctr">
              <a:buNone/>
              <a:defRPr>
                <a:solidFill>
                  <a:schemeClr val="tx1">
                    <a:tint val="75000"/>
                  </a:schemeClr>
                </a:solidFill>
              </a:defRPr>
            </a:lvl9pPr>
          </a:lstStyle>
          <a:p>
            <a:r>
              <a:rPr kumimoji="1" lang="ja-JP" altLang="en-US"/>
              <a:t>マスター サブタイトルの書式設定</a:t>
            </a:r>
          </a:p>
        </p:txBody>
      </p:sp>
      <p:sp>
        <p:nvSpPr>
          <p:cNvPr id="9" name="フッター プレースホルダー 12"/>
          <p:cNvSpPr>
            <a:spLocks noGrp="1"/>
          </p:cNvSpPr>
          <p:nvPr>
            <p:ph type="ftr" sz="quarter" idx="11"/>
          </p:nvPr>
        </p:nvSpPr>
        <p:spPr>
          <a:xfrm>
            <a:off x="609600" y="6099529"/>
            <a:ext cx="3860800" cy="365125"/>
          </a:xfrm>
          <a:prstGeom prst="rect">
            <a:avLst/>
          </a:prstGeom>
        </p:spPr>
        <p:txBody>
          <a:bodyPr lIns="95767" tIns="47884" rIns="95767" bIns="47884"/>
          <a:lstStyle>
            <a:lvl1pPr algn="l">
              <a:defRPr sz="2266">
                <a:latin typeface="Meiryo UI" panose="020B0604030504040204" pitchFamily="50" charset="-128"/>
                <a:ea typeface="Meiryo UI" panose="020B0604030504040204" pitchFamily="50" charset="-128"/>
              </a:defRPr>
            </a:lvl1pPr>
          </a:lstStyle>
          <a:p>
            <a:endParaRPr lang="ja-JP" altLang="en-US"/>
          </a:p>
        </p:txBody>
      </p:sp>
      <p:sp>
        <p:nvSpPr>
          <p:cNvPr id="12" name="日付プレースホルダー 11"/>
          <p:cNvSpPr>
            <a:spLocks noGrp="1"/>
          </p:cNvSpPr>
          <p:nvPr>
            <p:ph type="dt" sz="half" idx="10"/>
          </p:nvPr>
        </p:nvSpPr>
        <p:spPr>
          <a:xfrm>
            <a:off x="609600" y="5691768"/>
            <a:ext cx="3860800" cy="365125"/>
          </a:xfrm>
          <a:prstGeom prst="rect">
            <a:avLst/>
          </a:prstGeom>
        </p:spPr>
        <p:txBody>
          <a:bodyPr lIns="95767" tIns="47884" rIns="95767" bIns="47884"/>
          <a:lstStyle>
            <a:lvl1pPr algn="l">
              <a:defRPr sz="2266">
                <a:solidFill>
                  <a:srgbClr val="000000"/>
                </a:solidFill>
                <a:latin typeface="Meiryo UI" panose="020B0604030504040204" pitchFamily="50" charset="-128"/>
                <a:ea typeface="Meiryo UI" panose="020B0604030504040204" pitchFamily="50" charset="-128"/>
              </a:defRPr>
            </a:lvl1pPr>
          </a:lstStyle>
          <a:p>
            <a:endParaRPr lang="ja-JP" altLang="en-US"/>
          </a:p>
        </p:txBody>
      </p:sp>
      <p:pic>
        <p:nvPicPr>
          <p:cNvPr id="8" name="Picture 2" descr="C:\Users\00057835\AppData\Local\Temp\notesEA5B2A\グループ併記ロゴ（縦・英文）.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9672823" y="5316525"/>
            <a:ext cx="2519177" cy="1507239"/>
          </a:xfrm>
          <a:prstGeom prst="rect">
            <a:avLst/>
          </a:prstGeom>
          <a:noFill/>
          <a:extLst>
            <a:ext uri="{909E8E84-426E-40DD-AFC4-6F175D3DCCD1}">
              <a14:hiddenFill xmlns:a14="http://schemas.microsoft.com/office/drawing/2010/main">
                <a:solidFill>
                  <a:srgbClr val="FFFFFF"/>
                </a:solidFill>
              </a14:hiddenFill>
            </a:ext>
          </a:extLst>
        </p:spPr>
      </p:pic>
      <p:pic>
        <p:nvPicPr>
          <p:cNvPr id="11" name="図 10" descr="テキスト&#10;&#10;自動的に生成された説明">
            <a:extLst>
              <a:ext uri="{FF2B5EF4-FFF2-40B4-BE49-F238E27FC236}">
                <a16:creationId xmlns:a16="http://schemas.microsoft.com/office/drawing/2014/main" id="{8110F724-5D80-4831-924C-C0166E671DD6}"/>
              </a:ext>
            </a:extLst>
          </p:cNvPr>
          <p:cNvPicPr>
            <a:picLocks noChangeAspect="1"/>
          </p:cNvPicPr>
          <p:nvPr userDrawn="1"/>
        </p:nvPicPr>
        <p:blipFill>
          <a:blip r:embed="rId3"/>
          <a:stretch>
            <a:fillRect/>
          </a:stretch>
        </p:blipFill>
        <p:spPr>
          <a:xfrm>
            <a:off x="7614083" y="5874330"/>
            <a:ext cx="2138567" cy="637168"/>
          </a:xfrm>
          <a:prstGeom prst="rect">
            <a:avLst/>
          </a:prstGeom>
        </p:spPr>
      </p:pic>
    </p:spTree>
    <p:extLst>
      <p:ext uri="{BB962C8B-B14F-4D97-AF65-F5344CB8AC3E}">
        <p14:creationId xmlns:p14="http://schemas.microsoft.com/office/powerpoint/2010/main" val="180470101"/>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9_タイトルとコンテンツ">
    <p:spTree>
      <p:nvGrpSpPr>
        <p:cNvPr id="1" name=""/>
        <p:cNvGrpSpPr/>
        <p:nvPr/>
      </p:nvGrpSpPr>
      <p:grpSpPr>
        <a:xfrm>
          <a:off x="0" y="0"/>
          <a:ext cx="0" cy="0"/>
          <a:chOff x="0" y="0"/>
          <a:chExt cx="0" cy="0"/>
        </a:xfrm>
      </p:grpSpPr>
      <p:sp>
        <p:nvSpPr>
          <p:cNvPr id="9" name="Freeform 8"/>
          <p:cNvSpPr>
            <a:spLocks/>
          </p:cNvSpPr>
          <p:nvPr userDrawn="1"/>
        </p:nvSpPr>
        <p:spPr bwMode="auto">
          <a:xfrm>
            <a:off x="-2100" y="5505984"/>
            <a:ext cx="12192504" cy="1353504"/>
          </a:xfrm>
          <a:custGeom>
            <a:avLst/>
            <a:gdLst>
              <a:gd name="T0" fmla="*/ 3622 w 3622"/>
              <a:gd name="T1" fmla="*/ 608 h 608"/>
              <a:gd name="T2" fmla="*/ 3622 w 3622"/>
              <a:gd name="T3" fmla="*/ 0 h 608"/>
              <a:gd name="T4" fmla="*/ 3622 w 3622"/>
              <a:gd name="T5" fmla="*/ 0 h 608"/>
              <a:gd name="T6" fmla="*/ 3622 w 3622"/>
              <a:gd name="T7" fmla="*/ 14 h 608"/>
              <a:gd name="T8" fmla="*/ 3616 w 3622"/>
              <a:gd name="T9" fmla="*/ 46 h 608"/>
              <a:gd name="T10" fmla="*/ 3612 w 3622"/>
              <a:gd name="T11" fmla="*/ 68 h 608"/>
              <a:gd name="T12" fmla="*/ 3604 w 3622"/>
              <a:gd name="T13" fmla="*/ 94 h 608"/>
              <a:gd name="T14" fmla="*/ 3596 w 3622"/>
              <a:gd name="T15" fmla="*/ 122 h 608"/>
              <a:gd name="T16" fmla="*/ 3584 w 3622"/>
              <a:gd name="T17" fmla="*/ 150 h 608"/>
              <a:gd name="T18" fmla="*/ 3568 w 3622"/>
              <a:gd name="T19" fmla="*/ 178 h 608"/>
              <a:gd name="T20" fmla="*/ 3550 w 3622"/>
              <a:gd name="T21" fmla="*/ 206 h 608"/>
              <a:gd name="T22" fmla="*/ 3526 w 3622"/>
              <a:gd name="T23" fmla="*/ 232 h 608"/>
              <a:gd name="T24" fmla="*/ 3514 w 3622"/>
              <a:gd name="T25" fmla="*/ 246 h 608"/>
              <a:gd name="T26" fmla="*/ 3498 w 3622"/>
              <a:gd name="T27" fmla="*/ 258 h 608"/>
              <a:gd name="T28" fmla="*/ 3484 w 3622"/>
              <a:gd name="T29" fmla="*/ 268 h 608"/>
              <a:gd name="T30" fmla="*/ 3466 w 3622"/>
              <a:gd name="T31" fmla="*/ 280 h 608"/>
              <a:gd name="T32" fmla="*/ 3448 w 3622"/>
              <a:gd name="T33" fmla="*/ 288 h 608"/>
              <a:gd name="T34" fmla="*/ 3430 w 3622"/>
              <a:gd name="T35" fmla="*/ 298 h 608"/>
              <a:gd name="T36" fmla="*/ 3410 w 3622"/>
              <a:gd name="T37" fmla="*/ 304 h 608"/>
              <a:gd name="T38" fmla="*/ 3386 w 3622"/>
              <a:gd name="T39" fmla="*/ 310 h 608"/>
              <a:gd name="T40" fmla="*/ 3364 w 3622"/>
              <a:gd name="T41" fmla="*/ 316 h 608"/>
              <a:gd name="T42" fmla="*/ 3338 w 3622"/>
              <a:gd name="T43" fmla="*/ 318 h 608"/>
              <a:gd name="T44" fmla="*/ 3338 w 3622"/>
              <a:gd name="T45" fmla="*/ 318 h 608"/>
              <a:gd name="T46" fmla="*/ 0 w 3622"/>
              <a:gd name="T47" fmla="*/ 608 h 608"/>
              <a:gd name="T48" fmla="*/ 3622 w 3622"/>
              <a:gd name="T49" fmla="*/ 608 h 608"/>
              <a:gd name="connsiteX0" fmla="*/ 10000 w 10000"/>
              <a:gd name="connsiteY0" fmla="*/ 10000 h 10000"/>
              <a:gd name="connsiteX1" fmla="*/ 10000 w 10000"/>
              <a:gd name="connsiteY1" fmla="*/ 0 h 10000"/>
              <a:gd name="connsiteX2" fmla="*/ 10000 w 10000"/>
              <a:gd name="connsiteY2" fmla="*/ 0 h 10000"/>
              <a:gd name="connsiteX3" fmla="*/ 10000 w 10000"/>
              <a:gd name="connsiteY3" fmla="*/ 230 h 10000"/>
              <a:gd name="connsiteX4" fmla="*/ 9983 w 10000"/>
              <a:gd name="connsiteY4" fmla="*/ 757 h 10000"/>
              <a:gd name="connsiteX5" fmla="*/ 9972 w 10000"/>
              <a:gd name="connsiteY5" fmla="*/ 1118 h 10000"/>
              <a:gd name="connsiteX6" fmla="*/ 9950 w 10000"/>
              <a:gd name="connsiteY6" fmla="*/ 1546 h 10000"/>
              <a:gd name="connsiteX7" fmla="*/ 9928 w 10000"/>
              <a:gd name="connsiteY7" fmla="*/ 2007 h 10000"/>
              <a:gd name="connsiteX8" fmla="*/ 9895 w 10000"/>
              <a:gd name="connsiteY8" fmla="*/ 2467 h 10000"/>
              <a:gd name="connsiteX9" fmla="*/ 9851 w 10000"/>
              <a:gd name="connsiteY9" fmla="*/ 2928 h 10000"/>
              <a:gd name="connsiteX10" fmla="*/ 9801 w 10000"/>
              <a:gd name="connsiteY10" fmla="*/ 3388 h 10000"/>
              <a:gd name="connsiteX11" fmla="*/ 9735 w 10000"/>
              <a:gd name="connsiteY11" fmla="*/ 3816 h 10000"/>
              <a:gd name="connsiteX12" fmla="*/ 9702 w 10000"/>
              <a:gd name="connsiteY12" fmla="*/ 4046 h 10000"/>
              <a:gd name="connsiteX13" fmla="*/ 9658 w 10000"/>
              <a:gd name="connsiteY13" fmla="*/ 4243 h 10000"/>
              <a:gd name="connsiteX14" fmla="*/ 9619 w 10000"/>
              <a:gd name="connsiteY14" fmla="*/ 4408 h 10000"/>
              <a:gd name="connsiteX15" fmla="*/ 9569 w 10000"/>
              <a:gd name="connsiteY15" fmla="*/ 4605 h 10000"/>
              <a:gd name="connsiteX16" fmla="*/ 9520 w 10000"/>
              <a:gd name="connsiteY16" fmla="*/ 4737 h 10000"/>
              <a:gd name="connsiteX17" fmla="*/ 9470 w 10000"/>
              <a:gd name="connsiteY17" fmla="*/ 4901 h 10000"/>
              <a:gd name="connsiteX18" fmla="*/ 9415 w 10000"/>
              <a:gd name="connsiteY18" fmla="*/ 5000 h 10000"/>
              <a:gd name="connsiteX19" fmla="*/ 9348 w 10000"/>
              <a:gd name="connsiteY19" fmla="*/ 5099 h 10000"/>
              <a:gd name="connsiteX20" fmla="*/ 9288 w 10000"/>
              <a:gd name="connsiteY20" fmla="*/ 5197 h 10000"/>
              <a:gd name="connsiteX21" fmla="*/ 9216 w 10000"/>
              <a:gd name="connsiteY21" fmla="*/ 5230 h 10000"/>
              <a:gd name="connsiteX22" fmla="*/ 9216 w 10000"/>
              <a:gd name="connsiteY22" fmla="*/ 5230 h 10000"/>
              <a:gd name="connsiteX23" fmla="*/ 1190 w 10000"/>
              <a:gd name="connsiteY23" fmla="*/ 9414 h 10000"/>
              <a:gd name="connsiteX24" fmla="*/ 0 w 10000"/>
              <a:gd name="connsiteY24" fmla="*/ 10000 h 10000"/>
              <a:gd name="connsiteX25" fmla="*/ 10000 w 10000"/>
              <a:gd name="connsiteY25" fmla="*/ 10000 h 10000"/>
              <a:gd name="connsiteX0" fmla="*/ 10000 w 10000"/>
              <a:gd name="connsiteY0" fmla="*/ 10000 h 10011"/>
              <a:gd name="connsiteX1" fmla="*/ 10000 w 10000"/>
              <a:gd name="connsiteY1" fmla="*/ 0 h 10011"/>
              <a:gd name="connsiteX2" fmla="*/ 10000 w 10000"/>
              <a:gd name="connsiteY2" fmla="*/ 0 h 10011"/>
              <a:gd name="connsiteX3" fmla="*/ 10000 w 10000"/>
              <a:gd name="connsiteY3" fmla="*/ 230 h 10011"/>
              <a:gd name="connsiteX4" fmla="*/ 9983 w 10000"/>
              <a:gd name="connsiteY4" fmla="*/ 757 h 10011"/>
              <a:gd name="connsiteX5" fmla="*/ 9972 w 10000"/>
              <a:gd name="connsiteY5" fmla="*/ 1118 h 10011"/>
              <a:gd name="connsiteX6" fmla="*/ 9950 w 10000"/>
              <a:gd name="connsiteY6" fmla="*/ 1546 h 10011"/>
              <a:gd name="connsiteX7" fmla="*/ 9928 w 10000"/>
              <a:gd name="connsiteY7" fmla="*/ 2007 h 10011"/>
              <a:gd name="connsiteX8" fmla="*/ 9895 w 10000"/>
              <a:gd name="connsiteY8" fmla="*/ 2467 h 10011"/>
              <a:gd name="connsiteX9" fmla="*/ 9851 w 10000"/>
              <a:gd name="connsiteY9" fmla="*/ 2928 h 10011"/>
              <a:gd name="connsiteX10" fmla="*/ 9801 w 10000"/>
              <a:gd name="connsiteY10" fmla="*/ 3388 h 10011"/>
              <a:gd name="connsiteX11" fmla="*/ 9735 w 10000"/>
              <a:gd name="connsiteY11" fmla="*/ 3816 h 10011"/>
              <a:gd name="connsiteX12" fmla="*/ 9702 w 10000"/>
              <a:gd name="connsiteY12" fmla="*/ 4046 h 10011"/>
              <a:gd name="connsiteX13" fmla="*/ 9658 w 10000"/>
              <a:gd name="connsiteY13" fmla="*/ 4243 h 10011"/>
              <a:gd name="connsiteX14" fmla="*/ 9619 w 10000"/>
              <a:gd name="connsiteY14" fmla="*/ 4408 h 10011"/>
              <a:gd name="connsiteX15" fmla="*/ 9569 w 10000"/>
              <a:gd name="connsiteY15" fmla="*/ 4605 h 10011"/>
              <a:gd name="connsiteX16" fmla="*/ 9520 w 10000"/>
              <a:gd name="connsiteY16" fmla="*/ 4737 h 10011"/>
              <a:gd name="connsiteX17" fmla="*/ 9470 w 10000"/>
              <a:gd name="connsiteY17" fmla="*/ 4901 h 10011"/>
              <a:gd name="connsiteX18" fmla="*/ 9415 w 10000"/>
              <a:gd name="connsiteY18" fmla="*/ 5000 h 10011"/>
              <a:gd name="connsiteX19" fmla="*/ 9348 w 10000"/>
              <a:gd name="connsiteY19" fmla="*/ 5099 h 10011"/>
              <a:gd name="connsiteX20" fmla="*/ 9288 w 10000"/>
              <a:gd name="connsiteY20" fmla="*/ 5197 h 10011"/>
              <a:gd name="connsiteX21" fmla="*/ 9216 w 10000"/>
              <a:gd name="connsiteY21" fmla="*/ 5230 h 10011"/>
              <a:gd name="connsiteX22" fmla="*/ 9216 w 10000"/>
              <a:gd name="connsiteY22" fmla="*/ 5230 h 10011"/>
              <a:gd name="connsiteX23" fmla="*/ 1190 w 10000"/>
              <a:gd name="connsiteY23" fmla="*/ 9414 h 10011"/>
              <a:gd name="connsiteX24" fmla="*/ 0 w 10000"/>
              <a:gd name="connsiteY24" fmla="*/ 10000 h 10011"/>
              <a:gd name="connsiteX25" fmla="*/ 1185 w 10000"/>
              <a:gd name="connsiteY25" fmla="*/ 10011 h 10011"/>
              <a:gd name="connsiteX26" fmla="*/ 10000 w 10000"/>
              <a:gd name="connsiteY26" fmla="*/ 10000 h 10011"/>
              <a:gd name="connsiteX0" fmla="*/ 8815 w 8815"/>
              <a:gd name="connsiteY0" fmla="*/ 10000 h 10011"/>
              <a:gd name="connsiteX1" fmla="*/ 8815 w 8815"/>
              <a:gd name="connsiteY1" fmla="*/ 0 h 10011"/>
              <a:gd name="connsiteX2" fmla="*/ 8815 w 8815"/>
              <a:gd name="connsiteY2" fmla="*/ 0 h 10011"/>
              <a:gd name="connsiteX3" fmla="*/ 8815 w 8815"/>
              <a:gd name="connsiteY3" fmla="*/ 230 h 10011"/>
              <a:gd name="connsiteX4" fmla="*/ 8798 w 8815"/>
              <a:gd name="connsiteY4" fmla="*/ 757 h 10011"/>
              <a:gd name="connsiteX5" fmla="*/ 8787 w 8815"/>
              <a:gd name="connsiteY5" fmla="*/ 1118 h 10011"/>
              <a:gd name="connsiteX6" fmla="*/ 8765 w 8815"/>
              <a:gd name="connsiteY6" fmla="*/ 1546 h 10011"/>
              <a:gd name="connsiteX7" fmla="*/ 8743 w 8815"/>
              <a:gd name="connsiteY7" fmla="*/ 2007 h 10011"/>
              <a:gd name="connsiteX8" fmla="*/ 8710 w 8815"/>
              <a:gd name="connsiteY8" fmla="*/ 2467 h 10011"/>
              <a:gd name="connsiteX9" fmla="*/ 8666 w 8815"/>
              <a:gd name="connsiteY9" fmla="*/ 2928 h 10011"/>
              <a:gd name="connsiteX10" fmla="*/ 8616 w 8815"/>
              <a:gd name="connsiteY10" fmla="*/ 3388 h 10011"/>
              <a:gd name="connsiteX11" fmla="*/ 8550 w 8815"/>
              <a:gd name="connsiteY11" fmla="*/ 3816 h 10011"/>
              <a:gd name="connsiteX12" fmla="*/ 8517 w 8815"/>
              <a:gd name="connsiteY12" fmla="*/ 4046 h 10011"/>
              <a:gd name="connsiteX13" fmla="*/ 8473 w 8815"/>
              <a:gd name="connsiteY13" fmla="*/ 4243 h 10011"/>
              <a:gd name="connsiteX14" fmla="*/ 8434 w 8815"/>
              <a:gd name="connsiteY14" fmla="*/ 4408 h 10011"/>
              <a:gd name="connsiteX15" fmla="*/ 8384 w 8815"/>
              <a:gd name="connsiteY15" fmla="*/ 4605 h 10011"/>
              <a:gd name="connsiteX16" fmla="*/ 8335 w 8815"/>
              <a:gd name="connsiteY16" fmla="*/ 4737 h 10011"/>
              <a:gd name="connsiteX17" fmla="*/ 8285 w 8815"/>
              <a:gd name="connsiteY17" fmla="*/ 4901 h 10011"/>
              <a:gd name="connsiteX18" fmla="*/ 8230 w 8815"/>
              <a:gd name="connsiteY18" fmla="*/ 5000 h 10011"/>
              <a:gd name="connsiteX19" fmla="*/ 8163 w 8815"/>
              <a:gd name="connsiteY19" fmla="*/ 5099 h 10011"/>
              <a:gd name="connsiteX20" fmla="*/ 8103 w 8815"/>
              <a:gd name="connsiteY20" fmla="*/ 5197 h 10011"/>
              <a:gd name="connsiteX21" fmla="*/ 8031 w 8815"/>
              <a:gd name="connsiteY21" fmla="*/ 5230 h 10011"/>
              <a:gd name="connsiteX22" fmla="*/ 8031 w 8815"/>
              <a:gd name="connsiteY22" fmla="*/ 5230 h 10011"/>
              <a:gd name="connsiteX23" fmla="*/ 5 w 8815"/>
              <a:gd name="connsiteY23" fmla="*/ 9414 h 10011"/>
              <a:gd name="connsiteX24" fmla="*/ 0 w 8815"/>
              <a:gd name="connsiteY24" fmla="*/ 10011 h 10011"/>
              <a:gd name="connsiteX25" fmla="*/ 8815 w 8815"/>
              <a:gd name="connsiteY25" fmla="*/ 10000 h 10011"/>
              <a:gd name="connsiteX0" fmla="*/ 9996 w 9996"/>
              <a:gd name="connsiteY0" fmla="*/ 9989 h 10000"/>
              <a:gd name="connsiteX1" fmla="*/ 9996 w 9996"/>
              <a:gd name="connsiteY1" fmla="*/ 0 h 10000"/>
              <a:gd name="connsiteX2" fmla="*/ 9996 w 9996"/>
              <a:gd name="connsiteY2" fmla="*/ 0 h 10000"/>
              <a:gd name="connsiteX3" fmla="*/ 9996 w 9996"/>
              <a:gd name="connsiteY3" fmla="*/ 230 h 10000"/>
              <a:gd name="connsiteX4" fmla="*/ 9977 w 9996"/>
              <a:gd name="connsiteY4" fmla="*/ 756 h 10000"/>
              <a:gd name="connsiteX5" fmla="*/ 9964 w 9996"/>
              <a:gd name="connsiteY5" fmla="*/ 1117 h 10000"/>
              <a:gd name="connsiteX6" fmla="*/ 9939 w 9996"/>
              <a:gd name="connsiteY6" fmla="*/ 1544 h 10000"/>
              <a:gd name="connsiteX7" fmla="*/ 9914 w 9996"/>
              <a:gd name="connsiteY7" fmla="*/ 2005 h 10000"/>
              <a:gd name="connsiteX8" fmla="*/ 9877 w 9996"/>
              <a:gd name="connsiteY8" fmla="*/ 2464 h 10000"/>
              <a:gd name="connsiteX9" fmla="*/ 9827 w 9996"/>
              <a:gd name="connsiteY9" fmla="*/ 2925 h 10000"/>
              <a:gd name="connsiteX10" fmla="*/ 9770 w 9996"/>
              <a:gd name="connsiteY10" fmla="*/ 3384 h 10000"/>
              <a:gd name="connsiteX11" fmla="*/ 9695 w 9996"/>
              <a:gd name="connsiteY11" fmla="*/ 3812 h 10000"/>
              <a:gd name="connsiteX12" fmla="*/ 9658 w 9996"/>
              <a:gd name="connsiteY12" fmla="*/ 4042 h 10000"/>
              <a:gd name="connsiteX13" fmla="*/ 9608 w 9996"/>
              <a:gd name="connsiteY13" fmla="*/ 4238 h 10000"/>
              <a:gd name="connsiteX14" fmla="*/ 9564 w 9996"/>
              <a:gd name="connsiteY14" fmla="*/ 4403 h 10000"/>
              <a:gd name="connsiteX15" fmla="*/ 9507 w 9996"/>
              <a:gd name="connsiteY15" fmla="*/ 4600 h 10000"/>
              <a:gd name="connsiteX16" fmla="*/ 9451 w 9996"/>
              <a:gd name="connsiteY16" fmla="*/ 4732 h 10000"/>
              <a:gd name="connsiteX17" fmla="*/ 9395 w 9996"/>
              <a:gd name="connsiteY17" fmla="*/ 4896 h 10000"/>
              <a:gd name="connsiteX18" fmla="*/ 9332 w 9996"/>
              <a:gd name="connsiteY18" fmla="*/ 4995 h 10000"/>
              <a:gd name="connsiteX19" fmla="*/ 9256 w 9996"/>
              <a:gd name="connsiteY19" fmla="*/ 5093 h 10000"/>
              <a:gd name="connsiteX20" fmla="*/ 9188 w 9996"/>
              <a:gd name="connsiteY20" fmla="*/ 5191 h 10000"/>
              <a:gd name="connsiteX21" fmla="*/ 9107 w 9996"/>
              <a:gd name="connsiteY21" fmla="*/ 5224 h 10000"/>
              <a:gd name="connsiteX22" fmla="*/ 9107 w 9996"/>
              <a:gd name="connsiteY22" fmla="*/ 5224 h 10000"/>
              <a:gd name="connsiteX23" fmla="*/ 2 w 9996"/>
              <a:gd name="connsiteY23" fmla="*/ 9404 h 10000"/>
              <a:gd name="connsiteX24" fmla="*/ 0 w 9996"/>
              <a:gd name="connsiteY24" fmla="*/ 10000 h 10000"/>
              <a:gd name="connsiteX25" fmla="*/ 9996 w 9996"/>
              <a:gd name="connsiteY25" fmla="*/ 9989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9996" h="10000">
                <a:moveTo>
                  <a:pt x="9996" y="9989"/>
                </a:moveTo>
                <a:lnTo>
                  <a:pt x="9996" y="0"/>
                </a:lnTo>
                <a:lnTo>
                  <a:pt x="9996" y="0"/>
                </a:lnTo>
                <a:lnTo>
                  <a:pt x="9996" y="230"/>
                </a:lnTo>
                <a:cubicBezTo>
                  <a:pt x="9989" y="406"/>
                  <a:pt x="9984" y="580"/>
                  <a:pt x="9977" y="756"/>
                </a:cubicBezTo>
                <a:cubicBezTo>
                  <a:pt x="9972" y="876"/>
                  <a:pt x="9969" y="997"/>
                  <a:pt x="9964" y="1117"/>
                </a:cubicBezTo>
                <a:cubicBezTo>
                  <a:pt x="9956" y="1260"/>
                  <a:pt x="9947" y="1401"/>
                  <a:pt x="9939" y="1544"/>
                </a:cubicBezTo>
                <a:cubicBezTo>
                  <a:pt x="9931" y="1698"/>
                  <a:pt x="9922" y="1851"/>
                  <a:pt x="9914" y="2005"/>
                </a:cubicBezTo>
                <a:cubicBezTo>
                  <a:pt x="9902" y="2158"/>
                  <a:pt x="9889" y="2311"/>
                  <a:pt x="9877" y="2464"/>
                </a:cubicBezTo>
                <a:cubicBezTo>
                  <a:pt x="9860" y="2618"/>
                  <a:pt x="9844" y="2771"/>
                  <a:pt x="9827" y="2925"/>
                </a:cubicBezTo>
                <a:cubicBezTo>
                  <a:pt x="9808" y="3078"/>
                  <a:pt x="9790" y="3231"/>
                  <a:pt x="9770" y="3384"/>
                </a:cubicBezTo>
                <a:cubicBezTo>
                  <a:pt x="9745" y="3527"/>
                  <a:pt x="9720" y="3669"/>
                  <a:pt x="9695" y="3812"/>
                </a:cubicBezTo>
                <a:cubicBezTo>
                  <a:pt x="9683" y="3889"/>
                  <a:pt x="9670" y="3965"/>
                  <a:pt x="9658" y="4042"/>
                </a:cubicBezTo>
                <a:cubicBezTo>
                  <a:pt x="9641" y="4107"/>
                  <a:pt x="9625" y="4172"/>
                  <a:pt x="9608" y="4238"/>
                </a:cubicBezTo>
                <a:cubicBezTo>
                  <a:pt x="9593" y="4293"/>
                  <a:pt x="9579" y="4348"/>
                  <a:pt x="9564" y="4403"/>
                </a:cubicBezTo>
                <a:cubicBezTo>
                  <a:pt x="9544" y="4469"/>
                  <a:pt x="9526" y="4534"/>
                  <a:pt x="9507" y="4600"/>
                </a:cubicBezTo>
                <a:cubicBezTo>
                  <a:pt x="9489" y="4644"/>
                  <a:pt x="9470" y="4688"/>
                  <a:pt x="9451" y="4732"/>
                </a:cubicBezTo>
                <a:cubicBezTo>
                  <a:pt x="9432" y="4787"/>
                  <a:pt x="9414" y="4841"/>
                  <a:pt x="9395" y="4896"/>
                </a:cubicBezTo>
                <a:lnTo>
                  <a:pt x="9332" y="4995"/>
                </a:lnTo>
                <a:cubicBezTo>
                  <a:pt x="9307" y="5027"/>
                  <a:pt x="9281" y="5060"/>
                  <a:pt x="9256" y="5093"/>
                </a:cubicBezTo>
                <a:cubicBezTo>
                  <a:pt x="9234" y="5126"/>
                  <a:pt x="9211" y="5158"/>
                  <a:pt x="9188" y="5191"/>
                </a:cubicBezTo>
                <a:lnTo>
                  <a:pt x="9107" y="5224"/>
                </a:lnTo>
                <a:lnTo>
                  <a:pt x="9107" y="5224"/>
                </a:lnTo>
                <a:lnTo>
                  <a:pt x="2" y="9404"/>
                </a:lnTo>
                <a:cubicBezTo>
                  <a:pt x="-1" y="9602"/>
                  <a:pt x="2" y="9801"/>
                  <a:pt x="0" y="10000"/>
                </a:cubicBezTo>
                <a:lnTo>
                  <a:pt x="9996" y="9989"/>
                </a:lnTo>
                <a:close/>
              </a:path>
            </a:pathLst>
          </a:custGeom>
          <a:solidFill>
            <a:schemeClr val="accent6"/>
          </a:solidFill>
          <a:ln>
            <a:noFill/>
          </a:ln>
        </p:spPr>
        <p:txBody>
          <a:bodyPr vert="horz" wrap="square" lIns="133428" tIns="66715" rIns="133428" bIns="66715" numCol="1" anchor="t" anchorCtr="0" compatLnSpc="1">
            <a:prstTxWarp prst="textNoShape">
              <a:avLst/>
            </a:prstTxWarp>
          </a:bodyPr>
          <a:lstStyle/>
          <a:p>
            <a:endParaRPr lang="ja-JP" altLang="en-US" sz="2533"/>
          </a:p>
        </p:txBody>
      </p:sp>
      <p:sp>
        <p:nvSpPr>
          <p:cNvPr id="2" name="タイトル 1"/>
          <p:cNvSpPr>
            <a:spLocks noGrp="1"/>
          </p:cNvSpPr>
          <p:nvPr>
            <p:ph type="title"/>
          </p:nvPr>
        </p:nvSpPr>
        <p:spPr>
          <a:xfrm>
            <a:off x="368550" y="1959102"/>
            <a:ext cx="11451591" cy="540000"/>
          </a:xfrm>
          <a:prstGeom prst="rect">
            <a:avLst/>
          </a:prstGeom>
        </p:spPr>
        <p:txBody>
          <a:bodyPr lIns="95767" tIns="47884" rIns="95767" bIns="47884"/>
          <a:lstStyle>
            <a:lvl1pPr>
              <a:defRPr>
                <a:latin typeface="Meiryo UI" panose="020B0604030504040204" pitchFamily="50" charset="-128"/>
                <a:ea typeface="Meiryo UI" panose="020B0604030504040204" pitchFamily="50" charset="-128"/>
              </a:defRPr>
            </a:lvl1pPr>
          </a:lstStyle>
          <a:p>
            <a:r>
              <a:rPr kumimoji="1" lang="ja-JP" altLang="en-US"/>
              <a:t>マスター タイトルの書式設定</a:t>
            </a:r>
          </a:p>
        </p:txBody>
      </p:sp>
      <p:sp>
        <p:nvSpPr>
          <p:cNvPr id="6" name="スライド番号プレースホルダー 5"/>
          <p:cNvSpPr>
            <a:spLocks noGrp="1"/>
          </p:cNvSpPr>
          <p:nvPr>
            <p:ph type="sldNum" sz="quarter" idx="12"/>
          </p:nvPr>
        </p:nvSpPr>
        <p:spPr>
          <a:xfrm>
            <a:off x="11524630" y="6468878"/>
            <a:ext cx="555811" cy="289299"/>
          </a:xfrm>
          <a:prstGeom prst="rect">
            <a:avLst/>
          </a:prstGeom>
        </p:spPr>
        <p:txBody>
          <a:bodyPr lIns="95767" tIns="47884" rIns="95767" bIns="47884"/>
          <a:lstStyle>
            <a:lvl1pPr>
              <a:defRPr sz="1333"/>
            </a:lvl1pPr>
          </a:lstStyle>
          <a:p>
            <a:fld id="{2FF5E1DE-7B95-8A44-8552-65323269AE41}" type="slidenum">
              <a:rPr lang="ja-JP" altLang="en-US" smtClean="0"/>
              <a:pPr/>
              <a:t>‹#›</a:t>
            </a:fld>
            <a:endParaRPr lang="ja-JP" altLang="en-US"/>
          </a:p>
        </p:txBody>
      </p:sp>
      <p:pic>
        <p:nvPicPr>
          <p:cNvPr id="7" name="Picture 2" descr="C:\Users\00057835\AppData\Local\Temp\notesEA5B2A\グループ併記ロゴ（縦・英文）.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0756324" y="26652"/>
            <a:ext cx="1434080" cy="85801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22734533"/>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type="obj" preserve="1">
  <p:cSld name="10_タイトルとコンテンツ">
    <p:spTree>
      <p:nvGrpSpPr>
        <p:cNvPr id="1" name=""/>
        <p:cNvGrpSpPr/>
        <p:nvPr/>
      </p:nvGrpSpPr>
      <p:grpSpPr>
        <a:xfrm>
          <a:off x="0" y="0"/>
          <a:ext cx="0" cy="0"/>
          <a:chOff x="0" y="0"/>
          <a:chExt cx="0" cy="0"/>
        </a:xfrm>
      </p:grpSpPr>
      <p:sp>
        <p:nvSpPr>
          <p:cNvPr id="10" name="Freeform 8"/>
          <p:cNvSpPr>
            <a:spLocks/>
          </p:cNvSpPr>
          <p:nvPr userDrawn="1"/>
        </p:nvSpPr>
        <p:spPr bwMode="auto">
          <a:xfrm>
            <a:off x="-2100" y="5505984"/>
            <a:ext cx="12192504" cy="1353504"/>
          </a:xfrm>
          <a:custGeom>
            <a:avLst/>
            <a:gdLst>
              <a:gd name="T0" fmla="*/ 3622 w 3622"/>
              <a:gd name="T1" fmla="*/ 608 h 608"/>
              <a:gd name="T2" fmla="*/ 3622 w 3622"/>
              <a:gd name="T3" fmla="*/ 0 h 608"/>
              <a:gd name="T4" fmla="*/ 3622 w 3622"/>
              <a:gd name="T5" fmla="*/ 0 h 608"/>
              <a:gd name="T6" fmla="*/ 3622 w 3622"/>
              <a:gd name="T7" fmla="*/ 14 h 608"/>
              <a:gd name="T8" fmla="*/ 3616 w 3622"/>
              <a:gd name="T9" fmla="*/ 46 h 608"/>
              <a:gd name="T10" fmla="*/ 3612 w 3622"/>
              <a:gd name="T11" fmla="*/ 68 h 608"/>
              <a:gd name="T12" fmla="*/ 3604 w 3622"/>
              <a:gd name="T13" fmla="*/ 94 h 608"/>
              <a:gd name="T14" fmla="*/ 3596 w 3622"/>
              <a:gd name="T15" fmla="*/ 122 h 608"/>
              <a:gd name="T16" fmla="*/ 3584 w 3622"/>
              <a:gd name="T17" fmla="*/ 150 h 608"/>
              <a:gd name="T18" fmla="*/ 3568 w 3622"/>
              <a:gd name="T19" fmla="*/ 178 h 608"/>
              <a:gd name="T20" fmla="*/ 3550 w 3622"/>
              <a:gd name="T21" fmla="*/ 206 h 608"/>
              <a:gd name="T22" fmla="*/ 3526 w 3622"/>
              <a:gd name="T23" fmla="*/ 232 h 608"/>
              <a:gd name="T24" fmla="*/ 3514 w 3622"/>
              <a:gd name="T25" fmla="*/ 246 h 608"/>
              <a:gd name="T26" fmla="*/ 3498 w 3622"/>
              <a:gd name="T27" fmla="*/ 258 h 608"/>
              <a:gd name="T28" fmla="*/ 3484 w 3622"/>
              <a:gd name="T29" fmla="*/ 268 h 608"/>
              <a:gd name="T30" fmla="*/ 3466 w 3622"/>
              <a:gd name="T31" fmla="*/ 280 h 608"/>
              <a:gd name="T32" fmla="*/ 3448 w 3622"/>
              <a:gd name="T33" fmla="*/ 288 h 608"/>
              <a:gd name="T34" fmla="*/ 3430 w 3622"/>
              <a:gd name="T35" fmla="*/ 298 h 608"/>
              <a:gd name="T36" fmla="*/ 3410 w 3622"/>
              <a:gd name="T37" fmla="*/ 304 h 608"/>
              <a:gd name="T38" fmla="*/ 3386 w 3622"/>
              <a:gd name="T39" fmla="*/ 310 h 608"/>
              <a:gd name="T40" fmla="*/ 3364 w 3622"/>
              <a:gd name="T41" fmla="*/ 316 h 608"/>
              <a:gd name="T42" fmla="*/ 3338 w 3622"/>
              <a:gd name="T43" fmla="*/ 318 h 608"/>
              <a:gd name="T44" fmla="*/ 3338 w 3622"/>
              <a:gd name="T45" fmla="*/ 318 h 608"/>
              <a:gd name="T46" fmla="*/ 0 w 3622"/>
              <a:gd name="T47" fmla="*/ 608 h 608"/>
              <a:gd name="T48" fmla="*/ 3622 w 3622"/>
              <a:gd name="T49" fmla="*/ 608 h 608"/>
              <a:gd name="connsiteX0" fmla="*/ 10000 w 10000"/>
              <a:gd name="connsiteY0" fmla="*/ 10000 h 10000"/>
              <a:gd name="connsiteX1" fmla="*/ 10000 w 10000"/>
              <a:gd name="connsiteY1" fmla="*/ 0 h 10000"/>
              <a:gd name="connsiteX2" fmla="*/ 10000 w 10000"/>
              <a:gd name="connsiteY2" fmla="*/ 0 h 10000"/>
              <a:gd name="connsiteX3" fmla="*/ 10000 w 10000"/>
              <a:gd name="connsiteY3" fmla="*/ 230 h 10000"/>
              <a:gd name="connsiteX4" fmla="*/ 9983 w 10000"/>
              <a:gd name="connsiteY4" fmla="*/ 757 h 10000"/>
              <a:gd name="connsiteX5" fmla="*/ 9972 w 10000"/>
              <a:gd name="connsiteY5" fmla="*/ 1118 h 10000"/>
              <a:gd name="connsiteX6" fmla="*/ 9950 w 10000"/>
              <a:gd name="connsiteY6" fmla="*/ 1546 h 10000"/>
              <a:gd name="connsiteX7" fmla="*/ 9928 w 10000"/>
              <a:gd name="connsiteY7" fmla="*/ 2007 h 10000"/>
              <a:gd name="connsiteX8" fmla="*/ 9895 w 10000"/>
              <a:gd name="connsiteY8" fmla="*/ 2467 h 10000"/>
              <a:gd name="connsiteX9" fmla="*/ 9851 w 10000"/>
              <a:gd name="connsiteY9" fmla="*/ 2928 h 10000"/>
              <a:gd name="connsiteX10" fmla="*/ 9801 w 10000"/>
              <a:gd name="connsiteY10" fmla="*/ 3388 h 10000"/>
              <a:gd name="connsiteX11" fmla="*/ 9735 w 10000"/>
              <a:gd name="connsiteY11" fmla="*/ 3816 h 10000"/>
              <a:gd name="connsiteX12" fmla="*/ 9702 w 10000"/>
              <a:gd name="connsiteY12" fmla="*/ 4046 h 10000"/>
              <a:gd name="connsiteX13" fmla="*/ 9658 w 10000"/>
              <a:gd name="connsiteY13" fmla="*/ 4243 h 10000"/>
              <a:gd name="connsiteX14" fmla="*/ 9619 w 10000"/>
              <a:gd name="connsiteY14" fmla="*/ 4408 h 10000"/>
              <a:gd name="connsiteX15" fmla="*/ 9569 w 10000"/>
              <a:gd name="connsiteY15" fmla="*/ 4605 h 10000"/>
              <a:gd name="connsiteX16" fmla="*/ 9520 w 10000"/>
              <a:gd name="connsiteY16" fmla="*/ 4737 h 10000"/>
              <a:gd name="connsiteX17" fmla="*/ 9470 w 10000"/>
              <a:gd name="connsiteY17" fmla="*/ 4901 h 10000"/>
              <a:gd name="connsiteX18" fmla="*/ 9415 w 10000"/>
              <a:gd name="connsiteY18" fmla="*/ 5000 h 10000"/>
              <a:gd name="connsiteX19" fmla="*/ 9348 w 10000"/>
              <a:gd name="connsiteY19" fmla="*/ 5099 h 10000"/>
              <a:gd name="connsiteX20" fmla="*/ 9288 w 10000"/>
              <a:gd name="connsiteY20" fmla="*/ 5197 h 10000"/>
              <a:gd name="connsiteX21" fmla="*/ 9216 w 10000"/>
              <a:gd name="connsiteY21" fmla="*/ 5230 h 10000"/>
              <a:gd name="connsiteX22" fmla="*/ 9216 w 10000"/>
              <a:gd name="connsiteY22" fmla="*/ 5230 h 10000"/>
              <a:gd name="connsiteX23" fmla="*/ 1190 w 10000"/>
              <a:gd name="connsiteY23" fmla="*/ 9414 h 10000"/>
              <a:gd name="connsiteX24" fmla="*/ 0 w 10000"/>
              <a:gd name="connsiteY24" fmla="*/ 10000 h 10000"/>
              <a:gd name="connsiteX25" fmla="*/ 10000 w 10000"/>
              <a:gd name="connsiteY25" fmla="*/ 10000 h 10000"/>
              <a:gd name="connsiteX0" fmla="*/ 10000 w 10000"/>
              <a:gd name="connsiteY0" fmla="*/ 10000 h 10011"/>
              <a:gd name="connsiteX1" fmla="*/ 10000 w 10000"/>
              <a:gd name="connsiteY1" fmla="*/ 0 h 10011"/>
              <a:gd name="connsiteX2" fmla="*/ 10000 w 10000"/>
              <a:gd name="connsiteY2" fmla="*/ 0 h 10011"/>
              <a:gd name="connsiteX3" fmla="*/ 10000 w 10000"/>
              <a:gd name="connsiteY3" fmla="*/ 230 h 10011"/>
              <a:gd name="connsiteX4" fmla="*/ 9983 w 10000"/>
              <a:gd name="connsiteY4" fmla="*/ 757 h 10011"/>
              <a:gd name="connsiteX5" fmla="*/ 9972 w 10000"/>
              <a:gd name="connsiteY5" fmla="*/ 1118 h 10011"/>
              <a:gd name="connsiteX6" fmla="*/ 9950 w 10000"/>
              <a:gd name="connsiteY6" fmla="*/ 1546 h 10011"/>
              <a:gd name="connsiteX7" fmla="*/ 9928 w 10000"/>
              <a:gd name="connsiteY7" fmla="*/ 2007 h 10011"/>
              <a:gd name="connsiteX8" fmla="*/ 9895 w 10000"/>
              <a:gd name="connsiteY8" fmla="*/ 2467 h 10011"/>
              <a:gd name="connsiteX9" fmla="*/ 9851 w 10000"/>
              <a:gd name="connsiteY9" fmla="*/ 2928 h 10011"/>
              <a:gd name="connsiteX10" fmla="*/ 9801 w 10000"/>
              <a:gd name="connsiteY10" fmla="*/ 3388 h 10011"/>
              <a:gd name="connsiteX11" fmla="*/ 9735 w 10000"/>
              <a:gd name="connsiteY11" fmla="*/ 3816 h 10011"/>
              <a:gd name="connsiteX12" fmla="*/ 9702 w 10000"/>
              <a:gd name="connsiteY12" fmla="*/ 4046 h 10011"/>
              <a:gd name="connsiteX13" fmla="*/ 9658 w 10000"/>
              <a:gd name="connsiteY13" fmla="*/ 4243 h 10011"/>
              <a:gd name="connsiteX14" fmla="*/ 9619 w 10000"/>
              <a:gd name="connsiteY14" fmla="*/ 4408 h 10011"/>
              <a:gd name="connsiteX15" fmla="*/ 9569 w 10000"/>
              <a:gd name="connsiteY15" fmla="*/ 4605 h 10011"/>
              <a:gd name="connsiteX16" fmla="*/ 9520 w 10000"/>
              <a:gd name="connsiteY16" fmla="*/ 4737 h 10011"/>
              <a:gd name="connsiteX17" fmla="*/ 9470 w 10000"/>
              <a:gd name="connsiteY17" fmla="*/ 4901 h 10011"/>
              <a:gd name="connsiteX18" fmla="*/ 9415 w 10000"/>
              <a:gd name="connsiteY18" fmla="*/ 5000 h 10011"/>
              <a:gd name="connsiteX19" fmla="*/ 9348 w 10000"/>
              <a:gd name="connsiteY19" fmla="*/ 5099 h 10011"/>
              <a:gd name="connsiteX20" fmla="*/ 9288 w 10000"/>
              <a:gd name="connsiteY20" fmla="*/ 5197 h 10011"/>
              <a:gd name="connsiteX21" fmla="*/ 9216 w 10000"/>
              <a:gd name="connsiteY21" fmla="*/ 5230 h 10011"/>
              <a:gd name="connsiteX22" fmla="*/ 9216 w 10000"/>
              <a:gd name="connsiteY22" fmla="*/ 5230 h 10011"/>
              <a:gd name="connsiteX23" fmla="*/ 1190 w 10000"/>
              <a:gd name="connsiteY23" fmla="*/ 9414 h 10011"/>
              <a:gd name="connsiteX24" fmla="*/ 0 w 10000"/>
              <a:gd name="connsiteY24" fmla="*/ 10000 h 10011"/>
              <a:gd name="connsiteX25" fmla="*/ 1185 w 10000"/>
              <a:gd name="connsiteY25" fmla="*/ 10011 h 10011"/>
              <a:gd name="connsiteX26" fmla="*/ 10000 w 10000"/>
              <a:gd name="connsiteY26" fmla="*/ 10000 h 10011"/>
              <a:gd name="connsiteX0" fmla="*/ 8815 w 8815"/>
              <a:gd name="connsiteY0" fmla="*/ 10000 h 10011"/>
              <a:gd name="connsiteX1" fmla="*/ 8815 w 8815"/>
              <a:gd name="connsiteY1" fmla="*/ 0 h 10011"/>
              <a:gd name="connsiteX2" fmla="*/ 8815 w 8815"/>
              <a:gd name="connsiteY2" fmla="*/ 0 h 10011"/>
              <a:gd name="connsiteX3" fmla="*/ 8815 w 8815"/>
              <a:gd name="connsiteY3" fmla="*/ 230 h 10011"/>
              <a:gd name="connsiteX4" fmla="*/ 8798 w 8815"/>
              <a:gd name="connsiteY4" fmla="*/ 757 h 10011"/>
              <a:gd name="connsiteX5" fmla="*/ 8787 w 8815"/>
              <a:gd name="connsiteY5" fmla="*/ 1118 h 10011"/>
              <a:gd name="connsiteX6" fmla="*/ 8765 w 8815"/>
              <a:gd name="connsiteY6" fmla="*/ 1546 h 10011"/>
              <a:gd name="connsiteX7" fmla="*/ 8743 w 8815"/>
              <a:gd name="connsiteY7" fmla="*/ 2007 h 10011"/>
              <a:gd name="connsiteX8" fmla="*/ 8710 w 8815"/>
              <a:gd name="connsiteY8" fmla="*/ 2467 h 10011"/>
              <a:gd name="connsiteX9" fmla="*/ 8666 w 8815"/>
              <a:gd name="connsiteY9" fmla="*/ 2928 h 10011"/>
              <a:gd name="connsiteX10" fmla="*/ 8616 w 8815"/>
              <a:gd name="connsiteY10" fmla="*/ 3388 h 10011"/>
              <a:gd name="connsiteX11" fmla="*/ 8550 w 8815"/>
              <a:gd name="connsiteY11" fmla="*/ 3816 h 10011"/>
              <a:gd name="connsiteX12" fmla="*/ 8517 w 8815"/>
              <a:gd name="connsiteY12" fmla="*/ 4046 h 10011"/>
              <a:gd name="connsiteX13" fmla="*/ 8473 w 8815"/>
              <a:gd name="connsiteY13" fmla="*/ 4243 h 10011"/>
              <a:gd name="connsiteX14" fmla="*/ 8434 w 8815"/>
              <a:gd name="connsiteY14" fmla="*/ 4408 h 10011"/>
              <a:gd name="connsiteX15" fmla="*/ 8384 w 8815"/>
              <a:gd name="connsiteY15" fmla="*/ 4605 h 10011"/>
              <a:gd name="connsiteX16" fmla="*/ 8335 w 8815"/>
              <a:gd name="connsiteY16" fmla="*/ 4737 h 10011"/>
              <a:gd name="connsiteX17" fmla="*/ 8285 w 8815"/>
              <a:gd name="connsiteY17" fmla="*/ 4901 h 10011"/>
              <a:gd name="connsiteX18" fmla="*/ 8230 w 8815"/>
              <a:gd name="connsiteY18" fmla="*/ 5000 h 10011"/>
              <a:gd name="connsiteX19" fmla="*/ 8163 w 8815"/>
              <a:gd name="connsiteY19" fmla="*/ 5099 h 10011"/>
              <a:gd name="connsiteX20" fmla="*/ 8103 w 8815"/>
              <a:gd name="connsiteY20" fmla="*/ 5197 h 10011"/>
              <a:gd name="connsiteX21" fmla="*/ 8031 w 8815"/>
              <a:gd name="connsiteY21" fmla="*/ 5230 h 10011"/>
              <a:gd name="connsiteX22" fmla="*/ 8031 w 8815"/>
              <a:gd name="connsiteY22" fmla="*/ 5230 h 10011"/>
              <a:gd name="connsiteX23" fmla="*/ 5 w 8815"/>
              <a:gd name="connsiteY23" fmla="*/ 9414 h 10011"/>
              <a:gd name="connsiteX24" fmla="*/ 0 w 8815"/>
              <a:gd name="connsiteY24" fmla="*/ 10011 h 10011"/>
              <a:gd name="connsiteX25" fmla="*/ 8815 w 8815"/>
              <a:gd name="connsiteY25" fmla="*/ 10000 h 10011"/>
              <a:gd name="connsiteX0" fmla="*/ 9996 w 9996"/>
              <a:gd name="connsiteY0" fmla="*/ 9989 h 10000"/>
              <a:gd name="connsiteX1" fmla="*/ 9996 w 9996"/>
              <a:gd name="connsiteY1" fmla="*/ 0 h 10000"/>
              <a:gd name="connsiteX2" fmla="*/ 9996 w 9996"/>
              <a:gd name="connsiteY2" fmla="*/ 0 h 10000"/>
              <a:gd name="connsiteX3" fmla="*/ 9996 w 9996"/>
              <a:gd name="connsiteY3" fmla="*/ 230 h 10000"/>
              <a:gd name="connsiteX4" fmla="*/ 9977 w 9996"/>
              <a:gd name="connsiteY4" fmla="*/ 756 h 10000"/>
              <a:gd name="connsiteX5" fmla="*/ 9964 w 9996"/>
              <a:gd name="connsiteY5" fmla="*/ 1117 h 10000"/>
              <a:gd name="connsiteX6" fmla="*/ 9939 w 9996"/>
              <a:gd name="connsiteY6" fmla="*/ 1544 h 10000"/>
              <a:gd name="connsiteX7" fmla="*/ 9914 w 9996"/>
              <a:gd name="connsiteY7" fmla="*/ 2005 h 10000"/>
              <a:gd name="connsiteX8" fmla="*/ 9877 w 9996"/>
              <a:gd name="connsiteY8" fmla="*/ 2464 h 10000"/>
              <a:gd name="connsiteX9" fmla="*/ 9827 w 9996"/>
              <a:gd name="connsiteY9" fmla="*/ 2925 h 10000"/>
              <a:gd name="connsiteX10" fmla="*/ 9770 w 9996"/>
              <a:gd name="connsiteY10" fmla="*/ 3384 h 10000"/>
              <a:gd name="connsiteX11" fmla="*/ 9695 w 9996"/>
              <a:gd name="connsiteY11" fmla="*/ 3812 h 10000"/>
              <a:gd name="connsiteX12" fmla="*/ 9658 w 9996"/>
              <a:gd name="connsiteY12" fmla="*/ 4042 h 10000"/>
              <a:gd name="connsiteX13" fmla="*/ 9608 w 9996"/>
              <a:gd name="connsiteY13" fmla="*/ 4238 h 10000"/>
              <a:gd name="connsiteX14" fmla="*/ 9564 w 9996"/>
              <a:gd name="connsiteY14" fmla="*/ 4403 h 10000"/>
              <a:gd name="connsiteX15" fmla="*/ 9507 w 9996"/>
              <a:gd name="connsiteY15" fmla="*/ 4600 h 10000"/>
              <a:gd name="connsiteX16" fmla="*/ 9451 w 9996"/>
              <a:gd name="connsiteY16" fmla="*/ 4732 h 10000"/>
              <a:gd name="connsiteX17" fmla="*/ 9395 w 9996"/>
              <a:gd name="connsiteY17" fmla="*/ 4896 h 10000"/>
              <a:gd name="connsiteX18" fmla="*/ 9332 w 9996"/>
              <a:gd name="connsiteY18" fmla="*/ 4995 h 10000"/>
              <a:gd name="connsiteX19" fmla="*/ 9256 w 9996"/>
              <a:gd name="connsiteY19" fmla="*/ 5093 h 10000"/>
              <a:gd name="connsiteX20" fmla="*/ 9188 w 9996"/>
              <a:gd name="connsiteY20" fmla="*/ 5191 h 10000"/>
              <a:gd name="connsiteX21" fmla="*/ 9107 w 9996"/>
              <a:gd name="connsiteY21" fmla="*/ 5224 h 10000"/>
              <a:gd name="connsiteX22" fmla="*/ 9107 w 9996"/>
              <a:gd name="connsiteY22" fmla="*/ 5224 h 10000"/>
              <a:gd name="connsiteX23" fmla="*/ 2 w 9996"/>
              <a:gd name="connsiteY23" fmla="*/ 9404 h 10000"/>
              <a:gd name="connsiteX24" fmla="*/ 0 w 9996"/>
              <a:gd name="connsiteY24" fmla="*/ 10000 h 10000"/>
              <a:gd name="connsiteX25" fmla="*/ 9996 w 9996"/>
              <a:gd name="connsiteY25" fmla="*/ 9989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9996" h="10000">
                <a:moveTo>
                  <a:pt x="9996" y="9989"/>
                </a:moveTo>
                <a:lnTo>
                  <a:pt x="9996" y="0"/>
                </a:lnTo>
                <a:lnTo>
                  <a:pt x="9996" y="0"/>
                </a:lnTo>
                <a:lnTo>
                  <a:pt x="9996" y="230"/>
                </a:lnTo>
                <a:cubicBezTo>
                  <a:pt x="9989" y="406"/>
                  <a:pt x="9984" y="580"/>
                  <a:pt x="9977" y="756"/>
                </a:cubicBezTo>
                <a:cubicBezTo>
                  <a:pt x="9972" y="876"/>
                  <a:pt x="9969" y="997"/>
                  <a:pt x="9964" y="1117"/>
                </a:cubicBezTo>
                <a:cubicBezTo>
                  <a:pt x="9956" y="1260"/>
                  <a:pt x="9947" y="1401"/>
                  <a:pt x="9939" y="1544"/>
                </a:cubicBezTo>
                <a:cubicBezTo>
                  <a:pt x="9931" y="1698"/>
                  <a:pt x="9922" y="1851"/>
                  <a:pt x="9914" y="2005"/>
                </a:cubicBezTo>
                <a:cubicBezTo>
                  <a:pt x="9902" y="2158"/>
                  <a:pt x="9889" y="2311"/>
                  <a:pt x="9877" y="2464"/>
                </a:cubicBezTo>
                <a:cubicBezTo>
                  <a:pt x="9860" y="2618"/>
                  <a:pt x="9844" y="2771"/>
                  <a:pt x="9827" y="2925"/>
                </a:cubicBezTo>
                <a:cubicBezTo>
                  <a:pt x="9808" y="3078"/>
                  <a:pt x="9790" y="3231"/>
                  <a:pt x="9770" y="3384"/>
                </a:cubicBezTo>
                <a:cubicBezTo>
                  <a:pt x="9745" y="3527"/>
                  <a:pt x="9720" y="3669"/>
                  <a:pt x="9695" y="3812"/>
                </a:cubicBezTo>
                <a:cubicBezTo>
                  <a:pt x="9683" y="3889"/>
                  <a:pt x="9670" y="3965"/>
                  <a:pt x="9658" y="4042"/>
                </a:cubicBezTo>
                <a:cubicBezTo>
                  <a:pt x="9641" y="4107"/>
                  <a:pt x="9625" y="4172"/>
                  <a:pt x="9608" y="4238"/>
                </a:cubicBezTo>
                <a:cubicBezTo>
                  <a:pt x="9593" y="4293"/>
                  <a:pt x="9579" y="4348"/>
                  <a:pt x="9564" y="4403"/>
                </a:cubicBezTo>
                <a:cubicBezTo>
                  <a:pt x="9544" y="4469"/>
                  <a:pt x="9526" y="4534"/>
                  <a:pt x="9507" y="4600"/>
                </a:cubicBezTo>
                <a:cubicBezTo>
                  <a:pt x="9489" y="4644"/>
                  <a:pt x="9470" y="4688"/>
                  <a:pt x="9451" y="4732"/>
                </a:cubicBezTo>
                <a:cubicBezTo>
                  <a:pt x="9432" y="4787"/>
                  <a:pt x="9414" y="4841"/>
                  <a:pt x="9395" y="4896"/>
                </a:cubicBezTo>
                <a:lnTo>
                  <a:pt x="9332" y="4995"/>
                </a:lnTo>
                <a:cubicBezTo>
                  <a:pt x="9307" y="5027"/>
                  <a:pt x="9281" y="5060"/>
                  <a:pt x="9256" y="5093"/>
                </a:cubicBezTo>
                <a:cubicBezTo>
                  <a:pt x="9234" y="5126"/>
                  <a:pt x="9211" y="5158"/>
                  <a:pt x="9188" y="5191"/>
                </a:cubicBezTo>
                <a:lnTo>
                  <a:pt x="9107" y="5224"/>
                </a:lnTo>
                <a:lnTo>
                  <a:pt x="9107" y="5224"/>
                </a:lnTo>
                <a:lnTo>
                  <a:pt x="2" y="9404"/>
                </a:lnTo>
                <a:cubicBezTo>
                  <a:pt x="-1" y="9602"/>
                  <a:pt x="2" y="9801"/>
                  <a:pt x="0" y="10000"/>
                </a:cubicBezTo>
                <a:lnTo>
                  <a:pt x="9996" y="9989"/>
                </a:lnTo>
                <a:close/>
              </a:path>
            </a:pathLst>
          </a:custGeom>
          <a:solidFill>
            <a:schemeClr val="accent6"/>
          </a:solidFill>
          <a:ln>
            <a:noFill/>
          </a:ln>
        </p:spPr>
        <p:txBody>
          <a:bodyPr vert="horz" wrap="square" lIns="133428" tIns="66715" rIns="133428" bIns="66715" numCol="1" anchor="t" anchorCtr="0" compatLnSpc="1">
            <a:prstTxWarp prst="textNoShape">
              <a:avLst/>
            </a:prstTxWarp>
          </a:bodyPr>
          <a:lstStyle/>
          <a:p>
            <a:endParaRPr lang="ja-JP" altLang="en-US" sz="2533"/>
          </a:p>
        </p:txBody>
      </p:sp>
      <p:sp>
        <p:nvSpPr>
          <p:cNvPr id="2" name="タイトル 1"/>
          <p:cNvSpPr>
            <a:spLocks noGrp="1"/>
          </p:cNvSpPr>
          <p:nvPr>
            <p:ph type="title"/>
          </p:nvPr>
        </p:nvSpPr>
        <p:spPr>
          <a:xfrm>
            <a:off x="368549" y="194236"/>
            <a:ext cx="9791452" cy="540000"/>
          </a:xfrm>
          <a:prstGeom prst="rect">
            <a:avLst/>
          </a:prstGeom>
        </p:spPr>
        <p:txBody>
          <a:bodyPr lIns="95767" tIns="47884" rIns="95767" bIns="47884"/>
          <a:lstStyle>
            <a:lvl1pPr>
              <a:defRPr>
                <a:latin typeface="Meiryo UI" panose="020B0604030504040204" pitchFamily="50" charset="-128"/>
                <a:ea typeface="Meiryo UI" panose="020B0604030504040204" pitchFamily="50" charset="-128"/>
              </a:defRPr>
            </a:lvl1pPr>
          </a:lstStyle>
          <a:p>
            <a:r>
              <a:rPr kumimoji="1" lang="ja-JP" altLang="en-US"/>
              <a:t>マスター タイトルの書式設定</a:t>
            </a:r>
          </a:p>
        </p:txBody>
      </p:sp>
      <p:sp>
        <p:nvSpPr>
          <p:cNvPr id="3" name="コンテンツ プレースホルダー 2"/>
          <p:cNvSpPr>
            <a:spLocks noGrp="1"/>
          </p:cNvSpPr>
          <p:nvPr>
            <p:ph idx="1"/>
          </p:nvPr>
        </p:nvSpPr>
        <p:spPr>
          <a:xfrm>
            <a:off x="368551" y="903600"/>
            <a:ext cx="11583452" cy="5540400"/>
          </a:xfrm>
          <a:prstGeom prst="rect">
            <a:avLst/>
          </a:prstGeom>
        </p:spPr>
        <p:txBody>
          <a:bodyPr lIns="95767" tIns="47884" rIns="95767" bIns="47884"/>
          <a:lstStyle>
            <a:lvl1pPr>
              <a:defRPr>
                <a:latin typeface="Meiryo UI" panose="020B0604030504040204" pitchFamily="50" charset="-128"/>
                <a:ea typeface="Meiryo UI" panose="020B0604030504040204" pitchFamily="50" charset="-128"/>
              </a:defRPr>
            </a:lvl1pPr>
            <a:lvl2pPr indent="-236233">
              <a:defRPr>
                <a:latin typeface="Meiryo UI" panose="020B0604030504040204" pitchFamily="50" charset="-128"/>
                <a:ea typeface="Meiryo UI" panose="020B0604030504040204" pitchFamily="50" charset="-128"/>
              </a:defRPr>
            </a:lvl2pPr>
            <a:lvl3pPr indent="-236233">
              <a:defRPr>
                <a:latin typeface="Meiryo UI" panose="020B0604030504040204" pitchFamily="50" charset="-128"/>
                <a:ea typeface="Meiryo UI" panose="020B0604030504040204" pitchFamily="50" charset="-128"/>
              </a:defRPr>
            </a:lvl3pPr>
            <a:lvl4pPr indent="-236233">
              <a:defRPr>
                <a:latin typeface="Meiryo UI" panose="020B0604030504040204" pitchFamily="50" charset="-128"/>
                <a:ea typeface="Meiryo UI" panose="020B0604030504040204" pitchFamily="50" charset="-128"/>
              </a:defRPr>
            </a:lvl4pPr>
            <a:lvl5pPr indent="-236233">
              <a:defRPr>
                <a:latin typeface="Meiryo UI" panose="020B0604030504040204" pitchFamily="50" charset="-128"/>
                <a:ea typeface="Meiryo UI" panose="020B0604030504040204" pitchFamily="50" charset="-128"/>
              </a:defRPr>
            </a:lvl5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6" name="スライド番号プレースホルダー 5"/>
          <p:cNvSpPr>
            <a:spLocks noGrp="1"/>
          </p:cNvSpPr>
          <p:nvPr>
            <p:ph type="sldNum" sz="quarter" idx="12"/>
          </p:nvPr>
        </p:nvSpPr>
        <p:spPr>
          <a:xfrm>
            <a:off x="11524630" y="6468878"/>
            <a:ext cx="555811" cy="289299"/>
          </a:xfrm>
          <a:prstGeom prst="rect">
            <a:avLst/>
          </a:prstGeom>
        </p:spPr>
        <p:txBody>
          <a:bodyPr lIns="95767" tIns="47884" rIns="95767" bIns="47884"/>
          <a:lstStyle>
            <a:lvl1pPr>
              <a:defRPr sz="1333"/>
            </a:lvl1pPr>
          </a:lstStyle>
          <a:p>
            <a:fld id="{2FF5E1DE-7B95-8A44-8552-65323269AE41}" type="slidenum">
              <a:rPr lang="ja-JP" altLang="en-US" smtClean="0"/>
              <a:pPr/>
              <a:t>‹#›</a:t>
            </a:fld>
            <a:endParaRPr lang="ja-JP" altLang="en-US"/>
          </a:p>
        </p:txBody>
      </p:sp>
      <p:cxnSp>
        <p:nvCxnSpPr>
          <p:cNvPr id="8" name="直線コネクタ 7"/>
          <p:cNvCxnSpPr/>
          <p:nvPr userDrawn="1"/>
        </p:nvCxnSpPr>
        <p:spPr>
          <a:xfrm>
            <a:off x="239959" y="817200"/>
            <a:ext cx="11709966" cy="0"/>
          </a:xfrm>
          <a:prstGeom prst="line">
            <a:avLst/>
          </a:prstGeom>
          <a:ln>
            <a:solidFill>
              <a:srgbClr val="C7000D"/>
            </a:solidFill>
          </a:ln>
          <a:effectLst/>
        </p:spPr>
        <p:style>
          <a:lnRef idx="2">
            <a:schemeClr val="accent1"/>
          </a:lnRef>
          <a:fillRef idx="0">
            <a:schemeClr val="accent1"/>
          </a:fillRef>
          <a:effectRef idx="1">
            <a:schemeClr val="accent1"/>
          </a:effectRef>
          <a:fontRef idx="minor">
            <a:schemeClr val="tx1"/>
          </a:fontRef>
        </p:style>
      </p:cxnSp>
      <p:pic>
        <p:nvPicPr>
          <p:cNvPr id="9" name="Picture 2" descr="C:\Users\00057835\AppData\Local\Temp\notesEA5B2A\グループ併記ロゴ（縦・英文）.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0756324" y="26652"/>
            <a:ext cx="1434080" cy="85801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34514669"/>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type="title" preserve="1">
  <p:cSld name="3_タイトル スライド">
    <p:spTree>
      <p:nvGrpSpPr>
        <p:cNvPr id="1" name=""/>
        <p:cNvGrpSpPr/>
        <p:nvPr/>
      </p:nvGrpSpPr>
      <p:grpSpPr>
        <a:xfrm>
          <a:off x="0" y="0"/>
          <a:ext cx="0" cy="0"/>
          <a:chOff x="0" y="0"/>
          <a:chExt cx="0" cy="0"/>
        </a:xfrm>
      </p:grpSpPr>
      <p:sp>
        <p:nvSpPr>
          <p:cNvPr id="10" name="Freeform 5"/>
          <p:cNvSpPr>
            <a:spLocks/>
          </p:cNvSpPr>
          <p:nvPr userDrawn="1"/>
        </p:nvSpPr>
        <p:spPr bwMode="auto">
          <a:xfrm>
            <a:off x="233538" y="169337"/>
            <a:ext cx="11730712" cy="5207000"/>
          </a:xfrm>
          <a:custGeom>
            <a:avLst/>
            <a:gdLst>
              <a:gd name="T0" fmla="*/ 0 w 1618"/>
              <a:gd name="T1" fmla="*/ 0 h 957"/>
              <a:gd name="T2" fmla="*/ 0 w 1618"/>
              <a:gd name="T3" fmla="*/ 957 h 957"/>
              <a:gd name="T4" fmla="*/ 1279 w 1618"/>
              <a:gd name="T5" fmla="*/ 842 h 957"/>
              <a:gd name="T6" fmla="*/ 1618 w 1618"/>
              <a:gd name="T7" fmla="*/ 472 h 957"/>
              <a:gd name="T8" fmla="*/ 1618 w 1618"/>
              <a:gd name="T9" fmla="*/ 0 h 957"/>
              <a:gd name="T10" fmla="*/ 0 w 1618"/>
              <a:gd name="T11" fmla="*/ 0 h 957"/>
            </a:gdLst>
            <a:ahLst/>
            <a:cxnLst>
              <a:cxn ang="0">
                <a:pos x="T0" y="T1"/>
              </a:cxn>
              <a:cxn ang="0">
                <a:pos x="T2" y="T3"/>
              </a:cxn>
              <a:cxn ang="0">
                <a:pos x="T4" y="T5"/>
              </a:cxn>
              <a:cxn ang="0">
                <a:pos x="T6" y="T7"/>
              </a:cxn>
              <a:cxn ang="0">
                <a:pos x="T8" y="T9"/>
              </a:cxn>
              <a:cxn ang="0">
                <a:pos x="T10" y="T11"/>
              </a:cxn>
            </a:cxnLst>
            <a:rect l="0" t="0" r="r" b="b"/>
            <a:pathLst>
              <a:path w="1618" h="957">
                <a:moveTo>
                  <a:pt x="0" y="0"/>
                </a:moveTo>
                <a:cubicBezTo>
                  <a:pt x="0" y="957"/>
                  <a:pt x="0" y="957"/>
                  <a:pt x="0" y="957"/>
                </a:cubicBezTo>
                <a:cubicBezTo>
                  <a:pt x="1279" y="842"/>
                  <a:pt x="1279" y="842"/>
                  <a:pt x="1279" y="842"/>
                </a:cubicBezTo>
                <a:cubicBezTo>
                  <a:pt x="1465" y="825"/>
                  <a:pt x="1618" y="659"/>
                  <a:pt x="1618" y="472"/>
                </a:cubicBezTo>
                <a:cubicBezTo>
                  <a:pt x="1618" y="0"/>
                  <a:pt x="1618" y="0"/>
                  <a:pt x="1618" y="0"/>
                </a:cubicBezTo>
                <a:lnTo>
                  <a:pt x="0" y="0"/>
                </a:lnTo>
                <a:close/>
              </a:path>
            </a:pathLst>
          </a:custGeom>
          <a:solidFill>
            <a:schemeClr val="accent4"/>
          </a:solidFill>
          <a:ln>
            <a:noFill/>
          </a:ln>
        </p:spPr>
        <p:txBody>
          <a:bodyPr lIns="127667" tIns="63834" rIns="127667" bIns="63834"/>
          <a:lstStyle/>
          <a:p>
            <a:endParaRPr lang="ja-JP" altLang="en-US" sz="2533">
              <a:latin typeface="Meiryo UI" panose="020B0604030504040204" pitchFamily="50" charset="-128"/>
              <a:ea typeface="Meiryo UI" panose="020B0604030504040204" pitchFamily="50" charset="-128"/>
            </a:endParaRPr>
          </a:p>
        </p:txBody>
      </p:sp>
      <p:sp>
        <p:nvSpPr>
          <p:cNvPr id="2" name="タイトル 1"/>
          <p:cNvSpPr>
            <a:spLocks noGrp="1"/>
          </p:cNvSpPr>
          <p:nvPr>
            <p:ph type="ctrTitle"/>
          </p:nvPr>
        </p:nvSpPr>
        <p:spPr>
          <a:xfrm>
            <a:off x="914400" y="1416804"/>
            <a:ext cx="10363200" cy="1470025"/>
          </a:xfrm>
          <a:prstGeom prst="rect">
            <a:avLst/>
          </a:prstGeom>
        </p:spPr>
        <p:txBody>
          <a:bodyPr lIns="95767" tIns="47884" rIns="95767" bIns="47884" anchor="b">
            <a:normAutofit/>
          </a:bodyPr>
          <a:lstStyle>
            <a:lvl1pPr algn="l">
              <a:defRPr sz="5199" kern="1200">
                <a:solidFill>
                  <a:schemeClr val="bg1"/>
                </a:solidFill>
                <a:latin typeface="Meiryo UI" panose="020B0604030504040204" pitchFamily="50" charset="-128"/>
                <a:ea typeface="Meiryo UI" panose="020B0604030504040204" pitchFamily="50" charset="-128"/>
              </a:defRPr>
            </a:lvl1pPr>
          </a:lstStyle>
          <a:p>
            <a:r>
              <a:rPr kumimoji="1" lang="ja-JP" altLang="en-US"/>
              <a:t>マスター タイトルの書式設定</a:t>
            </a:r>
          </a:p>
        </p:txBody>
      </p:sp>
      <p:sp>
        <p:nvSpPr>
          <p:cNvPr id="3" name="サブタイトル 2"/>
          <p:cNvSpPr>
            <a:spLocks noGrp="1"/>
          </p:cNvSpPr>
          <p:nvPr>
            <p:ph type="subTitle" idx="1"/>
          </p:nvPr>
        </p:nvSpPr>
        <p:spPr>
          <a:xfrm>
            <a:off x="916801" y="3420000"/>
            <a:ext cx="9691436" cy="977153"/>
          </a:xfrm>
          <a:prstGeom prst="rect">
            <a:avLst/>
          </a:prstGeom>
        </p:spPr>
        <p:txBody>
          <a:bodyPr lIns="95767" tIns="47884" rIns="95767" bIns="47884">
            <a:normAutofit/>
          </a:bodyPr>
          <a:lstStyle>
            <a:lvl1pPr marL="0" indent="0" algn="l">
              <a:buNone/>
              <a:defRPr sz="3333">
                <a:solidFill>
                  <a:schemeClr val="bg1"/>
                </a:solidFill>
                <a:latin typeface="Meiryo UI" panose="020B0604030504040204" pitchFamily="50" charset="-128"/>
                <a:ea typeface="Meiryo UI" panose="020B0604030504040204" pitchFamily="50" charset="-128"/>
              </a:defRPr>
            </a:lvl1pPr>
            <a:lvl2pPr marL="638335" indent="0" algn="ctr">
              <a:buNone/>
              <a:defRPr>
                <a:solidFill>
                  <a:schemeClr val="tx1">
                    <a:tint val="75000"/>
                  </a:schemeClr>
                </a:solidFill>
              </a:defRPr>
            </a:lvl2pPr>
            <a:lvl3pPr marL="1276669" indent="0" algn="ctr">
              <a:buNone/>
              <a:defRPr>
                <a:solidFill>
                  <a:schemeClr val="tx1">
                    <a:tint val="75000"/>
                  </a:schemeClr>
                </a:solidFill>
              </a:defRPr>
            </a:lvl3pPr>
            <a:lvl4pPr marL="1915003" indent="0" algn="ctr">
              <a:buNone/>
              <a:defRPr>
                <a:solidFill>
                  <a:schemeClr val="tx1">
                    <a:tint val="75000"/>
                  </a:schemeClr>
                </a:solidFill>
              </a:defRPr>
            </a:lvl4pPr>
            <a:lvl5pPr marL="2553338" indent="0" algn="ctr">
              <a:buNone/>
              <a:defRPr>
                <a:solidFill>
                  <a:schemeClr val="tx1">
                    <a:tint val="75000"/>
                  </a:schemeClr>
                </a:solidFill>
              </a:defRPr>
            </a:lvl5pPr>
            <a:lvl6pPr marL="3191671" indent="0" algn="ctr">
              <a:buNone/>
              <a:defRPr>
                <a:solidFill>
                  <a:schemeClr val="tx1">
                    <a:tint val="75000"/>
                  </a:schemeClr>
                </a:solidFill>
              </a:defRPr>
            </a:lvl6pPr>
            <a:lvl7pPr marL="3830007" indent="0" algn="ctr">
              <a:buNone/>
              <a:defRPr>
                <a:solidFill>
                  <a:schemeClr val="tx1">
                    <a:tint val="75000"/>
                  </a:schemeClr>
                </a:solidFill>
              </a:defRPr>
            </a:lvl7pPr>
            <a:lvl8pPr marL="4468342" indent="0" algn="ctr">
              <a:buNone/>
              <a:defRPr>
                <a:solidFill>
                  <a:schemeClr val="tx1">
                    <a:tint val="75000"/>
                  </a:schemeClr>
                </a:solidFill>
              </a:defRPr>
            </a:lvl8pPr>
            <a:lvl9pPr marL="5106676" indent="0" algn="ctr">
              <a:buNone/>
              <a:defRPr>
                <a:solidFill>
                  <a:schemeClr val="tx1">
                    <a:tint val="75000"/>
                  </a:schemeClr>
                </a:solidFill>
              </a:defRPr>
            </a:lvl9pPr>
          </a:lstStyle>
          <a:p>
            <a:r>
              <a:rPr kumimoji="1" lang="ja-JP" altLang="en-US"/>
              <a:t>マスター サブタイトルの書式設定</a:t>
            </a:r>
          </a:p>
        </p:txBody>
      </p:sp>
      <p:sp>
        <p:nvSpPr>
          <p:cNvPr id="9" name="フッター プレースホルダー 12"/>
          <p:cNvSpPr>
            <a:spLocks noGrp="1"/>
          </p:cNvSpPr>
          <p:nvPr>
            <p:ph type="ftr" sz="quarter" idx="11"/>
          </p:nvPr>
        </p:nvSpPr>
        <p:spPr>
          <a:xfrm>
            <a:off x="609600" y="6099529"/>
            <a:ext cx="3860800" cy="365125"/>
          </a:xfrm>
          <a:prstGeom prst="rect">
            <a:avLst/>
          </a:prstGeom>
        </p:spPr>
        <p:txBody>
          <a:bodyPr lIns="95767" tIns="47884" rIns="95767" bIns="47884"/>
          <a:lstStyle>
            <a:lvl1pPr algn="l">
              <a:defRPr sz="2266">
                <a:latin typeface="Meiryo UI" panose="020B0604030504040204" pitchFamily="50" charset="-128"/>
                <a:ea typeface="Meiryo UI" panose="020B0604030504040204" pitchFamily="50" charset="-128"/>
              </a:defRPr>
            </a:lvl1pPr>
          </a:lstStyle>
          <a:p>
            <a:endParaRPr lang="ja-JP" altLang="en-US"/>
          </a:p>
        </p:txBody>
      </p:sp>
      <p:sp>
        <p:nvSpPr>
          <p:cNvPr id="12" name="日付プレースホルダー 11"/>
          <p:cNvSpPr>
            <a:spLocks noGrp="1"/>
          </p:cNvSpPr>
          <p:nvPr>
            <p:ph type="dt" sz="half" idx="10"/>
          </p:nvPr>
        </p:nvSpPr>
        <p:spPr>
          <a:xfrm>
            <a:off x="609600" y="5691768"/>
            <a:ext cx="3860800" cy="365125"/>
          </a:xfrm>
          <a:prstGeom prst="rect">
            <a:avLst/>
          </a:prstGeom>
        </p:spPr>
        <p:txBody>
          <a:bodyPr lIns="95767" tIns="47884" rIns="95767" bIns="47884"/>
          <a:lstStyle>
            <a:lvl1pPr algn="l">
              <a:defRPr sz="2266">
                <a:solidFill>
                  <a:srgbClr val="000000"/>
                </a:solidFill>
                <a:latin typeface="Meiryo UI" panose="020B0604030504040204" pitchFamily="50" charset="-128"/>
                <a:ea typeface="Meiryo UI" panose="020B0604030504040204" pitchFamily="50" charset="-128"/>
              </a:defRPr>
            </a:lvl1pPr>
          </a:lstStyle>
          <a:p>
            <a:endParaRPr lang="ja-JP" altLang="en-US"/>
          </a:p>
        </p:txBody>
      </p:sp>
      <p:pic>
        <p:nvPicPr>
          <p:cNvPr id="8" name="Picture 2" descr="C:\Users\00057835\AppData\Local\Temp\notesEA5B2A\グループ併記ロゴ（縦・英文）.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9672823" y="5316525"/>
            <a:ext cx="2519177" cy="1507239"/>
          </a:xfrm>
          <a:prstGeom prst="rect">
            <a:avLst/>
          </a:prstGeom>
          <a:noFill/>
          <a:extLst>
            <a:ext uri="{909E8E84-426E-40DD-AFC4-6F175D3DCCD1}">
              <a14:hiddenFill xmlns:a14="http://schemas.microsoft.com/office/drawing/2010/main">
                <a:solidFill>
                  <a:srgbClr val="FFFFFF"/>
                </a:solidFill>
              </a14:hiddenFill>
            </a:ext>
          </a:extLst>
        </p:spPr>
      </p:pic>
      <p:pic>
        <p:nvPicPr>
          <p:cNvPr id="11" name="図 10" descr="テキスト&#10;&#10;自動的に生成された説明">
            <a:extLst>
              <a:ext uri="{FF2B5EF4-FFF2-40B4-BE49-F238E27FC236}">
                <a16:creationId xmlns:a16="http://schemas.microsoft.com/office/drawing/2014/main" id="{80C15421-0707-47B4-A067-68BC5E4EC91D}"/>
              </a:ext>
            </a:extLst>
          </p:cNvPr>
          <p:cNvPicPr>
            <a:picLocks noChangeAspect="1"/>
          </p:cNvPicPr>
          <p:nvPr userDrawn="1"/>
        </p:nvPicPr>
        <p:blipFill>
          <a:blip r:embed="rId3"/>
          <a:stretch>
            <a:fillRect/>
          </a:stretch>
        </p:blipFill>
        <p:spPr>
          <a:xfrm>
            <a:off x="7614083" y="5874330"/>
            <a:ext cx="2138567" cy="637168"/>
          </a:xfrm>
          <a:prstGeom prst="rect">
            <a:avLst/>
          </a:prstGeom>
        </p:spPr>
      </p:pic>
    </p:spTree>
    <p:extLst>
      <p:ext uri="{BB962C8B-B14F-4D97-AF65-F5344CB8AC3E}">
        <p14:creationId xmlns:p14="http://schemas.microsoft.com/office/powerpoint/2010/main" val="3249308592"/>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13_タイトルとコンテンツ">
    <p:spTree>
      <p:nvGrpSpPr>
        <p:cNvPr id="1" name=""/>
        <p:cNvGrpSpPr/>
        <p:nvPr/>
      </p:nvGrpSpPr>
      <p:grpSpPr>
        <a:xfrm>
          <a:off x="0" y="0"/>
          <a:ext cx="0" cy="0"/>
          <a:chOff x="0" y="0"/>
          <a:chExt cx="0" cy="0"/>
        </a:xfrm>
      </p:grpSpPr>
      <p:sp>
        <p:nvSpPr>
          <p:cNvPr id="9" name="Freeform 8"/>
          <p:cNvSpPr>
            <a:spLocks/>
          </p:cNvSpPr>
          <p:nvPr userDrawn="1"/>
        </p:nvSpPr>
        <p:spPr bwMode="auto">
          <a:xfrm>
            <a:off x="-2100" y="5505984"/>
            <a:ext cx="12192504" cy="1353504"/>
          </a:xfrm>
          <a:custGeom>
            <a:avLst/>
            <a:gdLst>
              <a:gd name="T0" fmla="*/ 3622 w 3622"/>
              <a:gd name="T1" fmla="*/ 608 h 608"/>
              <a:gd name="T2" fmla="*/ 3622 w 3622"/>
              <a:gd name="T3" fmla="*/ 0 h 608"/>
              <a:gd name="T4" fmla="*/ 3622 w 3622"/>
              <a:gd name="T5" fmla="*/ 0 h 608"/>
              <a:gd name="T6" fmla="*/ 3622 w 3622"/>
              <a:gd name="T7" fmla="*/ 14 h 608"/>
              <a:gd name="T8" fmla="*/ 3616 w 3622"/>
              <a:gd name="T9" fmla="*/ 46 h 608"/>
              <a:gd name="T10" fmla="*/ 3612 w 3622"/>
              <a:gd name="T11" fmla="*/ 68 h 608"/>
              <a:gd name="T12" fmla="*/ 3604 w 3622"/>
              <a:gd name="T13" fmla="*/ 94 h 608"/>
              <a:gd name="T14" fmla="*/ 3596 w 3622"/>
              <a:gd name="T15" fmla="*/ 122 h 608"/>
              <a:gd name="T16" fmla="*/ 3584 w 3622"/>
              <a:gd name="T17" fmla="*/ 150 h 608"/>
              <a:gd name="T18" fmla="*/ 3568 w 3622"/>
              <a:gd name="T19" fmla="*/ 178 h 608"/>
              <a:gd name="T20" fmla="*/ 3550 w 3622"/>
              <a:gd name="T21" fmla="*/ 206 h 608"/>
              <a:gd name="T22" fmla="*/ 3526 w 3622"/>
              <a:gd name="T23" fmla="*/ 232 h 608"/>
              <a:gd name="T24" fmla="*/ 3514 w 3622"/>
              <a:gd name="T25" fmla="*/ 246 h 608"/>
              <a:gd name="T26" fmla="*/ 3498 w 3622"/>
              <a:gd name="T27" fmla="*/ 258 h 608"/>
              <a:gd name="T28" fmla="*/ 3484 w 3622"/>
              <a:gd name="T29" fmla="*/ 268 h 608"/>
              <a:gd name="T30" fmla="*/ 3466 w 3622"/>
              <a:gd name="T31" fmla="*/ 280 h 608"/>
              <a:gd name="T32" fmla="*/ 3448 w 3622"/>
              <a:gd name="T33" fmla="*/ 288 h 608"/>
              <a:gd name="T34" fmla="*/ 3430 w 3622"/>
              <a:gd name="T35" fmla="*/ 298 h 608"/>
              <a:gd name="T36" fmla="*/ 3410 w 3622"/>
              <a:gd name="T37" fmla="*/ 304 h 608"/>
              <a:gd name="T38" fmla="*/ 3386 w 3622"/>
              <a:gd name="T39" fmla="*/ 310 h 608"/>
              <a:gd name="T40" fmla="*/ 3364 w 3622"/>
              <a:gd name="T41" fmla="*/ 316 h 608"/>
              <a:gd name="T42" fmla="*/ 3338 w 3622"/>
              <a:gd name="T43" fmla="*/ 318 h 608"/>
              <a:gd name="T44" fmla="*/ 3338 w 3622"/>
              <a:gd name="T45" fmla="*/ 318 h 608"/>
              <a:gd name="T46" fmla="*/ 0 w 3622"/>
              <a:gd name="T47" fmla="*/ 608 h 608"/>
              <a:gd name="T48" fmla="*/ 3622 w 3622"/>
              <a:gd name="T49" fmla="*/ 608 h 608"/>
              <a:gd name="connsiteX0" fmla="*/ 10000 w 10000"/>
              <a:gd name="connsiteY0" fmla="*/ 10000 h 10000"/>
              <a:gd name="connsiteX1" fmla="*/ 10000 w 10000"/>
              <a:gd name="connsiteY1" fmla="*/ 0 h 10000"/>
              <a:gd name="connsiteX2" fmla="*/ 10000 w 10000"/>
              <a:gd name="connsiteY2" fmla="*/ 0 h 10000"/>
              <a:gd name="connsiteX3" fmla="*/ 10000 w 10000"/>
              <a:gd name="connsiteY3" fmla="*/ 230 h 10000"/>
              <a:gd name="connsiteX4" fmla="*/ 9983 w 10000"/>
              <a:gd name="connsiteY4" fmla="*/ 757 h 10000"/>
              <a:gd name="connsiteX5" fmla="*/ 9972 w 10000"/>
              <a:gd name="connsiteY5" fmla="*/ 1118 h 10000"/>
              <a:gd name="connsiteX6" fmla="*/ 9950 w 10000"/>
              <a:gd name="connsiteY6" fmla="*/ 1546 h 10000"/>
              <a:gd name="connsiteX7" fmla="*/ 9928 w 10000"/>
              <a:gd name="connsiteY7" fmla="*/ 2007 h 10000"/>
              <a:gd name="connsiteX8" fmla="*/ 9895 w 10000"/>
              <a:gd name="connsiteY8" fmla="*/ 2467 h 10000"/>
              <a:gd name="connsiteX9" fmla="*/ 9851 w 10000"/>
              <a:gd name="connsiteY9" fmla="*/ 2928 h 10000"/>
              <a:gd name="connsiteX10" fmla="*/ 9801 w 10000"/>
              <a:gd name="connsiteY10" fmla="*/ 3388 h 10000"/>
              <a:gd name="connsiteX11" fmla="*/ 9735 w 10000"/>
              <a:gd name="connsiteY11" fmla="*/ 3816 h 10000"/>
              <a:gd name="connsiteX12" fmla="*/ 9702 w 10000"/>
              <a:gd name="connsiteY12" fmla="*/ 4046 h 10000"/>
              <a:gd name="connsiteX13" fmla="*/ 9658 w 10000"/>
              <a:gd name="connsiteY13" fmla="*/ 4243 h 10000"/>
              <a:gd name="connsiteX14" fmla="*/ 9619 w 10000"/>
              <a:gd name="connsiteY14" fmla="*/ 4408 h 10000"/>
              <a:gd name="connsiteX15" fmla="*/ 9569 w 10000"/>
              <a:gd name="connsiteY15" fmla="*/ 4605 h 10000"/>
              <a:gd name="connsiteX16" fmla="*/ 9520 w 10000"/>
              <a:gd name="connsiteY16" fmla="*/ 4737 h 10000"/>
              <a:gd name="connsiteX17" fmla="*/ 9470 w 10000"/>
              <a:gd name="connsiteY17" fmla="*/ 4901 h 10000"/>
              <a:gd name="connsiteX18" fmla="*/ 9415 w 10000"/>
              <a:gd name="connsiteY18" fmla="*/ 5000 h 10000"/>
              <a:gd name="connsiteX19" fmla="*/ 9348 w 10000"/>
              <a:gd name="connsiteY19" fmla="*/ 5099 h 10000"/>
              <a:gd name="connsiteX20" fmla="*/ 9288 w 10000"/>
              <a:gd name="connsiteY20" fmla="*/ 5197 h 10000"/>
              <a:gd name="connsiteX21" fmla="*/ 9216 w 10000"/>
              <a:gd name="connsiteY21" fmla="*/ 5230 h 10000"/>
              <a:gd name="connsiteX22" fmla="*/ 9216 w 10000"/>
              <a:gd name="connsiteY22" fmla="*/ 5230 h 10000"/>
              <a:gd name="connsiteX23" fmla="*/ 1190 w 10000"/>
              <a:gd name="connsiteY23" fmla="*/ 9414 h 10000"/>
              <a:gd name="connsiteX24" fmla="*/ 0 w 10000"/>
              <a:gd name="connsiteY24" fmla="*/ 10000 h 10000"/>
              <a:gd name="connsiteX25" fmla="*/ 10000 w 10000"/>
              <a:gd name="connsiteY25" fmla="*/ 10000 h 10000"/>
              <a:gd name="connsiteX0" fmla="*/ 10000 w 10000"/>
              <a:gd name="connsiteY0" fmla="*/ 10000 h 10011"/>
              <a:gd name="connsiteX1" fmla="*/ 10000 w 10000"/>
              <a:gd name="connsiteY1" fmla="*/ 0 h 10011"/>
              <a:gd name="connsiteX2" fmla="*/ 10000 w 10000"/>
              <a:gd name="connsiteY2" fmla="*/ 0 h 10011"/>
              <a:gd name="connsiteX3" fmla="*/ 10000 w 10000"/>
              <a:gd name="connsiteY3" fmla="*/ 230 h 10011"/>
              <a:gd name="connsiteX4" fmla="*/ 9983 w 10000"/>
              <a:gd name="connsiteY4" fmla="*/ 757 h 10011"/>
              <a:gd name="connsiteX5" fmla="*/ 9972 w 10000"/>
              <a:gd name="connsiteY5" fmla="*/ 1118 h 10011"/>
              <a:gd name="connsiteX6" fmla="*/ 9950 w 10000"/>
              <a:gd name="connsiteY6" fmla="*/ 1546 h 10011"/>
              <a:gd name="connsiteX7" fmla="*/ 9928 w 10000"/>
              <a:gd name="connsiteY7" fmla="*/ 2007 h 10011"/>
              <a:gd name="connsiteX8" fmla="*/ 9895 w 10000"/>
              <a:gd name="connsiteY8" fmla="*/ 2467 h 10011"/>
              <a:gd name="connsiteX9" fmla="*/ 9851 w 10000"/>
              <a:gd name="connsiteY9" fmla="*/ 2928 h 10011"/>
              <a:gd name="connsiteX10" fmla="*/ 9801 w 10000"/>
              <a:gd name="connsiteY10" fmla="*/ 3388 h 10011"/>
              <a:gd name="connsiteX11" fmla="*/ 9735 w 10000"/>
              <a:gd name="connsiteY11" fmla="*/ 3816 h 10011"/>
              <a:gd name="connsiteX12" fmla="*/ 9702 w 10000"/>
              <a:gd name="connsiteY12" fmla="*/ 4046 h 10011"/>
              <a:gd name="connsiteX13" fmla="*/ 9658 w 10000"/>
              <a:gd name="connsiteY13" fmla="*/ 4243 h 10011"/>
              <a:gd name="connsiteX14" fmla="*/ 9619 w 10000"/>
              <a:gd name="connsiteY14" fmla="*/ 4408 h 10011"/>
              <a:gd name="connsiteX15" fmla="*/ 9569 w 10000"/>
              <a:gd name="connsiteY15" fmla="*/ 4605 h 10011"/>
              <a:gd name="connsiteX16" fmla="*/ 9520 w 10000"/>
              <a:gd name="connsiteY16" fmla="*/ 4737 h 10011"/>
              <a:gd name="connsiteX17" fmla="*/ 9470 w 10000"/>
              <a:gd name="connsiteY17" fmla="*/ 4901 h 10011"/>
              <a:gd name="connsiteX18" fmla="*/ 9415 w 10000"/>
              <a:gd name="connsiteY18" fmla="*/ 5000 h 10011"/>
              <a:gd name="connsiteX19" fmla="*/ 9348 w 10000"/>
              <a:gd name="connsiteY19" fmla="*/ 5099 h 10011"/>
              <a:gd name="connsiteX20" fmla="*/ 9288 w 10000"/>
              <a:gd name="connsiteY20" fmla="*/ 5197 h 10011"/>
              <a:gd name="connsiteX21" fmla="*/ 9216 w 10000"/>
              <a:gd name="connsiteY21" fmla="*/ 5230 h 10011"/>
              <a:gd name="connsiteX22" fmla="*/ 9216 w 10000"/>
              <a:gd name="connsiteY22" fmla="*/ 5230 h 10011"/>
              <a:gd name="connsiteX23" fmla="*/ 1190 w 10000"/>
              <a:gd name="connsiteY23" fmla="*/ 9414 h 10011"/>
              <a:gd name="connsiteX24" fmla="*/ 0 w 10000"/>
              <a:gd name="connsiteY24" fmla="*/ 10000 h 10011"/>
              <a:gd name="connsiteX25" fmla="*/ 1185 w 10000"/>
              <a:gd name="connsiteY25" fmla="*/ 10011 h 10011"/>
              <a:gd name="connsiteX26" fmla="*/ 10000 w 10000"/>
              <a:gd name="connsiteY26" fmla="*/ 10000 h 10011"/>
              <a:gd name="connsiteX0" fmla="*/ 8815 w 8815"/>
              <a:gd name="connsiteY0" fmla="*/ 10000 h 10011"/>
              <a:gd name="connsiteX1" fmla="*/ 8815 w 8815"/>
              <a:gd name="connsiteY1" fmla="*/ 0 h 10011"/>
              <a:gd name="connsiteX2" fmla="*/ 8815 w 8815"/>
              <a:gd name="connsiteY2" fmla="*/ 0 h 10011"/>
              <a:gd name="connsiteX3" fmla="*/ 8815 w 8815"/>
              <a:gd name="connsiteY3" fmla="*/ 230 h 10011"/>
              <a:gd name="connsiteX4" fmla="*/ 8798 w 8815"/>
              <a:gd name="connsiteY4" fmla="*/ 757 h 10011"/>
              <a:gd name="connsiteX5" fmla="*/ 8787 w 8815"/>
              <a:gd name="connsiteY5" fmla="*/ 1118 h 10011"/>
              <a:gd name="connsiteX6" fmla="*/ 8765 w 8815"/>
              <a:gd name="connsiteY6" fmla="*/ 1546 h 10011"/>
              <a:gd name="connsiteX7" fmla="*/ 8743 w 8815"/>
              <a:gd name="connsiteY7" fmla="*/ 2007 h 10011"/>
              <a:gd name="connsiteX8" fmla="*/ 8710 w 8815"/>
              <a:gd name="connsiteY8" fmla="*/ 2467 h 10011"/>
              <a:gd name="connsiteX9" fmla="*/ 8666 w 8815"/>
              <a:gd name="connsiteY9" fmla="*/ 2928 h 10011"/>
              <a:gd name="connsiteX10" fmla="*/ 8616 w 8815"/>
              <a:gd name="connsiteY10" fmla="*/ 3388 h 10011"/>
              <a:gd name="connsiteX11" fmla="*/ 8550 w 8815"/>
              <a:gd name="connsiteY11" fmla="*/ 3816 h 10011"/>
              <a:gd name="connsiteX12" fmla="*/ 8517 w 8815"/>
              <a:gd name="connsiteY12" fmla="*/ 4046 h 10011"/>
              <a:gd name="connsiteX13" fmla="*/ 8473 w 8815"/>
              <a:gd name="connsiteY13" fmla="*/ 4243 h 10011"/>
              <a:gd name="connsiteX14" fmla="*/ 8434 w 8815"/>
              <a:gd name="connsiteY14" fmla="*/ 4408 h 10011"/>
              <a:gd name="connsiteX15" fmla="*/ 8384 w 8815"/>
              <a:gd name="connsiteY15" fmla="*/ 4605 h 10011"/>
              <a:gd name="connsiteX16" fmla="*/ 8335 w 8815"/>
              <a:gd name="connsiteY16" fmla="*/ 4737 h 10011"/>
              <a:gd name="connsiteX17" fmla="*/ 8285 w 8815"/>
              <a:gd name="connsiteY17" fmla="*/ 4901 h 10011"/>
              <a:gd name="connsiteX18" fmla="*/ 8230 w 8815"/>
              <a:gd name="connsiteY18" fmla="*/ 5000 h 10011"/>
              <a:gd name="connsiteX19" fmla="*/ 8163 w 8815"/>
              <a:gd name="connsiteY19" fmla="*/ 5099 h 10011"/>
              <a:gd name="connsiteX20" fmla="*/ 8103 w 8815"/>
              <a:gd name="connsiteY20" fmla="*/ 5197 h 10011"/>
              <a:gd name="connsiteX21" fmla="*/ 8031 w 8815"/>
              <a:gd name="connsiteY21" fmla="*/ 5230 h 10011"/>
              <a:gd name="connsiteX22" fmla="*/ 8031 w 8815"/>
              <a:gd name="connsiteY22" fmla="*/ 5230 h 10011"/>
              <a:gd name="connsiteX23" fmla="*/ 5 w 8815"/>
              <a:gd name="connsiteY23" fmla="*/ 9414 h 10011"/>
              <a:gd name="connsiteX24" fmla="*/ 0 w 8815"/>
              <a:gd name="connsiteY24" fmla="*/ 10011 h 10011"/>
              <a:gd name="connsiteX25" fmla="*/ 8815 w 8815"/>
              <a:gd name="connsiteY25" fmla="*/ 10000 h 10011"/>
              <a:gd name="connsiteX0" fmla="*/ 9996 w 9996"/>
              <a:gd name="connsiteY0" fmla="*/ 9989 h 10000"/>
              <a:gd name="connsiteX1" fmla="*/ 9996 w 9996"/>
              <a:gd name="connsiteY1" fmla="*/ 0 h 10000"/>
              <a:gd name="connsiteX2" fmla="*/ 9996 w 9996"/>
              <a:gd name="connsiteY2" fmla="*/ 0 h 10000"/>
              <a:gd name="connsiteX3" fmla="*/ 9996 w 9996"/>
              <a:gd name="connsiteY3" fmla="*/ 230 h 10000"/>
              <a:gd name="connsiteX4" fmla="*/ 9977 w 9996"/>
              <a:gd name="connsiteY4" fmla="*/ 756 h 10000"/>
              <a:gd name="connsiteX5" fmla="*/ 9964 w 9996"/>
              <a:gd name="connsiteY5" fmla="*/ 1117 h 10000"/>
              <a:gd name="connsiteX6" fmla="*/ 9939 w 9996"/>
              <a:gd name="connsiteY6" fmla="*/ 1544 h 10000"/>
              <a:gd name="connsiteX7" fmla="*/ 9914 w 9996"/>
              <a:gd name="connsiteY7" fmla="*/ 2005 h 10000"/>
              <a:gd name="connsiteX8" fmla="*/ 9877 w 9996"/>
              <a:gd name="connsiteY8" fmla="*/ 2464 h 10000"/>
              <a:gd name="connsiteX9" fmla="*/ 9827 w 9996"/>
              <a:gd name="connsiteY9" fmla="*/ 2925 h 10000"/>
              <a:gd name="connsiteX10" fmla="*/ 9770 w 9996"/>
              <a:gd name="connsiteY10" fmla="*/ 3384 h 10000"/>
              <a:gd name="connsiteX11" fmla="*/ 9695 w 9996"/>
              <a:gd name="connsiteY11" fmla="*/ 3812 h 10000"/>
              <a:gd name="connsiteX12" fmla="*/ 9658 w 9996"/>
              <a:gd name="connsiteY12" fmla="*/ 4042 h 10000"/>
              <a:gd name="connsiteX13" fmla="*/ 9608 w 9996"/>
              <a:gd name="connsiteY13" fmla="*/ 4238 h 10000"/>
              <a:gd name="connsiteX14" fmla="*/ 9564 w 9996"/>
              <a:gd name="connsiteY14" fmla="*/ 4403 h 10000"/>
              <a:gd name="connsiteX15" fmla="*/ 9507 w 9996"/>
              <a:gd name="connsiteY15" fmla="*/ 4600 h 10000"/>
              <a:gd name="connsiteX16" fmla="*/ 9451 w 9996"/>
              <a:gd name="connsiteY16" fmla="*/ 4732 h 10000"/>
              <a:gd name="connsiteX17" fmla="*/ 9395 w 9996"/>
              <a:gd name="connsiteY17" fmla="*/ 4896 h 10000"/>
              <a:gd name="connsiteX18" fmla="*/ 9332 w 9996"/>
              <a:gd name="connsiteY18" fmla="*/ 4995 h 10000"/>
              <a:gd name="connsiteX19" fmla="*/ 9256 w 9996"/>
              <a:gd name="connsiteY19" fmla="*/ 5093 h 10000"/>
              <a:gd name="connsiteX20" fmla="*/ 9188 w 9996"/>
              <a:gd name="connsiteY20" fmla="*/ 5191 h 10000"/>
              <a:gd name="connsiteX21" fmla="*/ 9107 w 9996"/>
              <a:gd name="connsiteY21" fmla="*/ 5224 h 10000"/>
              <a:gd name="connsiteX22" fmla="*/ 9107 w 9996"/>
              <a:gd name="connsiteY22" fmla="*/ 5224 h 10000"/>
              <a:gd name="connsiteX23" fmla="*/ 2 w 9996"/>
              <a:gd name="connsiteY23" fmla="*/ 9404 h 10000"/>
              <a:gd name="connsiteX24" fmla="*/ 0 w 9996"/>
              <a:gd name="connsiteY24" fmla="*/ 10000 h 10000"/>
              <a:gd name="connsiteX25" fmla="*/ 9996 w 9996"/>
              <a:gd name="connsiteY25" fmla="*/ 9989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9996" h="10000">
                <a:moveTo>
                  <a:pt x="9996" y="9989"/>
                </a:moveTo>
                <a:lnTo>
                  <a:pt x="9996" y="0"/>
                </a:lnTo>
                <a:lnTo>
                  <a:pt x="9996" y="0"/>
                </a:lnTo>
                <a:lnTo>
                  <a:pt x="9996" y="230"/>
                </a:lnTo>
                <a:cubicBezTo>
                  <a:pt x="9989" y="406"/>
                  <a:pt x="9984" y="580"/>
                  <a:pt x="9977" y="756"/>
                </a:cubicBezTo>
                <a:cubicBezTo>
                  <a:pt x="9972" y="876"/>
                  <a:pt x="9969" y="997"/>
                  <a:pt x="9964" y="1117"/>
                </a:cubicBezTo>
                <a:cubicBezTo>
                  <a:pt x="9956" y="1260"/>
                  <a:pt x="9947" y="1401"/>
                  <a:pt x="9939" y="1544"/>
                </a:cubicBezTo>
                <a:cubicBezTo>
                  <a:pt x="9931" y="1698"/>
                  <a:pt x="9922" y="1851"/>
                  <a:pt x="9914" y="2005"/>
                </a:cubicBezTo>
                <a:cubicBezTo>
                  <a:pt x="9902" y="2158"/>
                  <a:pt x="9889" y="2311"/>
                  <a:pt x="9877" y="2464"/>
                </a:cubicBezTo>
                <a:cubicBezTo>
                  <a:pt x="9860" y="2618"/>
                  <a:pt x="9844" y="2771"/>
                  <a:pt x="9827" y="2925"/>
                </a:cubicBezTo>
                <a:cubicBezTo>
                  <a:pt x="9808" y="3078"/>
                  <a:pt x="9790" y="3231"/>
                  <a:pt x="9770" y="3384"/>
                </a:cubicBezTo>
                <a:cubicBezTo>
                  <a:pt x="9745" y="3527"/>
                  <a:pt x="9720" y="3669"/>
                  <a:pt x="9695" y="3812"/>
                </a:cubicBezTo>
                <a:cubicBezTo>
                  <a:pt x="9683" y="3889"/>
                  <a:pt x="9670" y="3965"/>
                  <a:pt x="9658" y="4042"/>
                </a:cubicBezTo>
                <a:cubicBezTo>
                  <a:pt x="9641" y="4107"/>
                  <a:pt x="9625" y="4172"/>
                  <a:pt x="9608" y="4238"/>
                </a:cubicBezTo>
                <a:cubicBezTo>
                  <a:pt x="9593" y="4293"/>
                  <a:pt x="9579" y="4348"/>
                  <a:pt x="9564" y="4403"/>
                </a:cubicBezTo>
                <a:cubicBezTo>
                  <a:pt x="9544" y="4469"/>
                  <a:pt x="9526" y="4534"/>
                  <a:pt x="9507" y="4600"/>
                </a:cubicBezTo>
                <a:cubicBezTo>
                  <a:pt x="9489" y="4644"/>
                  <a:pt x="9470" y="4688"/>
                  <a:pt x="9451" y="4732"/>
                </a:cubicBezTo>
                <a:cubicBezTo>
                  <a:pt x="9432" y="4787"/>
                  <a:pt x="9414" y="4841"/>
                  <a:pt x="9395" y="4896"/>
                </a:cubicBezTo>
                <a:lnTo>
                  <a:pt x="9332" y="4995"/>
                </a:lnTo>
                <a:cubicBezTo>
                  <a:pt x="9307" y="5027"/>
                  <a:pt x="9281" y="5060"/>
                  <a:pt x="9256" y="5093"/>
                </a:cubicBezTo>
                <a:cubicBezTo>
                  <a:pt x="9234" y="5126"/>
                  <a:pt x="9211" y="5158"/>
                  <a:pt x="9188" y="5191"/>
                </a:cubicBezTo>
                <a:lnTo>
                  <a:pt x="9107" y="5224"/>
                </a:lnTo>
                <a:lnTo>
                  <a:pt x="9107" y="5224"/>
                </a:lnTo>
                <a:lnTo>
                  <a:pt x="2" y="9404"/>
                </a:lnTo>
                <a:cubicBezTo>
                  <a:pt x="-1" y="9602"/>
                  <a:pt x="2" y="9801"/>
                  <a:pt x="0" y="10000"/>
                </a:cubicBezTo>
                <a:lnTo>
                  <a:pt x="9996" y="9989"/>
                </a:lnTo>
                <a:close/>
              </a:path>
            </a:pathLst>
          </a:custGeom>
          <a:solidFill>
            <a:schemeClr val="accent6"/>
          </a:solidFill>
          <a:ln>
            <a:noFill/>
          </a:ln>
        </p:spPr>
        <p:txBody>
          <a:bodyPr vert="horz" wrap="square" lIns="133428" tIns="66715" rIns="133428" bIns="66715" numCol="1" anchor="t" anchorCtr="0" compatLnSpc="1">
            <a:prstTxWarp prst="textNoShape">
              <a:avLst/>
            </a:prstTxWarp>
          </a:bodyPr>
          <a:lstStyle/>
          <a:p>
            <a:endParaRPr lang="ja-JP" altLang="en-US" sz="2533"/>
          </a:p>
        </p:txBody>
      </p:sp>
      <p:sp>
        <p:nvSpPr>
          <p:cNvPr id="2" name="タイトル 1"/>
          <p:cNvSpPr>
            <a:spLocks noGrp="1"/>
          </p:cNvSpPr>
          <p:nvPr>
            <p:ph type="title"/>
          </p:nvPr>
        </p:nvSpPr>
        <p:spPr>
          <a:xfrm>
            <a:off x="368550" y="1959102"/>
            <a:ext cx="11451591" cy="540000"/>
          </a:xfrm>
          <a:prstGeom prst="rect">
            <a:avLst/>
          </a:prstGeom>
        </p:spPr>
        <p:txBody>
          <a:bodyPr lIns="95767" tIns="47884" rIns="95767" bIns="47884"/>
          <a:lstStyle>
            <a:lvl1pPr>
              <a:defRPr>
                <a:latin typeface="Meiryo UI" panose="020B0604030504040204" pitchFamily="50" charset="-128"/>
                <a:ea typeface="Meiryo UI" panose="020B0604030504040204" pitchFamily="50" charset="-128"/>
              </a:defRPr>
            </a:lvl1pPr>
          </a:lstStyle>
          <a:p>
            <a:r>
              <a:rPr kumimoji="1" lang="ja-JP" altLang="en-US"/>
              <a:t>マスター タイトルの書式設定</a:t>
            </a:r>
          </a:p>
        </p:txBody>
      </p:sp>
      <p:sp>
        <p:nvSpPr>
          <p:cNvPr id="6" name="スライド番号プレースホルダー 5"/>
          <p:cNvSpPr>
            <a:spLocks noGrp="1"/>
          </p:cNvSpPr>
          <p:nvPr>
            <p:ph type="sldNum" sz="quarter" idx="12"/>
          </p:nvPr>
        </p:nvSpPr>
        <p:spPr>
          <a:xfrm>
            <a:off x="11524630" y="6468878"/>
            <a:ext cx="555811" cy="289299"/>
          </a:xfrm>
          <a:prstGeom prst="rect">
            <a:avLst/>
          </a:prstGeom>
        </p:spPr>
        <p:txBody>
          <a:bodyPr lIns="95767" tIns="47884" rIns="95767" bIns="47884"/>
          <a:lstStyle>
            <a:lvl1pPr>
              <a:defRPr sz="1333"/>
            </a:lvl1pPr>
          </a:lstStyle>
          <a:p>
            <a:fld id="{2FF5E1DE-7B95-8A44-8552-65323269AE41}" type="slidenum">
              <a:rPr lang="ja-JP" altLang="en-US" smtClean="0"/>
              <a:pPr/>
              <a:t>‹#›</a:t>
            </a:fld>
            <a:endParaRPr lang="ja-JP" altLang="en-US"/>
          </a:p>
        </p:txBody>
      </p:sp>
      <p:pic>
        <p:nvPicPr>
          <p:cNvPr id="7" name="Picture 2" descr="C:\Users\00057835\AppData\Local\Temp\notesEA5B2A\グループ併記ロゴ（縦・英文）.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0756324" y="26652"/>
            <a:ext cx="1434080" cy="85801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5327986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title" preserve="1">
  <p:cSld name="6_タイトル スライド">
    <p:spTree>
      <p:nvGrpSpPr>
        <p:cNvPr id="1" name=""/>
        <p:cNvGrpSpPr/>
        <p:nvPr/>
      </p:nvGrpSpPr>
      <p:grpSpPr>
        <a:xfrm>
          <a:off x="0" y="0"/>
          <a:ext cx="0" cy="0"/>
          <a:chOff x="0" y="0"/>
          <a:chExt cx="0" cy="0"/>
        </a:xfrm>
      </p:grpSpPr>
      <p:sp>
        <p:nvSpPr>
          <p:cNvPr id="10" name="Freeform 5"/>
          <p:cNvSpPr>
            <a:spLocks/>
          </p:cNvSpPr>
          <p:nvPr userDrawn="1"/>
        </p:nvSpPr>
        <p:spPr bwMode="auto">
          <a:xfrm>
            <a:off x="233538" y="169337"/>
            <a:ext cx="11730712" cy="5207000"/>
          </a:xfrm>
          <a:custGeom>
            <a:avLst/>
            <a:gdLst>
              <a:gd name="T0" fmla="*/ 0 w 1618"/>
              <a:gd name="T1" fmla="*/ 0 h 957"/>
              <a:gd name="T2" fmla="*/ 0 w 1618"/>
              <a:gd name="T3" fmla="*/ 957 h 957"/>
              <a:gd name="T4" fmla="*/ 1279 w 1618"/>
              <a:gd name="T5" fmla="*/ 842 h 957"/>
              <a:gd name="T6" fmla="*/ 1618 w 1618"/>
              <a:gd name="T7" fmla="*/ 472 h 957"/>
              <a:gd name="T8" fmla="*/ 1618 w 1618"/>
              <a:gd name="T9" fmla="*/ 0 h 957"/>
              <a:gd name="T10" fmla="*/ 0 w 1618"/>
              <a:gd name="T11" fmla="*/ 0 h 957"/>
            </a:gdLst>
            <a:ahLst/>
            <a:cxnLst>
              <a:cxn ang="0">
                <a:pos x="T0" y="T1"/>
              </a:cxn>
              <a:cxn ang="0">
                <a:pos x="T2" y="T3"/>
              </a:cxn>
              <a:cxn ang="0">
                <a:pos x="T4" y="T5"/>
              </a:cxn>
              <a:cxn ang="0">
                <a:pos x="T6" y="T7"/>
              </a:cxn>
              <a:cxn ang="0">
                <a:pos x="T8" y="T9"/>
              </a:cxn>
              <a:cxn ang="0">
                <a:pos x="T10" y="T11"/>
              </a:cxn>
            </a:cxnLst>
            <a:rect l="0" t="0" r="r" b="b"/>
            <a:pathLst>
              <a:path w="1618" h="957">
                <a:moveTo>
                  <a:pt x="0" y="0"/>
                </a:moveTo>
                <a:cubicBezTo>
                  <a:pt x="0" y="957"/>
                  <a:pt x="0" y="957"/>
                  <a:pt x="0" y="957"/>
                </a:cubicBezTo>
                <a:cubicBezTo>
                  <a:pt x="1279" y="842"/>
                  <a:pt x="1279" y="842"/>
                  <a:pt x="1279" y="842"/>
                </a:cubicBezTo>
                <a:cubicBezTo>
                  <a:pt x="1465" y="825"/>
                  <a:pt x="1618" y="659"/>
                  <a:pt x="1618" y="472"/>
                </a:cubicBezTo>
                <a:cubicBezTo>
                  <a:pt x="1618" y="0"/>
                  <a:pt x="1618" y="0"/>
                  <a:pt x="1618" y="0"/>
                </a:cubicBezTo>
                <a:lnTo>
                  <a:pt x="0" y="0"/>
                </a:lnTo>
                <a:close/>
              </a:path>
            </a:pathLst>
          </a:custGeom>
          <a:solidFill>
            <a:schemeClr val="accent6"/>
          </a:solidFill>
          <a:ln>
            <a:noFill/>
          </a:ln>
        </p:spPr>
        <p:txBody>
          <a:bodyPr lIns="127667" tIns="63834" rIns="127667" bIns="63834"/>
          <a:lstStyle/>
          <a:p>
            <a:endParaRPr lang="ja-JP" altLang="en-US" sz="2533"/>
          </a:p>
        </p:txBody>
      </p:sp>
      <p:sp>
        <p:nvSpPr>
          <p:cNvPr id="2" name="タイトル 1"/>
          <p:cNvSpPr>
            <a:spLocks noGrp="1"/>
          </p:cNvSpPr>
          <p:nvPr>
            <p:ph type="ctrTitle"/>
          </p:nvPr>
        </p:nvSpPr>
        <p:spPr>
          <a:xfrm>
            <a:off x="914400" y="1416804"/>
            <a:ext cx="10363200" cy="1470025"/>
          </a:xfrm>
          <a:prstGeom prst="rect">
            <a:avLst/>
          </a:prstGeom>
        </p:spPr>
        <p:txBody>
          <a:bodyPr lIns="95767" tIns="47884" rIns="95767" bIns="47884" anchor="b">
            <a:normAutofit/>
          </a:bodyPr>
          <a:lstStyle>
            <a:lvl1pPr algn="l">
              <a:defRPr sz="5199" kern="1200">
                <a:solidFill>
                  <a:schemeClr val="tx1"/>
                </a:solidFill>
              </a:defRPr>
            </a:lvl1pPr>
          </a:lstStyle>
          <a:p>
            <a:r>
              <a:rPr kumimoji="1" lang="ja-JP" altLang="en-US"/>
              <a:t>マスター タイトルの書式設定</a:t>
            </a:r>
          </a:p>
        </p:txBody>
      </p:sp>
      <p:sp>
        <p:nvSpPr>
          <p:cNvPr id="3" name="サブタイトル 2"/>
          <p:cNvSpPr>
            <a:spLocks noGrp="1"/>
          </p:cNvSpPr>
          <p:nvPr>
            <p:ph type="subTitle" idx="1"/>
          </p:nvPr>
        </p:nvSpPr>
        <p:spPr>
          <a:xfrm>
            <a:off x="916801" y="3420000"/>
            <a:ext cx="9691436" cy="977153"/>
          </a:xfrm>
          <a:prstGeom prst="rect">
            <a:avLst/>
          </a:prstGeom>
        </p:spPr>
        <p:txBody>
          <a:bodyPr lIns="95767" tIns="47884" rIns="95767" bIns="47884">
            <a:normAutofit/>
          </a:bodyPr>
          <a:lstStyle>
            <a:lvl1pPr marL="0" indent="0" algn="l">
              <a:buNone/>
              <a:defRPr sz="3333">
                <a:solidFill>
                  <a:schemeClr val="tx1"/>
                </a:solidFill>
              </a:defRPr>
            </a:lvl1pPr>
            <a:lvl2pPr marL="638335" indent="0" algn="ctr">
              <a:buNone/>
              <a:defRPr>
                <a:solidFill>
                  <a:schemeClr val="tx1">
                    <a:tint val="75000"/>
                  </a:schemeClr>
                </a:solidFill>
              </a:defRPr>
            </a:lvl2pPr>
            <a:lvl3pPr marL="1276669" indent="0" algn="ctr">
              <a:buNone/>
              <a:defRPr>
                <a:solidFill>
                  <a:schemeClr val="tx1">
                    <a:tint val="75000"/>
                  </a:schemeClr>
                </a:solidFill>
              </a:defRPr>
            </a:lvl3pPr>
            <a:lvl4pPr marL="1915003" indent="0" algn="ctr">
              <a:buNone/>
              <a:defRPr>
                <a:solidFill>
                  <a:schemeClr val="tx1">
                    <a:tint val="75000"/>
                  </a:schemeClr>
                </a:solidFill>
              </a:defRPr>
            </a:lvl4pPr>
            <a:lvl5pPr marL="2553338" indent="0" algn="ctr">
              <a:buNone/>
              <a:defRPr>
                <a:solidFill>
                  <a:schemeClr val="tx1">
                    <a:tint val="75000"/>
                  </a:schemeClr>
                </a:solidFill>
              </a:defRPr>
            </a:lvl5pPr>
            <a:lvl6pPr marL="3191671" indent="0" algn="ctr">
              <a:buNone/>
              <a:defRPr>
                <a:solidFill>
                  <a:schemeClr val="tx1">
                    <a:tint val="75000"/>
                  </a:schemeClr>
                </a:solidFill>
              </a:defRPr>
            </a:lvl6pPr>
            <a:lvl7pPr marL="3830007" indent="0" algn="ctr">
              <a:buNone/>
              <a:defRPr>
                <a:solidFill>
                  <a:schemeClr val="tx1">
                    <a:tint val="75000"/>
                  </a:schemeClr>
                </a:solidFill>
              </a:defRPr>
            </a:lvl7pPr>
            <a:lvl8pPr marL="4468342" indent="0" algn="ctr">
              <a:buNone/>
              <a:defRPr>
                <a:solidFill>
                  <a:schemeClr val="tx1">
                    <a:tint val="75000"/>
                  </a:schemeClr>
                </a:solidFill>
              </a:defRPr>
            </a:lvl8pPr>
            <a:lvl9pPr marL="5106676" indent="0" algn="ctr">
              <a:buNone/>
              <a:defRPr>
                <a:solidFill>
                  <a:schemeClr val="tx1">
                    <a:tint val="75000"/>
                  </a:schemeClr>
                </a:solidFill>
              </a:defRPr>
            </a:lvl9pPr>
          </a:lstStyle>
          <a:p>
            <a:r>
              <a:rPr kumimoji="1" lang="ja-JP" altLang="en-US"/>
              <a:t>マスター サブタイトルの書式設定</a:t>
            </a:r>
          </a:p>
        </p:txBody>
      </p:sp>
      <p:sp>
        <p:nvSpPr>
          <p:cNvPr id="16" name="日付プレースホルダー 11"/>
          <p:cNvSpPr>
            <a:spLocks noGrp="1"/>
          </p:cNvSpPr>
          <p:nvPr>
            <p:ph type="dt" sz="half" idx="10"/>
          </p:nvPr>
        </p:nvSpPr>
        <p:spPr>
          <a:xfrm>
            <a:off x="609600" y="5691768"/>
            <a:ext cx="3860800" cy="365125"/>
          </a:xfrm>
          <a:prstGeom prst="rect">
            <a:avLst/>
          </a:prstGeom>
        </p:spPr>
        <p:txBody>
          <a:bodyPr lIns="95767" tIns="47884" rIns="95767" bIns="47884"/>
          <a:lstStyle>
            <a:lvl1pPr algn="l">
              <a:defRPr sz="2266">
                <a:solidFill>
                  <a:srgbClr val="000000"/>
                </a:solidFill>
              </a:defRPr>
            </a:lvl1pPr>
          </a:lstStyle>
          <a:p>
            <a:endParaRPr lang="ja-JP" altLang="en-US"/>
          </a:p>
        </p:txBody>
      </p:sp>
      <p:sp>
        <p:nvSpPr>
          <p:cNvPr id="8" name="フッター プレースホルダー 12"/>
          <p:cNvSpPr>
            <a:spLocks noGrp="1"/>
          </p:cNvSpPr>
          <p:nvPr>
            <p:ph type="ftr" sz="quarter" idx="11"/>
          </p:nvPr>
        </p:nvSpPr>
        <p:spPr>
          <a:xfrm>
            <a:off x="609600" y="6099529"/>
            <a:ext cx="6668998" cy="365125"/>
          </a:xfrm>
          <a:prstGeom prst="rect">
            <a:avLst/>
          </a:prstGeom>
        </p:spPr>
        <p:txBody>
          <a:bodyPr lIns="95767" tIns="47884" rIns="95767" bIns="47884"/>
          <a:lstStyle>
            <a:lvl1pPr algn="l">
              <a:defRPr sz="2266"/>
            </a:lvl1pPr>
          </a:lstStyle>
          <a:p>
            <a:endParaRPr lang="ja-JP" altLang="en-US"/>
          </a:p>
        </p:txBody>
      </p:sp>
      <p:pic>
        <p:nvPicPr>
          <p:cNvPr id="11" name="Picture 2" descr="K:\新ロゴ（データ一式）\DLH_3_EN.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0521597" y="5335811"/>
            <a:ext cx="1644525" cy="152167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67084990"/>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type="obj" preserve="1">
  <p:cSld name="14_タイトルとコンテンツ">
    <p:spTree>
      <p:nvGrpSpPr>
        <p:cNvPr id="1" name=""/>
        <p:cNvGrpSpPr/>
        <p:nvPr/>
      </p:nvGrpSpPr>
      <p:grpSpPr>
        <a:xfrm>
          <a:off x="0" y="0"/>
          <a:ext cx="0" cy="0"/>
          <a:chOff x="0" y="0"/>
          <a:chExt cx="0" cy="0"/>
        </a:xfrm>
      </p:grpSpPr>
      <p:sp>
        <p:nvSpPr>
          <p:cNvPr id="9" name="Freeform 8"/>
          <p:cNvSpPr>
            <a:spLocks/>
          </p:cNvSpPr>
          <p:nvPr userDrawn="1"/>
        </p:nvSpPr>
        <p:spPr bwMode="auto">
          <a:xfrm>
            <a:off x="-2100" y="5505984"/>
            <a:ext cx="12192504" cy="1353504"/>
          </a:xfrm>
          <a:custGeom>
            <a:avLst/>
            <a:gdLst>
              <a:gd name="T0" fmla="*/ 3622 w 3622"/>
              <a:gd name="T1" fmla="*/ 608 h 608"/>
              <a:gd name="T2" fmla="*/ 3622 w 3622"/>
              <a:gd name="T3" fmla="*/ 0 h 608"/>
              <a:gd name="T4" fmla="*/ 3622 w 3622"/>
              <a:gd name="T5" fmla="*/ 0 h 608"/>
              <a:gd name="T6" fmla="*/ 3622 w 3622"/>
              <a:gd name="T7" fmla="*/ 14 h 608"/>
              <a:gd name="T8" fmla="*/ 3616 w 3622"/>
              <a:gd name="T9" fmla="*/ 46 h 608"/>
              <a:gd name="T10" fmla="*/ 3612 w 3622"/>
              <a:gd name="T11" fmla="*/ 68 h 608"/>
              <a:gd name="T12" fmla="*/ 3604 w 3622"/>
              <a:gd name="T13" fmla="*/ 94 h 608"/>
              <a:gd name="T14" fmla="*/ 3596 w 3622"/>
              <a:gd name="T15" fmla="*/ 122 h 608"/>
              <a:gd name="T16" fmla="*/ 3584 w 3622"/>
              <a:gd name="T17" fmla="*/ 150 h 608"/>
              <a:gd name="T18" fmla="*/ 3568 w 3622"/>
              <a:gd name="T19" fmla="*/ 178 h 608"/>
              <a:gd name="T20" fmla="*/ 3550 w 3622"/>
              <a:gd name="T21" fmla="*/ 206 h 608"/>
              <a:gd name="T22" fmla="*/ 3526 w 3622"/>
              <a:gd name="T23" fmla="*/ 232 h 608"/>
              <a:gd name="T24" fmla="*/ 3514 w 3622"/>
              <a:gd name="T25" fmla="*/ 246 h 608"/>
              <a:gd name="T26" fmla="*/ 3498 w 3622"/>
              <a:gd name="T27" fmla="*/ 258 h 608"/>
              <a:gd name="T28" fmla="*/ 3484 w 3622"/>
              <a:gd name="T29" fmla="*/ 268 h 608"/>
              <a:gd name="T30" fmla="*/ 3466 w 3622"/>
              <a:gd name="T31" fmla="*/ 280 h 608"/>
              <a:gd name="T32" fmla="*/ 3448 w 3622"/>
              <a:gd name="T33" fmla="*/ 288 h 608"/>
              <a:gd name="T34" fmla="*/ 3430 w 3622"/>
              <a:gd name="T35" fmla="*/ 298 h 608"/>
              <a:gd name="T36" fmla="*/ 3410 w 3622"/>
              <a:gd name="T37" fmla="*/ 304 h 608"/>
              <a:gd name="T38" fmla="*/ 3386 w 3622"/>
              <a:gd name="T39" fmla="*/ 310 h 608"/>
              <a:gd name="T40" fmla="*/ 3364 w 3622"/>
              <a:gd name="T41" fmla="*/ 316 h 608"/>
              <a:gd name="T42" fmla="*/ 3338 w 3622"/>
              <a:gd name="T43" fmla="*/ 318 h 608"/>
              <a:gd name="T44" fmla="*/ 3338 w 3622"/>
              <a:gd name="T45" fmla="*/ 318 h 608"/>
              <a:gd name="T46" fmla="*/ 0 w 3622"/>
              <a:gd name="T47" fmla="*/ 608 h 608"/>
              <a:gd name="T48" fmla="*/ 3622 w 3622"/>
              <a:gd name="T49" fmla="*/ 608 h 608"/>
              <a:gd name="connsiteX0" fmla="*/ 10000 w 10000"/>
              <a:gd name="connsiteY0" fmla="*/ 10000 h 10000"/>
              <a:gd name="connsiteX1" fmla="*/ 10000 w 10000"/>
              <a:gd name="connsiteY1" fmla="*/ 0 h 10000"/>
              <a:gd name="connsiteX2" fmla="*/ 10000 w 10000"/>
              <a:gd name="connsiteY2" fmla="*/ 0 h 10000"/>
              <a:gd name="connsiteX3" fmla="*/ 10000 w 10000"/>
              <a:gd name="connsiteY3" fmla="*/ 230 h 10000"/>
              <a:gd name="connsiteX4" fmla="*/ 9983 w 10000"/>
              <a:gd name="connsiteY4" fmla="*/ 757 h 10000"/>
              <a:gd name="connsiteX5" fmla="*/ 9972 w 10000"/>
              <a:gd name="connsiteY5" fmla="*/ 1118 h 10000"/>
              <a:gd name="connsiteX6" fmla="*/ 9950 w 10000"/>
              <a:gd name="connsiteY6" fmla="*/ 1546 h 10000"/>
              <a:gd name="connsiteX7" fmla="*/ 9928 w 10000"/>
              <a:gd name="connsiteY7" fmla="*/ 2007 h 10000"/>
              <a:gd name="connsiteX8" fmla="*/ 9895 w 10000"/>
              <a:gd name="connsiteY8" fmla="*/ 2467 h 10000"/>
              <a:gd name="connsiteX9" fmla="*/ 9851 w 10000"/>
              <a:gd name="connsiteY9" fmla="*/ 2928 h 10000"/>
              <a:gd name="connsiteX10" fmla="*/ 9801 w 10000"/>
              <a:gd name="connsiteY10" fmla="*/ 3388 h 10000"/>
              <a:gd name="connsiteX11" fmla="*/ 9735 w 10000"/>
              <a:gd name="connsiteY11" fmla="*/ 3816 h 10000"/>
              <a:gd name="connsiteX12" fmla="*/ 9702 w 10000"/>
              <a:gd name="connsiteY12" fmla="*/ 4046 h 10000"/>
              <a:gd name="connsiteX13" fmla="*/ 9658 w 10000"/>
              <a:gd name="connsiteY13" fmla="*/ 4243 h 10000"/>
              <a:gd name="connsiteX14" fmla="*/ 9619 w 10000"/>
              <a:gd name="connsiteY14" fmla="*/ 4408 h 10000"/>
              <a:gd name="connsiteX15" fmla="*/ 9569 w 10000"/>
              <a:gd name="connsiteY15" fmla="*/ 4605 h 10000"/>
              <a:gd name="connsiteX16" fmla="*/ 9520 w 10000"/>
              <a:gd name="connsiteY16" fmla="*/ 4737 h 10000"/>
              <a:gd name="connsiteX17" fmla="*/ 9470 w 10000"/>
              <a:gd name="connsiteY17" fmla="*/ 4901 h 10000"/>
              <a:gd name="connsiteX18" fmla="*/ 9415 w 10000"/>
              <a:gd name="connsiteY18" fmla="*/ 5000 h 10000"/>
              <a:gd name="connsiteX19" fmla="*/ 9348 w 10000"/>
              <a:gd name="connsiteY19" fmla="*/ 5099 h 10000"/>
              <a:gd name="connsiteX20" fmla="*/ 9288 w 10000"/>
              <a:gd name="connsiteY20" fmla="*/ 5197 h 10000"/>
              <a:gd name="connsiteX21" fmla="*/ 9216 w 10000"/>
              <a:gd name="connsiteY21" fmla="*/ 5230 h 10000"/>
              <a:gd name="connsiteX22" fmla="*/ 9216 w 10000"/>
              <a:gd name="connsiteY22" fmla="*/ 5230 h 10000"/>
              <a:gd name="connsiteX23" fmla="*/ 1190 w 10000"/>
              <a:gd name="connsiteY23" fmla="*/ 9414 h 10000"/>
              <a:gd name="connsiteX24" fmla="*/ 0 w 10000"/>
              <a:gd name="connsiteY24" fmla="*/ 10000 h 10000"/>
              <a:gd name="connsiteX25" fmla="*/ 10000 w 10000"/>
              <a:gd name="connsiteY25" fmla="*/ 10000 h 10000"/>
              <a:gd name="connsiteX0" fmla="*/ 10000 w 10000"/>
              <a:gd name="connsiteY0" fmla="*/ 10000 h 10011"/>
              <a:gd name="connsiteX1" fmla="*/ 10000 w 10000"/>
              <a:gd name="connsiteY1" fmla="*/ 0 h 10011"/>
              <a:gd name="connsiteX2" fmla="*/ 10000 w 10000"/>
              <a:gd name="connsiteY2" fmla="*/ 0 h 10011"/>
              <a:gd name="connsiteX3" fmla="*/ 10000 w 10000"/>
              <a:gd name="connsiteY3" fmla="*/ 230 h 10011"/>
              <a:gd name="connsiteX4" fmla="*/ 9983 w 10000"/>
              <a:gd name="connsiteY4" fmla="*/ 757 h 10011"/>
              <a:gd name="connsiteX5" fmla="*/ 9972 w 10000"/>
              <a:gd name="connsiteY5" fmla="*/ 1118 h 10011"/>
              <a:gd name="connsiteX6" fmla="*/ 9950 w 10000"/>
              <a:gd name="connsiteY6" fmla="*/ 1546 h 10011"/>
              <a:gd name="connsiteX7" fmla="*/ 9928 w 10000"/>
              <a:gd name="connsiteY7" fmla="*/ 2007 h 10011"/>
              <a:gd name="connsiteX8" fmla="*/ 9895 w 10000"/>
              <a:gd name="connsiteY8" fmla="*/ 2467 h 10011"/>
              <a:gd name="connsiteX9" fmla="*/ 9851 w 10000"/>
              <a:gd name="connsiteY9" fmla="*/ 2928 h 10011"/>
              <a:gd name="connsiteX10" fmla="*/ 9801 w 10000"/>
              <a:gd name="connsiteY10" fmla="*/ 3388 h 10011"/>
              <a:gd name="connsiteX11" fmla="*/ 9735 w 10000"/>
              <a:gd name="connsiteY11" fmla="*/ 3816 h 10011"/>
              <a:gd name="connsiteX12" fmla="*/ 9702 w 10000"/>
              <a:gd name="connsiteY12" fmla="*/ 4046 h 10011"/>
              <a:gd name="connsiteX13" fmla="*/ 9658 w 10000"/>
              <a:gd name="connsiteY13" fmla="*/ 4243 h 10011"/>
              <a:gd name="connsiteX14" fmla="*/ 9619 w 10000"/>
              <a:gd name="connsiteY14" fmla="*/ 4408 h 10011"/>
              <a:gd name="connsiteX15" fmla="*/ 9569 w 10000"/>
              <a:gd name="connsiteY15" fmla="*/ 4605 h 10011"/>
              <a:gd name="connsiteX16" fmla="*/ 9520 w 10000"/>
              <a:gd name="connsiteY16" fmla="*/ 4737 h 10011"/>
              <a:gd name="connsiteX17" fmla="*/ 9470 w 10000"/>
              <a:gd name="connsiteY17" fmla="*/ 4901 h 10011"/>
              <a:gd name="connsiteX18" fmla="*/ 9415 w 10000"/>
              <a:gd name="connsiteY18" fmla="*/ 5000 h 10011"/>
              <a:gd name="connsiteX19" fmla="*/ 9348 w 10000"/>
              <a:gd name="connsiteY19" fmla="*/ 5099 h 10011"/>
              <a:gd name="connsiteX20" fmla="*/ 9288 w 10000"/>
              <a:gd name="connsiteY20" fmla="*/ 5197 h 10011"/>
              <a:gd name="connsiteX21" fmla="*/ 9216 w 10000"/>
              <a:gd name="connsiteY21" fmla="*/ 5230 h 10011"/>
              <a:gd name="connsiteX22" fmla="*/ 9216 w 10000"/>
              <a:gd name="connsiteY22" fmla="*/ 5230 h 10011"/>
              <a:gd name="connsiteX23" fmla="*/ 1190 w 10000"/>
              <a:gd name="connsiteY23" fmla="*/ 9414 h 10011"/>
              <a:gd name="connsiteX24" fmla="*/ 0 w 10000"/>
              <a:gd name="connsiteY24" fmla="*/ 10000 h 10011"/>
              <a:gd name="connsiteX25" fmla="*/ 1185 w 10000"/>
              <a:gd name="connsiteY25" fmla="*/ 10011 h 10011"/>
              <a:gd name="connsiteX26" fmla="*/ 10000 w 10000"/>
              <a:gd name="connsiteY26" fmla="*/ 10000 h 10011"/>
              <a:gd name="connsiteX0" fmla="*/ 8815 w 8815"/>
              <a:gd name="connsiteY0" fmla="*/ 10000 h 10011"/>
              <a:gd name="connsiteX1" fmla="*/ 8815 w 8815"/>
              <a:gd name="connsiteY1" fmla="*/ 0 h 10011"/>
              <a:gd name="connsiteX2" fmla="*/ 8815 w 8815"/>
              <a:gd name="connsiteY2" fmla="*/ 0 h 10011"/>
              <a:gd name="connsiteX3" fmla="*/ 8815 w 8815"/>
              <a:gd name="connsiteY3" fmla="*/ 230 h 10011"/>
              <a:gd name="connsiteX4" fmla="*/ 8798 w 8815"/>
              <a:gd name="connsiteY4" fmla="*/ 757 h 10011"/>
              <a:gd name="connsiteX5" fmla="*/ 8787 w 8815"/>
              <a:gd name="connsiteY5" fmla="*/ 1118 h 10011"/>
              <a:gd name="connsiteX6" fmla="*/ 8765 w 8815"/>
              <a:gd name="connsiteY6" fmla="*/ 1546 h 10011"/>
              <a:gd name="connsiteX7" fmla="*/ 8743 w 8815"/>
              <a:gd name="connsiteY7" fmla="*/ 2007 h 10011"/>
              <a:gd name="connsiteX8" fmla="*/ 8710 w 8815"/>
              <a:gd name="connsiteY8" fmla="*/ 2467 h 10011"/>
              <a:gd name="connsiteX9" fmla="*/ 8666 w 8815"/>
              <a:gd name="connsiteY9" fmla="*/ 2928 h 10011"/>
              <a:gd name="connsiteX10" fmla="*/ 8616 w 8815"/>
              <a:gd name="connsiteY10" fmla="*/ 3388 h 10011"/>
              <a:gd name="connsiteX11" fmla="*/ 8550 w 8815"/>
              <a:gd name="connsiteY11" fmla="*/ 3816 h 10011"/>
              <a:gd name="connsiteX12" fmla="*/ 8517 w 8815"/>
              <a:gd name="connsiteY12" fmla="*/ 4046 h 10011"/>
              <a:gd name="connsiteX13" fmla="*/ 8473 w 8815"/>
              <a:gd name="connsiteY13" fmla="*/ 4243 h 10011"/>
              <a:gd name="connsiteX14" fmla="*/ 8434 w 8815"/>
              <a:gd name="connsiteY14" fmla="*/ 4408 h 10011"/>
              <a:gd name="connsiteX15" fmla="*/ 8384 w 8815"/>
              <a:gd name="connsiteY15" fmla="*/ 4605 h 10011"/>
              <a:gd name="connsiteX16" fmla="*/ 8335 w 8815"/>
              <a:gd name="connsiteY16" fmla="*/ 4737 h 10011"/>
              <a:gd name="connsiteX17" fmla="*/ 8285 w 8815"/>
              <a:gd name="connsiteY17" fmla="*/ 4901 h 10011"/>
              <a:gd name="connsiteX18" fmla="*/ 8230 w 8815"/>
              <a:gd name="connsiteY18" fmla="*/ 5000 h 10011"/>
              <a:gd name="connsiteX19" fmla="*/ 8163 w 8815"/>
              <a:gd name="connsiteY19" fmla="*/ 5099 h 10011"/>
              <a:gd name="connsiteX20" fmla="*/ 8103 w 8815"/>
              <a:gd name="connsiteY20" fmla="*/ 5197 h 10011"/>
              <a:gd name="connsiteX21" fmla="*/ 8031 w 8815"/>
              <a:gd name="connsiteY21" fmla="*/ 5230 h 10011"/>
              <a:gd name="connsiteX22" fmla="*/ 8031 w 8815"/>
              <a:gd name="connsiteY22" fmla="*/ 5230 h 10011"/>
              <a:gd name="connsiteX23" fmla="*/ 5 w 8815"/>
              <a:gd name="connsiteY23" fmla="*/ 9414 h 10011"/>
              <a:gd name="connsiteX24" fmla="*/ 0 w 8815"/>
              <a:gd name="connsiteY24" fmla="*/ 10011 h 10011"/>
              <a:gd name="connsiteX25" fmla="*/ 8815 w 8815"/>
              <a:gd name="connsiteY25" fmla="*/ 10000 h 10011"/>
              <a:gd name="connsiteX0" fmla="*/ 9996 w 9996"/>
              <a:gd name="connsiteY0" fmla="*/ 9989 h 10000"/>
              <a:gd name="connsiteX1" fmla="*/ 9996 w 9996"/>
              <a:gd name="connsiteY1" fmla="*/ 0 h 10000"/>
              <a:gd name="connsiteX2" fmla="*/ 9996 w 9996"/>
              <a:gd name="connsiteY2" fmla="*/ 0 h 10000"/>
              <a:gd name="connsiteX3" fmla="*/ 9996 w 9996"/>
              <a:gd name="connsiteY3" fmla="*/ 230 h 10000"/>
              <a:gd name="connsiteX4" fmla="*/ 9977 w 9996"/>
              <a:gd name="connsiteY4" fmla="*/ 756 h 10000"/>
              <a:gd name="connsiteX5" fmla="*/ 9964 w 9996"/>
              <a:gd name="connsiteY5" fmla="*/ 1117 h 10000"/>
              <a:gd name="connsiteX6" fmla="*/ 9939 w 9996"/>
              <a:gd name="connsiteY6" fmla="*/ 1544 h 10000"/>
              <a:gd name="connsiteX7" fmla="*/ 9914 w 9996"/>
              <a:gd name="connsiteY7" fmla="*/ 2005 h 10000"/>
              <a:gd name="connsiteX8" fmla="*/ 9877 w 9996"/>
              <a:gd name="connsiteY8" fmla="*/ 2464 h 10000"/>
              <a:gd name="connsiteX9" fmla="*/ 9827 w 9996"/>
              <a:gd name="connsiteY9" fmla="*/ 2925 h 10000"/>
              <a:gd name="connsiteX10" fmla="*/ 9770 w 9996"/>
              <a:gd name="connsiteY10" fmla="*/ 3384 h 10000"/>
              <a:gd name="connsiteX11" fmla="*/ 9695 w 9996"/>
              <a:gd name="connsiteY11" fmla="*/ 3812 h 10000"/>
              <a:gd name="connsiteX12" fmla="*/ 9658 w 9996"/>
              <a:gd name="connsiteY12" fmla="*/ 4042 h 10000"/>
              <a:gd name="connsiteX13" fmla="*/ 9608 w 9996"/>
              <a:gd name="connsiteY13" fmla="*/ 4238 h 10000"/>
              <a:gd name="connsiteX14" fmla="*/ 9564 w 9996"/>
              <a:gd name="connsiteY14" fmla="*/ 4403 h 10000"/>
              <a:gd name="connsiteX15" fmla="*/ 9507 w 9996"/>
              <a:gd name="connsiteY15" fmla="*/ 4600 h 10000"/>
              <a:gd name="connsiteX16" fmla="*/ 9451 w 9996"/>
              <a:gd name="connsiteY16" fmla="*/ 4732 h 10000"/>
              <a:gd name="connsiteX17" fmla="*/ 9395 w 9996"/>
              <a:gd name="connsiteY17" fmla="*/ 4896 h 10000"/>
              <a:gd name="connsiteX18" fmla="*/ 9332 w 9996"/>
              <a:gd name="connsiteY18" fmla="*/ 4995 h 10000"/>
              <a:gd name="connsiteX19" fmla="*/ 9256 w 9996"/>
              <a:gd name="connsiteY19" fmla="*/ 5093 h 10000"/>
              <a:gd name="connsiteX20" fmla="*/ 9188 w 9996"/>
              <a:gd name="connsiteY20" fmla="*/ 5191 h 10000"/>
              <a:gd name="connsiteX21" fmla="*/ 9107 w 9996"/>
              <a:gd name="connsiteY21" fmla="*/ 5224 h 10000"/>
              <a:gd name="connsiteX22" fmla="*/ 9107 w 9996"/>
              <a:gd name="connsiteY22" fmla="*/ 5224 h 10000"/>
              <a:gd name="connsiteX23" fmla="*/ 2 w 9996"/>
              <a:gd name="connsiteY23" fmla="*/ 9404 h 10000"/>
              <a:gd name="connsiteX24" fmla="*/ 0 w 9996"/>
              <a:gd name="connsiteY24" fmla="*/ 10000 h 10000"/>
              <a:gd name="connsiteX25" fmla="*/ 9996 w 9996"/>
              <a:gd name="connsiteY25" fmla="*/ 9989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9996" h="10000">
                <a:moveTo>
                  <a:pt x="9996" y="9989"/>
                </a:moveTo>
                <a:lnTo>
                  <a:pt x="9996" y="0"/>
                </a:lnTo>
                <a:lnTo>
                  <a:pt x="9996" y="0"/>
                </a:lnTo>
                <a:lnTo>
                  <a:pt x="9996" y="230"/>
                </a:lnTo>
                <a:cubicBezTo>
                  <a:pt x="9989" y="406"/>
                  <a:pt x="9984" y="580"/>
                  <a:pt x="9977" y="756"/>
                </a:cubicBezTo>
                <a:cubicBezTo>
                  <a:pt x="9972" y="876"/>
                  <a:pt x="9969" y="997"/>
                  <a:pt x="9964" y="1117"/>
                </a:cubicBezTo>
                <a:cubicBezTo>
                  <a:pt x="9956" y="1260"/>
                  <a:pt x="9947" y="1401"/>
                  <a:pt x="9939" y="1544"/>
                </a:cubicBezTo>
                <a:cubicBezTo>
                  <a:pt x="9931" y="1698"/>
                  <a:pt x="9922" y="1851"/>
                  <a:pt x="9914" y="2005"/>
                </a:cubicBezTo>
                <a:cubicBezTo>
                  <a:pt x="9902" y="2158"/>
                  <a:pt x="9889" y="2311"/>
                  <a:pt x="9877" y="2464"/>
                </a:cubicBezTo>
                <a:cubicBezTo>
                  <a:pt x="9860" y="2618"/>
                  <a:pt x="9844" y="2771"/>
                  <a:pt x="9827" y="2925"/>
                </a:cubicBezTo>
                <a:cubicBezTo>
                  <a:pt x="9808" y="3078"/>
                  <a:pt x="9790" y="3231"/>
                  <a:pt x="9770" y="3384"/>
                </a:cubicBezTo>
                <a:cubicBezTo>
                  <a:pt x="9745" y="3527"/>
                  <a:pt x="9720" y="3669"/>
                  <a:pt x="9695" y="3812"/>
                </a:cubicBezTo>
                <a:cubicBezTo>
                  <a:pt x="9683" y="3889"/>
                  <a:pt x="9670" y="3965"/>
                  <a:pt x="9658" y="4042"/>
                </a:cubicBezTo>
                <a:cubicBezTo>
                  <a:pt x="9641" y="4107"/>
                  <a:pt x="9625" y="4172"/>
                  <a:pt x="9608" y="4238"/>
                </a:cubicBezTo>
                <a:cubicBezTo>
                  <a:pt x="9593" y="4293"/>
                  <a:pt x="9579" y="4348"/>
                  <a:pt x="9564" y="4403"/>
                </a:cubicBezTo>
                <a:cubicBezTo>
                  <a:pt x="9544" y="4469"/>
                  <a:pt x="9526" y="4534"/>
                  <a:pt x="9507" y="4600"/>
                </a:cubicBezTo>
                <a:cubicBezTo>
                  <a:pt x="9489" y="4644"/>
                  <a:pt x="9470" y="4688"/>
                  <a:pt x="9451" y="4732"/>
                </a:cubicBezTo>
                <a:cubicBezTo>
                  <a:pt x="9432" y="4787"/>
                  <a:pt x="9414" y="4841"/>
                  <a:pt x="9395" y="4896"/>
                </a:cubicBezTo>
                <a:lnTo>
                  <a:pt x="9332" y="4995"/>
                </a:lnTo>
                <a:cubicBezTo>
                  <a:pt x="9307" y="5027"/>
                  <a:pt x="9281" y="5060"/>
                  <a:pt x="9256" y="5093"/>
                </a:cubicBezTo>
                <a:cubicBezTo>
                  <a:pt x="9234" y="5126"/>
                  <a:pt x="9211" y="5158"/>
                  <a:pt x="9188" y="5191"/>
                </a:cubicBezTo>
                <a:lnTo>
                  <a:pt x="9107" y="5224"/>
                </a:lnTo>
                <a:lnTo>
                  <a:pt x="9107" y="5224"/>
                </a:lnTo>
                <a:lnTo>
                  <a:pt x="2" y="9404"/>
                </a:lnTo>
                <a:cubicBezTo>
                  <a:pt x="-1" y="9602"/>
                  <a:pt x="2" y="9801"/>
                  <a:pt x="0" y="10000"/>
                </a:cubicBezTo>
                <a:lnTo>
                  <a:pt x="9996" y="9989"/>
                </a:lnTo>
                <a:close/>
              </a:path>
            </a:pathLst>
          </a:custGeom>
          <a:solidFill>
            <a:schemeClr val="accent6"/>
          </a:solidFill>
          <a:ln>
            <a:noFill/>
          </a:ln>
        </p:spPr>
        <p:txBody>
          <a:bodyPr vert="horz" wrap="square" lIns="133428" tIns="66715" rIns="133428" bIns="66715" numCol="1" anchor="t" anchorCtr="0" compatLnSpc="1">
            <a:prstTxWarp prst="textNoShape">
              <a:avLst/>
            </a:prstTxWarp>
          </a:bodyPr>
          <a:lstStyle/>
          <a:p>
            <a:endParaRPr lang="ja-JP" altLang="en-US" sz="2533"/>
          </a:p>
        </p:txBody>
      </p:sp>
      <p:sp>
        <p:nvSpPr>
          <p:cNvPr id="2" name="タイトル 1"/>
          <p:cNvSpPr>
            <a:spLocks noGrp="1"/>
          </p:cNvSpPr>
          <p:nvPr>
            <p:ph type="title"/>
          </p:nvPr>
        </p:nvSpPr>
        <p:spPr>
          <a:xfrm>
            <a:off x="368549" y="194236"/>
            <a:ext cx="9791452" cy="540000"/>
          </a:xfrm>
          <a:prstGeom prst="rect">
            <a:avLst/>
          </a:prstGeom>
        </p:spPr>
        <p:txBody>
          <a:bodyPr lIns="95767" tIns="47884" rIns="95767" bIns="47884"/>
          <a:lstStyle>
            <a:lvl1pPr>
              <a:defRPr>
                <a:latin typeface="Meiryo UI" panose="020B0604030504040204" pitchFamily="50" charset="-128"/>
                <a:ea typeface="Meiryo UI" panose="020B0604030504040204" pitchFamily="50" charset="-128"/>
              </a:defRPr>
            </a:lvl1pPr>
          </a:lstStyle>
          <a:p>
            <a:r>
              <a:rPr kumimoji="1" lang="ja-JP" altLang="en-US"/>
              <a:t>マスター タイトルの書式設定</a:t>
            </a:r>
          </a:p>
        </p:txBody>
      </p:sp>
      <p:sp>
        <p:nvSpPr>
          <p:cNvPr id="3" name="コンテンツ プレースホルダー 2"/>
          <p:cNvSpPr>
            <a:spLocks noGrp="1"/>
          </p:cNvSpPr>
          <p:nvPr>
            <p:ph idx="1"/>
          </p:nvPr>
        </p:nvSpPr>
        <p:spPr>
          <a:xfrm>
            <a:off x="368551" y="903600"/>
            <a:ext cx="11583452" cy="5540400"/>
          </a:xfrm>
          <a:prstGeom prst="rect">
            <a:avLst/>
          </a:prstGeom>
        </p:spPr>
        <p:txBody>
          <a:bodyPr lIns="95767" tIns="47884" rIns="95767" bIns="47884"/>
          <a:lstStyle>
            <a:lvl1pPr>
              <a:defRPr>
                <a:latin typeface="Meiryo UI" panose="020B0604030504040204" pitchFamily="50" charset="-128"/>
                <a:ea typeface="Meiryo UI" panose="020B0604030504040204" pitchFamily="50" charset="-128"/>
              </a:defRPr>
            </a:lvl1pPr>
            <a:lvl2pPr indent="-236233">
              <a:defRPr>
                <a:latin typeface="Meiryo UI" panose="020B0604030504040204" pitchFamily="50" charset="-128"/>
                <a:ea typeface="Meiryo UI" panose="020B0604030504040204" pitchFamily="50" charset="-128"/>
              </a:defRPr>
            </a:lvl2pPr>
            <a:lvl3pPr indent="-236233">
              <a:defRPr>
                <a:latin typeface="Meiryo UI" panose="020B0604030504040204" pitchFamily="50" charset="-128"/>
                <a:ea typeface="Meiryo UI" panose="020B0604030504040204" pitchFamily="50" charset="-128"/>
              </a:defRPr>
            </a:lvl3pPr>
            <a:lvl4pPr indent="-236233">
              <a:defRPr>
                <a:latin typeface="Meiryo UI" panose="020B0604030504040204" pitchFamily="50" charset="-128"/>
                <a:ea typeface="Meiryo UI" panose="020B0604030504040204" pitchFamily="50" charset="-128"/>
              </a:defRPr>
            </a:lvl4pPr>
            <a:lvl5pPr indent="-236233">
              <a:defRPr>
                <a:latin typeface="Meiryo UI" panose="020B0604030504040204" pitchFamily="50" charset="-128"/>
                <a:ea typeface="Meiryo UI" panose="020B0604030504040204" pitchFamily="50" charset="-128"/>
              </a:defRPr>
            </a:lvl5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6" name="スライド番号プレースホルダー 5"/>
          <p:cNvSpPr>
            <a:spLocks noGrp="1"/>
          </p:cNvSpPr>
          <p:nvPr>
            <p:ph type="sldNum" sz="quarter" idx="12"/>
          </p:nvPr>
        </p:nvSpPr>
        <p:spPr>
          <a:xfrm>
            <a:off x="11524630" y="6468878"/>
            <a:ext cx="555811" cy="289299"/>
          </a:xfrm>
          <a:prstGeom prst="rect">
            <a:avLst/>
          </a:prstGeom>
        </p:spPr>
        <p:txBody>
          <a:bodyPr lIns="95767" tIns="47884" rIns="95767" bIns="47884"/>
          <a:lstStyle>
            <a:lvl1pPr>
              <a:defRPr sz="1333"/>
            </a:lvl1pPr>
          </a:lstStyle>
          <a:p>
            <a:fld id="{2FF5E1DE-7B95-8A44-8552-65323269AE41}" type="slidenum">
              <a:rPr lang="ja-JP" altLang="en-US" smtClean="0"/>
              <a:pPr/>
              <a:t>‹#›</a:t>
            </a:fld>
            <a:endParaRPr lang="ja-JP" altLang="en-US"/>
          </a:p>
        </p:txBody>
      </p:sp>
      <p:cxnSp>
        <p:nvCxnSpPr>
          <p:cNvPr id="8" name="直線コネクタ 7"/>
          <p:cNvCxnSpPr/>
          <p:nvPr userDrawn="1"/>
        </p:nvCxnSpPr>
        <p:spPr>
          <a:xfrm>
            <a:off x="239959" y="817200"/>
            <a:ext cx="11709966" cy="0"/>
          </a:xfrm>
          <a:prstGeom prst="line">
            <a:avLst/>
          </a:prstGeom>
          <a:ln>
            <a:solidFill>
              <a:srgbClr val="C7000D"/>
            </a:solidFill>
          </a:ln>
          <a:effectLst/>
        </p:spPr>
        <p:style>
          <a:lnRef idx="2">
            <a:schemeClr val="accent1"/>
          </a:lnRef>
          <a:fillRef idx="0">
            <a:schemeClr val="accent1"/>
          </a:fillRef>
          <a:effectRef idx="1">
            <a:schemeClr val="accent1"/>
          </a:effectRef>
          <a:fontRef idx="minor">
            <a:schemeClr val="tx1"/>
          </a:fontRef>
        </p:style>
      </p:cxnSp>
      <p:pic>
        <p:nvPicPr>
          <p:cNvPr id="10" name="Picture 2" descr="C:\Users\00057835\AppData\Local\Temp\notesEA5B2A\グループ併記ロゴ（縦・英文）.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0756324" y="26652"/>
            <a:ext cx="1434080" cy="85801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73830317"/>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type="title" preserve="1">
  <p:cSld name="4_タイトル スライド">
    <p:spTree>
      <p:nvGrpSpPr>
        <p:cNvPr id="1" name=""/>
        <p:cNvGrpSpPr/>
        <p:nvPr/>
      </p:nvGrpSpPr>
      <p:grpSpPr>
        <a:xfrm>
          <a:off x="0" y="0"/>
          <a:ext cx="0" cy="0"/>
          <a:chOff x="0" y="0"/>
          <a:chExt cx="0" cy="0"/>
        </a:xfrm>
      </p:grpSpPr>
      <p:sp>
        <p:nvSpPr>
          <p:cNvPr id="10" name="Freeform 5"/>
          <p:cNvSpPr>
            <a:spLocks/>
          </p:cNvSpPr>
          <p:nvPr userDrawn="1"/>
        </p:nvSpPr>
        <p:spPr bwMode="auto">
          <a:xfrm>
            <a:off x="233538" y="169337"/>
            <a:ext cx="11730712" cy="5207000"/>
          </a:xfrm>
          <a:custGeom>
            <a:avLst/>
            <a:gdLst>
              <a:gd name="T0" fmla="*/ 0 w 1618"/>
              <a:gd name="T1" fmla="*/ 0 h 957"/>
              <a:gd name="T2" fmla="*/ 0 w 1618"/>
              <a:gd name="T3" fmla="*/ 957 h 957"/>
              <a:gd name="T4" fmla="*/ 1279 w 1618"/>
              <a:gd name="T5" fmla="*/ 842 h 957"/>
              <a:gd name="T6" fmla="*/ 1618 w 1618"/>
              <a:gd name="T7" fmla="*/ 472 h 957"/>
              <a:gd name="T8" fmla="*/ 1618 w 1618"/>
              <a:gd name="T9" fmla="*/ 0 h 957"/>
              <a:gd name="T10" fmla="*/ 0 w 1618"/>
              <a:gd name="T11" fmla="*/ 0 h 957"/>
            </a:gdLst>
            <a:ahLst/>
            <a:cxnLst>
              <a:cxn ang="0">
                <a:pos x="T0" y="T1"/>
              </a:cxn>
              <a:cxn ang="0">
                <a:pos x="T2" y="T3"/>
              </a:cxn>
              <a:cxn ang="0">
                <a:pos x="T4" y="T5"/>
              </a:cxn>
              <a:cxn ang="0">
                <a:pos x="T6" y="T7"/>
              </a:cxn>
              <a:cxn ang="0">
                <a:pos x="T8" y="T9"/>
              </a:cxn>
              <a:cxn ang="0">
                <a:pos x="T10" y="T11"/>
              </a:cxn>
            </a:cxnLst>
            <a:rect l="0" t="0" r="r" b="b"/>
            <a:pathLst>
              <a:path w="1618" h="957">
                <a:moveTo>
                  <a:pt x="0" y="0"/>
                </a:moveTo>
                <a:cubicBezTo>
                  <a:pt x="0" y="957"/>
                  <a:pt x="0" y="957"/>
                  <a:pt x="0" y="957"/>
                </a:cubicBezTo>
                <a:cubicBezTo>
                  <a:pt x="1279" y="842"/>
                  <a:pt x="1279" y="842"/>
                  <a:pt x="1279" y="842"/>
                </a:cubicBezTo>
                <a:cubicBezTo>
                  <a:pt x="1465" y="825"/>
                  <a:pt x="1618" y="659"/>
                  <a:pt x="1618" y="472"/>
                </a:cubicBezTo>
                <a:cubicBezTo>
                  <a:pt x="1618" y="0"/>
                  <a:pt x="1618" y="0"/>
                  <a:pt x="1618" y="0"/>
                </a:cubicBezTo>
                <a:lnTo>
                  <a:pt x="0" y="0"/>
                </a:lnTo>
                <a:close/>
              </a:path>
            </a:pathLst>
          </a:custGeom>
          <a:solidFill>
            <a:schemeClr val="accent5"/>
          </a:solidFill>
          <a:ln>
            <a:noFill/>
          </a:ln>
        </p:spPr>
        <p:txBody>
          <a:bodyPr lIns="127667" tIns="63834" rIns="127667" bIns="63834"/>
          <a:lstStyle/>
          <a:p>
            <a:endParaRPr lang="ja-JP" altLang="en-US" sz="2533"/>
          </a:p>
        </p:txBody>
      </p:sp>
      <p:sp>
        <p:nvSpPr>
          <p:cNvPr id="2" name="タイトル 1"/>
          <p:cNvSpPr>
            <a:spLocks noGrp="1"/>
          </p:cNvSpPr>
          <p:nvPr>
            <p:ph type="ctrTitle"/>
          </p:nvPr>
        </p:nvSpPr>
        <p:spPr>
          <a:xfrm>
            <a:off x="914400" y="1416804"/>
            <a:ext cx="10363200" cy="1470025"/>
          </a:xfrm>
          <a:prstGeom prst="rect">
            <a:avLst/>
          </a:prstGeom>
        </p:spPr>
        <p:txBody>
          <a:bodyPr lIns="95767" tIns="47884" rIns="95767" bIns="47884" anchor="b">
            <a:normAutofit/>
          </a:bodyPr>
          <a:lstStyle>
            <a:lvl1pPr algn="l">
              <a:defRPr sz="5199" kern="1200">
                <a:solidFill>
                  <a:schemeClr val="tx1"/>
                </a:solidFill>
                <a:latin typeface="Meiryo UI" panose="020B0604030504040204" pitchFamily="50" charset="-128"/>
                <a:ea typeface="Meiryo UI" panose="020B0604030504040204" pitchFamily="50" charset="-128"/>
              </a:defRPr>
            </a:lvl1pPr>
          </a:lstStyle>
          <a:p>
            <a:r>
              <a:rPr kumimoji="1" lang="ja-JP" altLang="en-US"/>
              <a:t>マスター タイトルの書式設定</a:t>
            </a:r>
          </a:p>
        </p:txBody>
      </p:sp>
      <p:sp>
        <p:nvSpPr>
          <p:cNvPr id="3" name="サブタイトル 2"/>
          <p:cNvSpPr>
            <a:spLocks noGrp="1"/>
          </p:cNvSpPr>
          <p:nvPr>
            <p:ph type="subTitle" idx="1"/>
          </p:nvPr>
        </p:nvSpPr>
        <p:spPr>
          <a:xfrm>
            <a:off x="916801" y="3420000"/>
            <a:ext cx="9691436" cy="977153"/>
          </a:xfrm>
          <a:prstGeom prst="rect">
            <a:avLst/>
          </a:prstGeom>
        </p:spPr>
        <p:txBody>
          <a:bodyPr lIns="95767" tIns="47884" rIns="95767" bIns="47884">
            <a:normAutofit/>
          </a:bodyPr>
          <a:lstStyle>
            <a:lvl1pPr marL="0" indent="0" algn="l">
              <a:buNone/>
              <a:defRPr sz="3333">
                <a:solidFill>
                  <a:schemeClr val="tx1"/>
                </a:solidFill>
                <a:latin typeface="Meiryo UI" panose="020B0604030504040204" pitchFamily="50" charset="-128"/>
                <a:ea typeface="Meiryo UI" panose="020B0604030504040204" pitchFamily="50" charset="-128"/>
              </a:defRPr>
            </a:lvl1pPr>
            <a:lvl2pPr marL="638335" indent="0" algn="ctr">
              <a:buNone/>
              <a:defRPr>
                <a:solidFill>
                  <a:schemeClr val="tx1">
                    <a:tint val="75000"/>
                  </a:schemeClr>
                </a:solidFill>
              </a:defRPr>
            </a:lvl2pPr>
            <a:lvl3pPr marL="1276669" indent="0" algn="ctr">
              <a:buNone/>
              <a:defRPr>
                <a:solidFill>
                  <a:schemeClr val="tx1">
                    <a:tint val="75000"/>
                  </a:schemeClr>
                </a:solidFill>
              </a:defRPr>
            </a:lvl3pPr>
            <a:lvl4pPr marL="1915003" indent="0" algn="ctr">
              <a:buNone/>
              <a:defRPr>
                <a:solidFill>
                  <a:schemeClr val="tx1">
                    <a:tint val="75000"/>
                  </a:schemeClr>
                </a:solidFill>
              </a:defRPr>
            </a:lvl4pPr>
            <a:lvl5pPr marL="2553338" indent="0" algn="ctr">
              <a:buNone/>
              <a:defRPr>
                <a:solidFill>
                  <a:schemeClr val="tx1">
                    <a:tint val="75000"/>
                  </a:schemeClr>
                </a:solidFill>
              </a:defRPr>
            </a:lvl5pPr>
            <a:lvl6pPr marL="3191671" indent="0" algn="ctr">
              <a:buNone/>
              <a:defRPr>
                <a:solidFill>
                  <a:schemeClr val="tx1">
                    <a:tint val="75000"/>
                  </a:schemeClr>
                </a:solidFill>
              </a:defRPr>
            </a:lvl6pPr>
            <a:lvl7pPr marL="3830007" indent="0" algn="ctr">
              <a:buNone/>
              <a:defRPr>
                <a:solidFill>
                  <a:schemeClr val="tx1">
                    <a:tint val="75000"/>
                  </a:schemeClr>
                </a:solidFill>
              </a:defRPr>
            </a:lvl7pPr>
            <a:lvl8pPr marL="4468342" indent="0" algn="ctr">
              <a:buNone/>
              <a:defRPr>
                <a:solidFill>
                  <a:schemeClr val="tx1">
                    <a:tint val="75000"/>
                  </a:schemeClr>
                </a:solidFill>
              </a:defRPr>
            </a:lvl8pPr>
            <a:lvl9pPr marL="5106676" indent="0" algn="ctr">
              <a:buNone/>
              <a:defRPr>
                <a:solidFill>
                  <a:schemeClr val="tx1">
                    <a:tint val="75000"/>
                  </a:schemeClr>
                </a:solidFill>
              </a:defRPr>
            </a:lvl9pPr>
          </a:lstStyle>
          <a:p>
            <a:r>
              <a:rPr kumimoji="1" lang="ja-JP" altLang="en-US"/>
              <a:t>マスター サブタイトルの書式設定</a:t>
            </a:r>
          </a:p>
        </p:txBody>
      </p:sp>
      <p:sp>
        <p:nvSpPr>
          <p:cNvPr id="8" name="フッター プレースホルダー 12"/>
          <p:cNvSpPr>
            <a:spLocks noGrp="1"/>
          </p:cNvSpPr>
          <p:nvPr>
            <p:ph type="ftr" sz="quarter" idx="11"/>
          </p:nvPr>
        </p:nvSpPr>
        <p:spPr>
          <a:xfrm>
            <a:off x="609600" y="6099529"/>
            <a:ext cx="3860800" cy="365125"/>
          </a:xfrm>
          <a:prstGeom prst="rect">
            <a:avLst/>
          </a:prstGeom>
        </p:spPr>
        <p:txBody>
          <a:bodyPr lIns="95767" tIns="47884" rIns="95767" bIns="47884"/>
          <a:lstStyle>
            <a:lvl1pPr algn="l">
              <a:defRPr sz="2266">
                <a:latin typeface="Meiryo UI" panose="020B0604030504040204" pitchFamily="50" charset="-128"/>
                <a:ea typeface="Meiryo UI" panose="020B0604030504040204" pitchFamily="50" charset="-128"/>
              </a:defRPr>
            </a:lvl1pPr>
          </a:lstStyle>
          <a:p>
            <a:endParaRPr lang="ja-JP" altLang="en-US"/>
          </a:p>
        </p:txBody>
      </p:sp>
      <p:sp>
        <p:nvSpPr>
          <p:cNvPr id="9" name="日付プレースホルダー 11"/>
          <p:cNvSpPr>
            <a:spLocks noGrp="1"/>
          </p:cNvSpPr>
          <p:nvPr>
            <p:ph type="dt" sz="half" idx="10"/>
          </p:nvPr>
        </p:nvSpPr>
        <p:spPr>
          <a:xfrm>
            <a:off x="609600" y="5691768"/>
            <a:ext cx="3860800" cy="365125"/>
          </a:xfrm>
          <a:prstGeom prst="rect">
            <a:avLst/>
          </a:prstGeom>
        </p:spPr>
        <p:txBody>
          <a:bodyPr lIns="95767" tIns="47884" rIns="95767" bIns="47884"/>
          <a:lstStyle>
            <a:lvl1pPr algn="l">
              <a:defRPr sz="2266">
                <a:solidFill>
                  <a:srgbClr val="000000"/>
                </a:solidFill>
                <a:latin typeface="Meiryo UI" panose="020B0604030504040204" pitchFamily="50" charset="-128"/>
                <a:ea typeface="Meiryo UI" panose="020B0604030504040204" pitchFamily="50" charset="-128"/>
              </a:defRPr>
            </a:lvl1pPr>
          </a:lstStyle>
          <a:p>
            <a:endParaRPr lang="ja-JP" altLang="en-US"/>
          </a:p>
        </p:txBody>
      </p:sp>
      <p:pic>
        <p:nvPicPr>
          <p:cNvPr id="11" name="Picture 2" descr="C:\Users\00057835\AppData\Local\Temp\notesEA5B2A\グループ併記ロゴ（縦・英文）.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9672823" y="5316525"/>
            <a:ext cx="2519177" cy="1507239"/>
          </a:xfrm>
          <a:prstGeom prst="rect">
            <a:avLst/>
          </a:prstGeom>
          <a:noFill/>
          <a:extLst>
            <a:ext uri="{909E8E84-426E-40DD-AFC4-6F175D3DCCD1}">
              <a14:hiddenFill xmlns:a14="http://schemas.microsoft.com/office/drawing/2010/main">
                <a:solidFill>
                  <a:srgbClr val="FFFFFF"/>
                </a:solidFill>
              </a14:hiddenFill>
            </a:ext>
          </a:extLst>
        </p:spPr>
      </p:pic>
      <p:pic>
        <p:nvPicPr>
          <p:cNvPr id="12" name="図 11" descr="テキスト&#10;&#10;自動的に生成された説明">
            <a:extLst>
              <a:ext uri="{FF2B5EF4-FFF2-40B4-BE49-F238E27FC236}">
                <a16:creationId xmlns:a16="http://schemas.microsoft.com/office/drawing/2014/main" id="{A90E0FF0-5017-435E-BACF-DBC97077E287}"/>
              </a:ext>
            </a:extLst>
          </p:cNvPr>
          <p:cNvPicPr>
            <a:picLocks noChangeAspect="1"/>
          </p:cNvPicPr>
          <p:nvPr userDrawn="1"/>
        </p:nvPicPr>
        <p:blipFill>
          <a:blip r:embed="rId3"/>
          <a:stretch>
            <a:fillRect/>
          </a:stretch>
        </p:blipFill>
        <p:spPr>
          <a:xfrm>
            <a:off x="7614083" y="5874330"/>
            <a:ext cx="2138567" cy="637168"/>
          </a:xfrm>
          <a:prstGeom prst="rect">
            <a:avLst/>
          </a:prstGeom>
        </p:spPr>
      </p:pic>
    </p:spTree>
    <p:extLst>
      <p:ext uri="{BB962C8B-B14F-4D97-AF65-F5344CB8AC3E}">
        <p14:creationId xmlns:p14="http://schemas.microsoft.com/office/powerpoint/2010/main" val="2175549468"/>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17_タイトルとコンテンツ">
    <p:spTree>
      <p:nvGrpSpPr>
        <p:cNvPr id="1" name=""/>
        <p:cNvGrpSpPr/>
        <p:nvPr/>
      </p:nvGrpSpPr>
      <p:grpSpPr>
        <a:xfrm>
          <a:off x="0" y="0"/>
          <a:ext cx="0" cy="0"/>
          <a:chOff x="0" y="0"/>
          <a:chExt cx="0" cy="0"/>
        </a:xfrm>
      </p:grpSpPr>
      <p:sp>
        <p:nvSpPr>
          <p:cNvPr id="7" name="Freeform 8"/>
          <p:cNvSpPr>
            <a:spLocks/>
          </p:cNvSpPr>
          <p:nvPr userDrawn="1"/>
        </p:nvSpPr>
        <p:spPr bwMode="auto">
          <a:xfrm>
            <a:off x="-2100" y="5505984"/>
            <a:ext cx="12192504" cy="1353504"/>
          </a:xfrm>
          <a:custGeom>
            <a:avLst/>
            <a:gdLst>
              <a:gd name="T0" fmla="*/ 3622 w 3622"/>
              <a:gd name="T1" fmla="*/ 608 h 608"/>
              <a:gd name="T2" fmla="*/ 3622 w 3622"/>
              <a:gd name="T3" fmla="*/ 0 h 608"/>
              <a:gd name="T4" fmla="*/ 3622 w 3622"/>
              <a:gd name="T5" fmla="*/ 0 h 608"/>
              <a:gd name="T6" fmla="*/ 3622 w 3622"/>
              <a:gd name="T7" fmla="*/ 14 h 608"/>
              <a:gd name="T8" fmla="*/ 3616 w 3622"/>
              <a:gd name="T9" fmla="*/ 46 h 608"/>
              <a:gd name="T10" fmla="*/ 3612 w 3622"/>
              <a:gd name="T11" fmla="*/ 68 h 608"/>
              <a:gd name="T12" fmla="*/ 3604 w 3622"/>
              <a:gd name="T13" fmla="*/ 94 h 608"/>
              <a:gd name="T14" fmla="*/ 3596 w 3622"/>
              <a:gd name="T15" fmla="*/ 122 h 608"/>
              <a:gd name="T16" fmla="*/ 3584 w 3622"/>
              <a:gd name="T17" fmla="*/ 150 h 608"/>
              <a:gd name="T18" fmla="*/ 3568 w 3622"/>
              <a:gd name="T19" fmla="*/ 178 h 608"/>
              <a:gd name="T20" fmla="*/ 3550 w 3622"/>
              <a:gd name="T21" fmla="*/ 206 h 608"/>
              <a:gd name="T22" fmla="*/ 3526 w 3622"/>
              <a:gd name="T23" fmla="*/ 232 h 608"/>
              <a:gd name="T24" fmla="*/ 3514 w 3622"/>
              <a:gd name="T25" fmla="*/ 246 h 608"/>
              <a:gd name="T26" fmla="*/ 3498 w 3622"/>
              <a:gd name="T27" fmla="*/ 258 h 608"/>
              <a:gd name="T28" fmla="*/ 3484 w 3622"/>
              <a:gd name="T29" fmla="*/ 268 h 608"/>
              <a:gd name="T30" fmla="*/ 3466 w 3622"/>
              <a:gd name="T31" fmla="*/ 280 h 608"/>
              <a:gd name="T32" fmla="*/ 3448 w 3622"/>
              <a:gd name="T33" fmla="*/ 288 h 608"/>
              <a:gd name="T34" fmla="*/ 3430 w 3622"/>
              <a:gd name="T35" fmla="*/ 298 h 608"/>
              <a:gd name="T36" fmla="*/ 3410 w 3622"/>
              <a:gd name="T37" fmla="*/ 304 h 608"/>
              <a:gd name="T38" fmla="*/ 3386 w 3622"/>
              <a:gd name="T39" fmla="*/ 310 h 608"/>
              <a:gd name="T40" fmla="*/ 3364 w 3622"/>
              <a:gd name="T41" fmla="*/ 316 h 608"/>
              <a:gd name="T42" fmla="*/ 3338 w 3622"/>
              <a:gd name="T43" fmla="*/ 318 h 608"/>
              <a:gd name="T44" fmla="*/ 3338 w 3622"/>
              <a:gd name="T45" fmla="*/ 318 h 608"/>
              <a:gd name="T46" fmla="*/ 0 w 3622"/>
              <a:gd name="T47" fmla="*/ 608 h 608"/>
              <a:gd name="T48" fmla="*/ 3622 w 3622"/>
              <a:gd name="T49" fmla="*/ 608 h 608"/>
              <a:gd name="connsiteX0" fmla="*/ 10000 w 10000"/>
              <a:gd name="connsiteY0" fmla="*/ 10000 h 10000"/>
              <a:gd name="connsiteX1" fmla="*/ 10000 w 10000"/>
              <a:gd name="connsiteY1" fmla="*/ 0 h 10000"/>
              <a:gd name="connsiteX2" fmla="*/ 10000 w 10000"/>
              <a:gd name="connsiteY2" fmla="*/ 0 h 10000"/>
              <a:gd name="connsiteX3" fmla="*/ 10000 w 10000"/>
              <a:gd name="connsiteY3" fmla="*/ 230 h 10000"/>
              <a:gd name="connsiteX4" fmla="*/ 9983 w 10000"/>
              <a:gd name="connsiteY4" fmla="*/ 757 h 10000"/>
              <a:gd name="connsiteX5" fmla="*/ 9972 w 10000"/>
              <a:gd name="connsiteY5" fmla="*/ 1118 h 10000"/>
              <a:gd name="connsiteX6" fmla="*/ 9950 w 10000"/>
              <a:gd name="connsiteY6" fmla="*/ 1546 h 10000"/>
              <a:gd name="connsiteX7" fmla="*/ 9928 w 10000"/>
              <a:gd name="connsiteY7" fmla="*/ 2007 h 10000"/>
              <a:gd name="connsiteX8" fmla="*/ 9895 w 10000"/>
              <a:gd name="connsiteY8" fmla="*/ 2467 h 10000"/>
              <a:gd name="connsiteX9" fmla="*/ 9851 w 10000"/>
              <a:gd name="connsiteY9" fmla="*/ 2928 h 10000"/>
              <a:gd name="connsiteX10" fmla="*/ 9801 w 10000"/>
              <a:gd name="connsiteY10" fmla="*/ 3388 h 10000"/>
              <a:gd name="connsiteX11" fmla="*/ 9735 w 10000"/>
              <a:gd name="connsiteY11" fmla="*/ 3816 h 10000"/>
              <a:gd name="connsiteX12" fmla="*/ 9702 w 10000"/>
              <a:gd name="connsiteY12" fmla="*/ 4046 h 10000"/>
              <a:gd name="connsiteX13" fmla="*/ 9658 w 10000"/>
              <a:gd name="connsiteY13" fmla="*/ 4243 h 10000"/>
              <a:gd name="connsiteX14" fmla="*/ 9619 w 10000"/>
              <a:gd name="connsiteY14" fmla="*/ 4408 h 10000"/>
              <a:gd name="connsiteX15" fmla="*/ 9569 w 10000"/>
              <a:gd name="connsiteY15" fmla="*/ 4605 h 10000"/>
              <a:gd name="connsiteX16" fmla="*/ 9520 w 10000"/>
              <a:gd name="connsiteY16" fmla="*/ 4737 h 10000"/>
              <a:gd name="connsiteX17" fmla="*/ 9470 w 10000"/>
              <a:gd name="connsiteY17" fmla="*/ 4901 h 10000"/>
              <a:gd name="connsiteX18" fmla="*/ 9415 w 10000"/>
              <a:gd name="connsiteY18" fmla="*/ 5000 h 10000"/>
              <a:gd name="connsiteX19" fmla="*/ 9348 w 10000"/>
              <a:gd name="connsiteY19" fmla="*/ 5099 h 10000"/>
              <a:gd name="connsiteX20" fmla="*/ 9288 w 10000"/>
              <a:gd name="connsiteY20" fmla="*/ 5197 h 10000"/>
              <a:gd name="connsiteX21" fmla="*/ 9216 w 10000"/>
              <a:gd name="connsiteY21" fmla="*/ 5230 h 10000"/>
              <a:gd name="connsiteX22" fmla="*/ 9216 w 10000"/>
              <a:gd name="connsiteY22" fmla="*/ 5230 h 10000"/>
              <a:gd name="connsiteX23" fmla="*/ 1190 w 10000"/>
              <a:gd name="connsiteY23" fmla="*/ 9414 h 10000"/>
              <a:gd name="connsiteX24" fmla="*/ 0 w 10000"/>
              <a:gd name="connsiteY24" fmla="*/ 10000 h 10000"/>
              <a:gd name="connsiteX25" fmla="*/ 10000 w 10000"/>
              <a:gd name="connsiteY25" fmla="*/ 10000 h 10000"/>
              <a:gd name="connsiteX0" fmla="*/ 10000 w 10000"/>
              <a:gd name="connsiteY0" fmla="*/ 10000 h 10011"/>
              <a:gd name="connsiteX1" fmla="*/ 10000 w 10000"/>
              <a:gd name="connsiteY1" fmla="*/ 0 h 10011"/>
              <a:gd name="connsiteX2" fmla="*/ 10000 w 10000"/>
              <a:gd name="connsiteY2" fmla="*/ 0 h 10011"/>
              <a:gd name="connsiteX3" fmla="*/ 10000 w 10000"/>
              <a:gd name="connsiteY3" fmla="*/ 230 h 10011"/>
              <a:gd name="connsiteX4" fmla="*/ 9983 w 10000"/>
              <a:gd name="connsiteY4" fmla="*/ 757 h 10011"/>
              <a:gd name="connsiteX5" fmla="*/ 9972 w 10000"/>
              <a:gd name="connsiteY5" fmla="*/ 1118 h 10011"/>
              <a:gd name="connsiteX6" fmla="*/ 9950 w 10000"/>
              <a:gd name="connsiteY6" fmla="*/ 1546 h 10011"/>
              <a:gd name="connsiteX7" fmla="*/ 9928 w 10000"/>
              <a:gd name="connsiteY7" fmla="*/ 2007 h 10011"/>
              <a:gd name="connsiteX8" fmla="*/ 9895 w 10000"/>
              <a:gd name="connsiteY8" fmla="*/ 2467 h 10011"/>
              <a:gd name="connsiteX9" fmla="*/ 9851 w 10000"/>
              <a:gd name="connsiteY9" fmla="*/ 2928 h 10011"/>
              <a:gd name="connsiteX10" fmla="*/ 9801 w 10000"/>
              <a:gd name="connsiteY10" fmla="*/ 3388 h 10011"/>
              <a:gd name="connsiteX11" fmla="*/ 9735 w 10000"/>
              <a:gd name="connsiteY11" fmla="*/ 3816 h 10011"/>
              <a:gd name="connsiteX12" fmla="*/ 9702 w 10000"/>
              <a:gd name="connsiteY12" fmla="*/ 4046 h 10011"/>
              <a:gd name="connsiteX13" fmla="*/ 9658 w 10000"/>
              <a:gd name="connsiteY13" fmla="*/ 4243 h 10011"/>
              <a:gd name="connsiteX14" fmla="*/ 9619 w 10000"/>
              <a:gd name="connsiteY14" fmla="*/ 4408 h 10011"/>
              <a:gd name="connsiteX15" fmla="*/ 9569 w 10000"/>
              <a:gd name="connsiteY15" fmla="*/ 4605 h 10011"/>
              <a:gd name="connsiteX16" fmla="*/ 9520 w 10000"/>
              <a:gd name="connsiteY16" fmla="*/ 4737 h 10011"/>
              <a:gd name="connsiteX17" fmla="*/ 9470 w 10000"/>
              <a:gd name="connsiteY17" fmla="*/ 4901 h 10011"/>
              <a:gd name="connsiteX18" fmla="*/ 9415 w 10000"/>
              <a:gd name="connsiteY18" fmla="*/ 5000 h 10011"/>
              <a:gd name="connsiteX19" fmla="*/ 9348 w 10000"/>
              <a:gd name="connsiteY19" fmla="*/ 5099 h 10011"/>
              <a:gd name="connsiteX20" fmla="*/ 9288 w 10000"/>
              <a:gd name="connsiteY20" fmla="*/ 5197 h 10011"/>
              <a:gd name="connsiteX21" fmla="*/ 9216 w 10000"/>
              <a:gd name="connsiteY21" fmla="*/ 5230 h 10011"/>
              <a:gd name="connsiteX22" fmla="*/ 9216 w 10000"/>
              <a:gd name="connsiteY22" fmla="*/ 5230 h 10011"/>
              <a:gd name="connsiteX23" fmla="*/ 1190 w 10000"/>
              <a:gd name="connsiteY23" fmla="*/ 9414 h 10011"/>
              <a:gd name="connsiteX24" fmla="*/ 0 w 10000"/>
              <a:gd name="connsiteY24" fmla="*/ 10000 h 10011"/>
              <a:gd name="connsiteX25" fmla="*/ 1185 w 10000"/>
              <a:gd name="connsiteY25" fmla="*/ 10011 h 10011"/>
              <a:gd name="connsiteX26" fmla="*/ 10000 w 10000"/>
              <a:gd name="connsiteY26" fmla="*/ 10000 h 10011"/>
              <a:gd name="connsiteX0" fmla="*/ 8815 w 8815"/>
              <a:gd name="connsiteY0" fmla="*/ 10000 h 10011"/>
              <a:gd name="connsiteX1" fmla="*/ 8815 w 8815"/>
              <a:gd name="connsiteY1" fmla="*/ 0 h 10011"/>
              <a:gd name="connsiteX2" fmla="*/ 8815 w 8815"/>
              <a:gd name="connsiteY2" fmla="*/ 0 h 10011"/>
              <a:gd name="connsiteX3" fmla="*/ 8815 w 8815"/>
              <a:gd name="connsiteY3" fmla="*/ 230 h 10011"/>
              <a:gd name="connsiteX4" fmla="*/ 8798 w 8815"/>
              <a:gd name="connsiteY4" fmla="*/ 757 h 10011"/>
              <a:gd name="connsiteX5" fmla="*/ 8787 w 8815"/>
              <a:gd name="connsiteY5" fmla="*/ 1118 h 10011"/>
              <a:gd name="connsiteX6" fmla="*/ 8765 w 8815"/>
              <a:gd name="connsiteY6" fmla="*/ 1546 h 10011"/>
              <a:gd name="connsiteX7" fmla="*/ 8743 w 8815"/>
              <a:gd name="connsiteY7" fmla="*/ 2007 h 10011"/>
              <a:gd name="connsiteX8" fmla="*/ 8710 w 8815"/>
              <a:gd name="connsiteY8" fmla="*/ 2467 h 10011"/>
              <a:gd name="connsiteX9" fmla="*/ 8666 w 8815"/>
              <a:gd name="connsiteY9" fmla="*/ 2928 h 10011"/>
              <a:gd name="connsiteX10" fmla="*/ 8616 w 8815"/>
              <a:gd name="connsiteY10" fmla="*/ 3388 h 10011"/>
              <a:gd name="connsiteX11" fmla="*/ 8550 w 8815"/>
              <a:gd name="connsiteY11" fmla="*/ 3816 h 10011"/>
              <a:gd name="connsiteX12" fmla="*/ 8517 w 8815"/>
              <a:gd name="connsiteY12" fmla="*/ 4046 h 10011"/>
              <a:gd name="connsiteX13" fmla="*/ 8473 w 8815"/>
              <a:gd name="connsiteY13" fmla="*/ 4243 h 10011"/>
              <a:gd name="connsiteX14" fmla="*/ 8434 w 8815"/>
              <a:gd name="connsiteY14" fmla="*/ 4408 h 10011"/>
              <a:gd name="connsiteX15" fmla="*/ 8384 w 8815"/>
              <a:gd name="connsiteY15" fmla="*/ 4605 h 10011"/>
              <a:gd name="connsiteX16" fmla="*/ 8335 w 8815"/>
              <a:gd name="connsiteY16" fmla="*/ 4737 h 10011"/>
              <a:gd name="connsiteX17" fmla="*/ 8285 w 8815"/>
              <a:gd name="connsiteY17" fmla="*/ 4901 h 10011"/>
              <a:gd name="connsiteX18" fmla="*/ 8230 w 8815"/>
              <a:gd name="connsiteY18" fmla="*/ 5000 h 10011"/>
              <a:gd name="connsiteX19" fmla="*/ 8163 w 8815"/>
              <a:gd name="connsiteY19" fmla="*/ 5099 h 10011"/>
              <a:gd name="connsiteX20" fmla="*/ 8103 w 8815"/>
              <a:gd name="connsiteY20" fmla="*/ 5197 h 10011"/>
              <a:gd name="connsiteX21" fmla="*/ 8031 w 8815"/>
              <a:gd name="connsiteY21" fmla="*/ 5230 h 10011"/>
              <a:gd name="connsiteX22" fmla="*/ 8031 w 8815"/>
              <a:gd name="connsiteY22" fmla="*/ 5230 h 10011"/>
              <a:gd name="connsiteX23" fmla="*/ 5 w 8815"/>
              <a:gd name="connsiteY23" fmla="*/ 9414 h 10011"/>
              <a:gd name="connsiteX24" fmla="*/ 0 w 8815"/>
              <a:gd name="connsiteY24" fmla="*/ 10011 h 10011"/>
              <a:gd name="connsiteX25" fmla="*/ 8815 w 8815"/>
              <a:gd name="connsiteY25" fmla="*/ 10000 h 10011"/>
              <a:gd name="connsiteX0" fmla="*/ 9996 w 9996"/>
              <a:gd name="connsiteY0" fmla="*/ 9989 h 10000"/>
              <a:gd name="connsiteX1" fmla="*/ 9996 w 9996"/>
              <a:gd name="connsiteY1" fmla="*/ 0 h 10000"/>
              <a:gd name="connsiteX2" fmla="*/ 9996 w 9996"/>
              <a:gd name="connsiteY2" fmla="*/ 0 h 10000"/>
              <a:gd name="connsiteX3" fmla="*/ 9996 w 9996"/>
              <a:gd name="connsiteY3" fmla="*/ 230 h 10000"/>
              <a:gd name="connsiteX4" fmla="*/ 9977 w 9996"/>
              <a:gd name="connsiteY4" fmla="*/ 756 h 10000"/>
              <a:gd name="connsiteX5" fmla="*/ 9964 w 9996"/>
              <a:gd name="connsiteY5" fmla="*/ 1117 h 10000"/>
              <a:gd name="connsiteX6" fmla="*/ 9939 w 9996"/>
              <a:gd name="connsiteY6" fmla="*/ 1544 h 10000"/>
              <a:gd name="connsiteX7" fmla="*/ 9914 w 9996"/>
              <a:gd name="connsiteY7" fmla="*/ 2005 h 10000"/>
              <a:gd name="connsiteX8" fmla="*/ 9877 w 9996"/>
              <a:gd name="connsiteY8" fmla="*/ 2464 h 10000"/>
              <a:gd name="connsiteX9" fmla="*/ 9827 w 9996"/>
              <a:gd name="connsiteY9" fmla="*/ 2925 h 10000"/>
              <a:gd name="connsiteX10" fmla="*/ 9770 w 9996"/>
              <a:gd name="connsiteY10" fmla="*/ 3384 h 10000"/>
              <a:gd name="connsiteX11" fmla="*/ 9695 w 9996"/>
              <a:gd name="connsiteY11" fmla="*/ 3812 h 10000"/>
              <a:gd name="connsiteX12" fmla="*/ 9658 w 9996"/>
              <a:gd name="connsiteY12" fmla="*/ 4042 h 10000"/>
              <a:gd name="connsiteX13" fmla="*/ 9608 w 9996"/>
              <a:gd name="connsiteY13" fmla="*/ 4238 h 10000"/>
              <a:gd name="connsiteX14" fmla="*/ 9564 w 9996"/>
              <a:gd name="connsiteY14" fmla="*/ 4403 h 10000"/>
              <a:gd name="connsiteX15" fmla="*/ 9507 w 9996"/>
              <a:gd name="connsiteY15" fmla="*/ 4600 h 10000"/>
              <a:gd name="connsiteX16" fmla="*/ 9451 w 9996"/>
              <a:gd name="connsiteY16" fmla="*/ 4732 h 10000"/>
              <a:gd name="connsiteX17" fmla="*/ 9395 w 9996"/>
              <a:gd name="connsiteY17" fmla="*/ 4896 h 10000"/>
              <a:gd name="connsiteX18" fmla="*/ 9332 w 9996"/>
              <a:gd name="connsiteY18" fmla="*/ 4995 h 10000"/>
              <a:gd name="connsiteX19" fmla="*/ 9256 w 9996"/>
              <a:gd name="connsiteY19" fmla="*/ 5093 h 10000"/>
              <a:gd name="connsiteX20" fmla="*/ 9188 w 9996"/>
              <a:gd name="connsiteY20" fmla="*/ 5191 h 10000"/>
              <a:gd name="connsiteX21" fmla="*/ 9107 w 9996"/>
              <a:gd name="connsiteY21" fmla="*/ 5224 h 10000"/>
              <a:gd name="connsiteX22" fmla="*/ 9107 w 9996"/>
              <a:gd name="connsiteY22" fmla="*/ 5224 h 10000"/>
              <a:gd name="connsiteX23" fmla="*/ 2 w 9996"/>
              <a:gd name="connsiteY23" fmla="*/ 9404 h 10000"/>
              <a:gd name="connsiteX24" fmla="*/ 0 w 9996"/>
              <a:gd name="connsiteY24" fmla="*/ 10000 h 10000"/>
              <a:gd name="connsiteX25" fmla="*/ 9996 w 9996"/>
              <a:gd name="connsiteY25" fmla="*/ 9989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9996" h="10000">
                <a:moveTo>
                  <a:pt x="9996" y="9989"/>
                </a:moveTo>
                <a:lnTo>
                  <a:pt x="9996" y="0"/>
                </a:lnTo>
                <a:lnTo>
                  <a:pt x="9996" y="0"/>
                </a:lnTo>
                <a:lnTo>
                  <a:pt x="9996" y="230"/>
                </a:lnTo>
                <a:cubicBezTo>
                  <a:pt x="9989" y="406"/>
                  <a:pt x="9984" y="580"/>
                  <a:pt x="9977" y="756"/>
                </a:cubicBezTo>
                <a:cubicBezTo>
                  <a:pt x="9972" y="876"/>
                  <a:pt x="9969" y="997"/>
                  <a:pt x="9964" y="1117"/>
                </a:cubicBezTo>
                <a:cubicBezTo>
                  <a:pt x="9956" y="1260"/>
                  <a:pt x="9947" y="1401"/>
                  <a:pt x="9939" y="1544"/>
                </a:cubicBezTo>
                <a:cubicBezTo>
                  <a:pt x="9931" y="1698"/>
                  <a:pt x="9922" y="1851"/>
                  <a:pt x="9914" y="2005"/>
                </a:cubicBezTo>
                <a:cubicBezTo>
                  <a:pt x="9902" y="2158"/>
                  <a:pt x="9889" y="2311"/>
                  <a:pt x="9877" y="2464"/>
                </a:cubicBezTo>
                <a:cubicBezTo>
                  <a:pt x="9860" y="2618"/>
                  <a:pt x="9844" y="2771"/>
                  <a:pt x="9827" y="2925"/>
                </a:cubicBezTo>
                <a:cubicBezTo>
                  <a:pt x="9808" y="3078"/>
                  <a:pt x="9790" y="3231"/>
                  <a:pt x="9770" y="3384"/>
                </a:cubicBezTo>
                <a:cubicBezTo>
                  <a:pt x="9745" y="3527"/>
                  <a:pt x="9720" y="3669"/>
                  <a:pt x="9695" y="3812"/>
                </a:cubicBezTo>
                <a:cubicBezTo>
                  <a:pt x="9683" y="3889"/>
                  <a:pt x="9670" y="3965"/>
                  <a:pt x="9658" y="4042"/>
                </a:cubicBezTo>
                <a:cubicBezTo>
                  <a:pt x="9641" y="4107"/>
                  <a:pt x="9625" y="4172"/>
                  <a:pt x="9608" y="4238"/>
                </a:cubicBezTo>
                <a:cubicBezTo>
                  <a:pt x="9593" y="4293"/>
                  <a:pt x="9579" y="4348"/>
                  <a:pt x="9564" y="4403"/>
                </a:cubicBezTo>
                <a:cubicBezTo>
                  <a:pt x="9544" y="4469"/>
                  <a:pt x="9526" y="4534"/>
                  <a:pt x="9507" y="4600"/>
                </a:cubicBezTo>
                <a:cubicBezTo>
                  <a:pt x="9489" y="4644"/>
                  <a:pt x="9470" y="4688"/>
                  <a:pt x="9451" y="4732"/>
                </a:cubicBezTo>
                <a:cubicBezTo>
                  <a:pt x="9432" y="4787"/>
                  <a:pt x="9414" y="4841"/>
                  <a:pt x="9395" y="4896"/>
                </a:cubicBezTo>
                <a:lnTo>
                  <a:pt x="9332" y="4995"/>
                </a:lnTo>
                <a:cubicBezTo>
                  <a:pt x="9307" y="5027"/>
                  <a:pt x="9281" y="5060"/>
                  <a:pt x="9256" y="5093"/>
                </a:cubicBezTo>
                <a:cubicBezTo>
                  <a:pt x="9234" y="5126"/>
                  <a:pt x="9211" y="5158"/>
                  <a:pt x="9188" y="5191"/>
                </a:cubicBezTo>
                <a:lnTo>
                  <a:pt x="9107" y="5224"/>
                </a:lnTo>
                <a:lnTo>
                  <a:pt x="9107" y="5224"/>
                </a:lnTo>
                <a:lnTo>
                  <a:pt x="2" y="9404"/>
                </a:lnTo>
                <a:cubicBezTo>
                  <a:pt x="-1" y="9602"/>
                  <a:pt x="2" y="9801"/>
                  <a:pt x="0" y="10000"/>
                </a:cubicBezTo>
                <a:lnTo>
                  <a:pt x="9996" y="9989"/>
                </a:lnTo>
                <a:close/>
              </a:path>
            </a:pathLst>
          </a:custGeom>
          <a:solidFill>
            <a:schemeClr val="accent6"/>
          </a:solidFill>
          <a:ln>
            <a:noFill/>
          </a:ln>
        </p:spPr>
        <p:txBody>
          <a:bodyPr vert="horz" wrap="square" lIns="133428" tIns="66715" rIns="133428" bIns="66715" numCol="1" anchor="t" anchorCtr="0" compatLnSpc="1">
            <a:prstTxWarp prst="textNoShape">
              <a:avLst/>
            </a:prstTxWarp>
          </a:bodyPr>
          <a:lstStyle/>
          <a:p>
            <a:endParaRPr lang="ja-JP" altLang="en-US" sz="2533"/>
          </a:p>
        </p:txBody>
      </p:sp>
      <p:sp>
        <p:nvSpPr>
          <p:cNvPr id="2" name="タイトル 1"/>
          <p:cNvSpPr>
            <a:spLocks noGrp="1"/>
          </p:cNvSpPr>
          <p:nvPr>
            <p:ph type="title"/>
          </p:nvPr>
        </p:nvSpPr>
        <p:spPr>
          <a:xfrm>
            <a:off x="368550" y="1959102"/>
            <a:ext cx="11451591" cy="540000"/>
          </a:xfrm>
          <a:prstGeom prst="rect">
            <a:avLst/>
          </a:prstGeom>
        </p:spPr>
        <p:txBody>
          <a:bodyPr lIns="95767" tIns="47884" rIns="95767" bIns="47884"/>
          <a:lstStyle>
            <a:lvl1pPr>
              <a:defRPr>
                <a:latin typeface="Meiryo UI" panose="020B0604030504040204" pitchFamily="50" charset="-128"/>
                <a:ea typeface="Meiryo UI" panose="020B0604030504040204" pitchFamily="50" charset="-128"/>
              </a:defRPr>
            </a:lvl1pPr>
          </a:lstStyle>
          <a:p>
            <a:r>
              <a:rPr kumimoji="1" lang="ja-JP" altLang="en-US"/>
              <a:t>マスター タイトルの書式設定</a:t>
            </a:r>
          </a:p>
        </p:txBody>
      </p:sp>
      <p:sp>
        <p:nvSpPr>
          <p:cNvPr id="6" name="スライド番号プレースホルダー 5"/>
          <p:cNvSpPr>
            <a:spLocks noGrp="1"/>
          </p:cNvSpPr>
          <p:nvPr>
            <p:ph type="sldNum" sz="quarter" idx="12"/>
          </p:nvPr>
        </p:nvSpPr>
        <p:spPr>
          <a:xfrm>
            <a:off x="11524630" y="6468878"/>
            <a:ext cx="555811" cy="289299"/>
          </a:xfrm>
          <a:prstGeom prst="rect">
            <a:avLst/>
          </a:prstGeom>
        </p:spPr>
        <p:txBody>
          <a:bodyPr lIns="95767" tIns="47884" rIns="95767" bIns="47884"/>
          <a:lstStyle>
            <a:lvl1pPr>
              <a:defRPr sz="1333"/>
            </a:lvl1pPr>
          </a:lstStyle>
          <a:p>
            <a:fld id="{2FF5E1DE-7B95-8A44-8552-65323269AE41}" type="slidenum">
              <a:rPr lang="ja-JP" altLang="en-US" smtClean="0"/>
              <a:pPr/>
              <a:t>‹#›</a:t>
            </a:fld>
            <a:endParaRPr lang="ja-JP" altLang="en-US"/>
          </a:p>
        </p:txBody>
      </p:sp>
      <p:pic>
        <p:nvPicPr>
          <p:cNvPr id="8" name="Picture 2" descr="C:\Users\00057835\AppData\Local\Temp\notesEA5B2A\グループ併記ロゴ（縦・英文）.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0756324" y="26652"/>
            <a:ext cx="1434080" cy="85801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34432318"/>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type="obj" preserve="1">
  <p:cSld name="18_タイトルとコンテンツ">
    <p:spTree>
      <p:nvGrpSpPr>
        <p:cNvPr id="1" name=""/>
        <p:cNvGrpSpPr/>
        <p:nvPr/>
      </p:nvGrpSpPr>
      <p:grpSpPr>
        <a:xfrm>
          <a:off x="0" y="0"/>
          <a:ext cx="0" cy="0"/>
          <a:chOff x="0" y="0"/>
          <a:chExt cx="0" cy="0"/>
        </a:xfrm>
      </p:grpSpPr>
      <p:sp>
        <p:nvSpPr>
          <p:cNvPr id="9" name="Freeform 8"/>
          <p:cNvSpPr>
            <a:spLocks/>
          </p:cNvSpPr>
          <p:nvPr userDrawn="1"/>
        </p:nvSpPr>
        <p:spPr bwMode="auto">
          <a:xfrm>
            <a:off x="-2100" y="5505984"/>
            <a:ext cx="12192504" cy="1353504"/>
          </a:xfrm>
          <a:custGeom>
            <a:avLst/>
            <a:gdLst>
              <a:gd name="T0" fmla="*/ 3622 w 3622"/>
              <a:gd name="T1" fmla="*/ 608 h 608"/>
              <a:gd name="T2" fmla="*/ 3622 w 3622"/>
              <a:gd name="T3" fmla="*/ 0 h 608"/>
              <a:gd name="T4" fmla="*/ 3622 w 3622"/>
              <a:gd name="T5" fmla="*/ 0 h 608"/>
              <a:gd name="T6" fmla="*/ 3622 w 3622"/>
              <a:gd name="T7" fmla="*/ 14 h 608"/>
              <a:gd name="T8" fmla="*/ 3616 w 3622"/>
              <a:gd name="T9" fmla="*/ 46 h 608"/>
              <a:gd name="T10" fmla="*/ 3612 w 3622"/>
              <a:gd name="T11" fmla="*/ 68 h 608"/>
              <a:gd name="T12" fmla="*/ 3604 w 3622"/>
              <a:gd name="T13" fmla="*/ 94 h 608"/>
              <a:gd name="T14" fmla="*/ 3596 w 3622"/>
              <a:gd name="T15" fmla="*/ 122 h 608"/>
              <a:gd name="T16" fmla="*/ 3584 w 3622"/>
              <a:gd name="T17" fmla="*/ 150 h 608"/>
              <a:gd name="T18" fmla="*/ 3568 w 3622"/>
              <a:gd name="T19" fmla="*/ 178 h 608"/>
              <a:gd name="T20" fmla="*/ 3550 w 3622"/>
              <a:gd name="T21" fmla="*/ 206 h 608"/>
              <a:gd name="T22" fmla="*/ 3526 w 3622"/>
              <a:gd name="T23" fmla="*/ 232 h 608"/>
              <a:gd name="T24" fmla="*/ 3514 w 3622"/>
              <a:gd name="T25" fmla="*/ 246 h 608"/>
              <a:gd name="T26" fmla="*/ 3498 w 3622"/>
              <a:gd name="T27" fmla="*/ 258 h 608"/>
              <a:gd name="T28" fmla="*/ 3484 w 3622"/>
              <a:gd name="T29" fmla="*/ 268 h 608"/>
              <a:gd name="T30" fmla="*/ 3466 w 3622"/>
              <a:gd name="T31" fmla="*/ 280 h 608"/>
              <a:gd name="T32" fmla="*/ 3448 w 3622"/>
              <a:gd name="T33" fmla="*/ 288 h 608"/>
              <a:gd name="T34" fmla="*/ 3430 w 3622"/>
              <a:gd name="T35" fmla="*/ 298 h 608"/>
              <a:gd name="T36" fmla="*/ 3410 w 3622"/>
              <a:gd name="T37" fmla="*/ 304 h 608"/>
              <a:gd name="T38" fmla="*/ 3386 w 3622"/>
              <a:gd name="T39" fmla="*/ 310 h 608"/>
              <a:gd name="T40" fmla="*/ 3364 w 3622"/>
              <a:gd name="T41" fmla="*/ 316 h 608"/>
              <a:gd name="T42" fmla="*/ 3338 w 3622"/>
              <a:gd name="T43" fmla="*/ 318 h 608"/>
              <a:gd name="T44" fmla="*/ 3338 w 3622"/>
              <a:gd name="T45" fmla="*/ 318 h 608"/>
              <a:gd name="T46" fmla="*/ 0 w 3622"/>
              <a:gd name="T47" fmla="*/ 608 h 608"/>
              <a:gd name="T48" fmla="*/ 3622 w 3622"/>
              <a:gd name="T49" fmla="*/ 608 h 608"/>
              <a:gd name="connsiteX0" fmla="*/ 10000 w 10000"/>
              <a:gd name="connsiteY0" fmla="*/ 10000 h 10000"/>
              <a:gd name="connsiteX1" fmla="*/ 10000 w 10000"/>
              <a:gd name="connsiteY1" fmla="*/ 0 h 10000"/>
              <a:gd name="connsiteX2" fmla="*/ 10000 w 10000"/>
              <a:gd name="connsiteY2" fmla="*/ 0 h 10000"/>
              <a:gd name="connsiteX3" fmla="*/ 10000 w 10000"/>
              <a:gd name="connsiteY3" fmla="*/ 230 h 10000"/>
              <a:gd name="connsiteX4" fmla="*/ 9983 w 10000"/>
              <a:gd name="connsiteY4" fmla="*/ 757 h 10000"/>
              <a:gd name="connsiteX5" fmla="*/ 9972 w 10000"/>
              <a:gd name="connsiteY5" fmla="*/ 1118 h 10000"/>
              <a:gd name="connsiteX6" fmla="*/ 9950 w 10000"/>
              <a:gd name="connsiteY6" fmla="*/ 1546 h 10000"/>
              <a:gd name="connsiteX7" fmla="*/ 9928 w 10000"/>
              <a:gd name="connsiteY7" fmla="*/ 2007 h 10000"/>
              <a:gd name="connsiteX8" fmla="*/ 9895 w 10000"/>
              <a:gd name="connsiteY8" fmla="*/ 2467 h 10000"/>
              <a:gd name="connsiteX9" fmla="*/ 9851 w 10000"/>
              <a:gd name="connsiteY9" fmla="*/ 2928 h 10000"/>
              <a:gd name="connsiteX10" fmla="*/ 9801 w 10000"/>
              <a:gd name="connsiteY10" fmla="*/ 3388 h 10000"/>
              <a:gd name="connsiteX11" fmla="*/ 9735 w 10000"/>
              <a:gd name="connsiteY11" fmla="*/ 3816 h 10000"/>
              <a:gd name="connsiteX12" fmla="*/ 9702 w 10000"/>
              <a:gd name="connsiteY12" fmla="*/ 4046 h 10000"/>
              <a:gd name="connsiteX13" fmla="*/ 9658 w 10000"/>
              <a:gd name="connsiteY13" fmla="*/ 4243 h 10000"/>
              <a:gd name="connsiteX14" fmla="*/ 9619 w 10000"/>
              <a:gd name="connsiteY14" fmla="*/ 4408 h 10000"/>
              <a:gd name="connsiteX15" fmla="*/ 9569 w 10000"/>
              <a:gd name="connsiteY15" fmla="*/ 4605 h 10000"/>
              <a:gd name="connsiteX16" fmla="*/ 9520 w 10000"/>
              <a:gd name="connsiteY16" fmla="*/ 4737 h 10000"/>
              <a:gd name="connsiteX17" fmla="*/ 9470 w 10000"/>
              <a:gd name="connsiteY17" fmla="*/ 4901 h 10000"/>
              <a:gd name="connsiteX18" fmla="*/ 9415 w 10000"/>
              <a:gd name="connsiteY18" fmla="*/ 5000 h 10000"/>
              <a:gd name="connsiteX19" fmla="*/ 9348 w 10000"/>
              <a:gd name="connsiteY19" fmla="*/ 5099 h 10000"/>
              <a:gd name="connsiteX20" fmla="*/ 9288 w 10000"/>
              <a:gd name="connsiteY20" fmla="*/ 5197 h 10000"/>
              <a:gd name="connsiteX21" fmla="*/ 9216 w 10000"/>
              <a:gd name="connsiteY21" fmla="*/ 5230 h 10000"/>
              <a:gd name="connsiteX22" fmla="*/ 9216 w 10000"/>
              <a:gd name="connsiteY22" fmla="*/ 5230 h 10000"/>
              <a:gd name="connsiteX23" fmla="*/ 1190 w 10000"/>
              <a:gd name="connsiteY23" fmla="*/ 9414 h 10000"/>
              <a:gd name="connsiteX24" fmla="*/ 0 w 10000"/>
              <a:gd name="connsiteY24" fmla="*/ 10000 h 10000"/>
              <a:gd name="connsiteX25" fmla="*/ 10000 w 10000"/>
              <a:gd name="connsiteY25" fmla="*/ 10000 h 10000"/>
              <a:gd name="connsiteX0" fmla="*/ 10000 w 10000"/>
              <a:gd name="connsiteY0" fmla="*/ 10000 h 10011"/>
              <a:gd name="connsiteX1" fmla="*/ 10000 w 10000"/>
              <a:gd name="connsiteY1" fmla="*/ 0 h 10011"/>
              <a:gd name="connsiteX2" fmla="*/ 10000 w 10000"/>
              <a:gd name="connsiteY2" fmla="*/ 0 h 10011"/>
              <a:gd name="connsiteX3" fmla="*/ 10000 w 10000"/>
              <a:gd name="connsiteY3" fmla="*/ 230 h 10011"/>
              <a:gd name="connsiteX4" fmla="*/ 9983 w 10000"/>
              <a:gd name="connsiteY4" fmla="*/ 757 h 10011"/>
              <a:gd name="connsiteX5" fmla="*/ 9972 w 10000"/>
              <a:gd name="connsiteY5" fmla="*/ 1118 h 10011"/>
              <a:gd name="connsiteX6" fmla="*/ 9950 w 10000"/>
              <a:gd name="connsiteY6" fmla="*/ 1546 h 10011"/>
              <a:gd name="connsiteX7" fmla="*/ 9928 w 10000"/>
              <a:gd name="connsiteY7" fmla="*/ 2007 h 10011"/>
              <a:gd name="connsiteX8" fmla="*/ 9895 w 10000"/>
              <a:gd name="connsiteY8" fmla="*/ 2467 h 10011"/>
              <a:gd name="connsiteX9" fmla="*/ 9851 w 10000"/>
              <a:gd name="connsiteY9" fmla="*/ 2928 h 10011"/>
              <a:gd name="connsiteX10" fmla="*/ 9801 w 10000"/>
              <a:gd name="connsiteY10" fmla="*/ 3388 h 10011"/>
              <a:gd name="connsiteX11" fmla="*/ 9735 w 10000"/>
              <a:gd name="connsiteY11" fmla="*/ 3816 h 10011"/>
              <a:gd name="connsiteX12" fmla="*/ 9702 w 10000"/>
              <a:gd name="connsiteY12" fmla="*/ 4046 h 10011"/>
              <a:gd name="connsiteX13" fmla="*/ 9658 w 10000"/>
              <a:gd name="connsiteY13" fmla="*/ 4243 h 10011"/>
              <a:gd name="connsiteX14" fmla="*/ 9619 w 10000"/>
              <a:gd name="connsiteY14" fmla="*/ 4408 h 10011"/>
              <a:gd name="connsiteX15" fmla="*/ 9569 w 10000"/>
              <a:gd name="connsiteY15" fmla="*/ 4605 h 10011"/>
              <a:gd name="connsiteX16" fmla="*/ 9520 w 10000"/>
              <a:gd name="connsiteY16" fmla="*/ 4737 h 10011"/>
              <a:gd name="connsiteX17" fmla="*/ 9470 w 10000"/>
              <a:gd name="connsiteY17" fmla="*/ 4901 h 10011"/>
              <a:gd name="connsiteX18" fmla="*/ 9415 w 10000"/>
              <a:gd name="connsiteY18" fmla="*/ 5000 h 10011"/>
              <a:gd name="connsiteX19" fmla="*/ 9348 w 10000"/>
              <a:gd name="connsiteY19" fmla="*/ 5099 h 10011"/>
              <a:gd name="connsiteX20" fmla="*/ 9288 w 10000"/>
              <a:gd name="connsiteY20" fmla="*/ 5197 h 10011"/>
              <a:gd name="connsiteX21" fmla="*/ 9216 w 10000"/>
              <a:gd name="connsiteY21" fmla="*/ 5230 h 10011"/>
              <a:gd name="connsiteX22" fmla="*/ 9216 w 10000"/>
              <a:gd name="connsiteY22" fmla="*/ 5230 h 10011"/>
              <a:gd name="connsiteX23" fmla="*/ 1190 w 10000"/>
              <a:gd name="connsiteY23" fmla="*/ 9414 h 10011"/>
              <a:gd name="connsiteX24" fmla="*/ 0 w 10000"/>
              <a:gd name="connsiteY24" fmla="*/ 10000 h 10011"/>
              <a:gd name="connsiteX25" fmla="*/ 1185 w 10000"/>
              <a:gd name="connsiteY25" fmla="*/ 10011 h 10011"/>
              <a:gd name="connsiteX26" fmla="*/ 10000 w 10000"/>
              <a:gd name="connsiteY26" fmla="*/ 10000 h 10011"/>
              <a:gd name="connsiteX0" fmla="*/ 8815 w 8815"/>
              <a:gd name="connsiteY0" fmla="*/ 10000 h 10011"/>
              <a:gd name="connsiteX1" fmla="*/ 8815 w 8815"/>
              <a:gd name="connsiteY1" fmla="*/ 0 h 10011"/>
              <a:gd name="connsiteX2" fmla="*/ 8815 w 8815"/>
              <a:gd name="connsiteY2" fmla="*/ 0 h 10011"/>
              <a:gd name="connsiteX3" fmla="*/ 8815 w 8815"/>
              <a:gd name="connsiteY3" fmla="*/ 230 h 10011"/>
              <a:gd name="connsiteX4" fmla="*/ 8798 w 8815"/>
              <a:gd name="connsiteY4" fmla="*/ 757 h 10011"/>
              <a:gd name="connsiteX5" fmla="*/ 8787 w 8815"/>
              <a:gd name="connsiteY5" fmla="*/ 1118 h 10011"/>
              <a:gd name="connsiteX6" fmla="*/ 8765 w 8815"/>
              <a:gd name="connsiteY6" fmla="*/ 1546 h 10011"/>
              <a:gd name="connsiteX7" fmla="*/ 8743 w 8815"/>
              <a:gd name="connsiteY7" fmla="*/ 2007 h 10011"/>
              <a:gd name="connsiteX8" fmla="*/ 8710 w 8815"/>
              <a:gd name="connsiteY8" fmla="*/ 2467 h 10011"/>
              <a:gd name="connsiteX9" fmla="*/ 8666 w 8815"/>
              <a:gd name="connsiteY9" fmla="*/ 2928 h 10011"/>
              <a:gd name="connsiteX10" fmla="*/ 8616 w 8815"/>
              <a:gd name="connsiteY10" fmla="*/ 3388 h 10011"/>
              <a:gd name="connsiteX11" fmla="*/ 8550 w 8815"/>
              <a:gd name="connsiteY11" fmla="*/ 3816 h 10011"/>
              <a:gd name="connsiteX12" fmla="*/ 8517 w 8815"/>
              <a:gd name="connsiteY12" fmla="*/ 4046 h 10011"/>
              <a:gd name="connsiteX13" fmla="*/ 8473 w 8815"/>
              <a:gd name="connsiteY13" fmla="*/ 4243 h 10011"/>
              <a:gd name="connsiteX14" fmla="*/ 8434 w 8815"/>
              <a:gd name="connsiteY14" fmla="*/ 4408 h 10011"/>
              <a:gd name="connsiteX15" fmla="*/ 8384 w 8815"/>
              <a:gd name="connsiteY15" fmla="*/ 4605 h 10011"/>
              <a:gd name="connsiteX16" fmla="*/ 8335 w 8815"/>
              <a:gd name="connsiteY16" fmla="*/ 4737 h 10011"/>
              <a:gd name="connsiteX17" fmla="*/ 8285 w 8815"/>
              <a:gd name="connsiteY17" fmla="*/ 4901 h 10011"/>
              <a:gd name="connsiteX18" fmla="*/ 8230 w 8815"/>
              <a:gd name="connsiteY18" fmla="*/ 5000 h 10011"/>
              <a:gd name="connsiteX19" fmla="*/ 8163 w 8815"/>
              <a:gd name="connsiteY19" fmla="*/ 5099 h 10011"/>
              <a:gd name="connsiteX20" fmla="*/ 8103 w 8815"/>
              <a:gd name="connsiteY20" fmla="*/ 5197 h 10011"/>
              <a:gd name="connsiteX21" fmla="*/ 8031 w 8815"/>
              <a:gd name="connsiteY21" fmla="*/ 5230 h 10011"/>
              <a:gd name="connsiteX22" fmla="*/ 8031 w 8815"/>
              <a:gd name="connsiteY22" fmla="*/ 5230 h 10011"/>
              <a:gd name="connsiteX23" fmla="*/ 5 w 8815"/>
              <a:gd name="connsiteY23" fmla="*/ 9414 h 10011"/>
              <a:gd name="connsiteX24" fmla="*/ 0 w 8815"/>
              <a:gd name="connsiteY24" fmla="*/ 10011 h 10011"/>
              <a:gd name="connsiteX25" fmla="*/ 8815 w 8815"/>
              <a:gd name="connsiteY25" fmla="*/ 10000 h 10011"/>
              <a:gd name="connsiteX0" fmla="*/ 9996 w 9996"/>
              <a:gd name="connsiteY0" fmla="*/ 9989 h 10000"/>
              <a:gd name="connsiteX1" fmla="*/ 9996 w 9996"/>
              <a:gd name="connsiteY1" fmla="*/ 0 h 10000"/>
              <a:gd name="connsiteX2" fmla="*/ 9996 w 9996"/>
              <a:gd name="connsiteY2" fmla="*/ 0 h 10000"/>
              <a:gd name="connsiteX3" fmla="*/ 9996 w 9996"/>
              <a:gd name="connsiteY3" fmla="*/ 230 h 10000"/>
              <a:gd name="connsiteX4" fmla="*/ 9977 w 9996"/>
              <a:gd name="connsiteY4" fmla="*/ 756 h 10000"/>
              <a:gd name="connsiteX5" fmla="*/ 9964 w 9996"/>
              <a:gd name="connsiteY5" fmla="*/ 1117 h 10000"/>
              <a:gd name="connsiteX6" fmla="*/ 9939 w 9996"/>
              <a:gd name="connsiteY6" fmla="*/ 1544 h 10000"/>
              <a:gd name="connsiteX7" fmla="*/ 9914 w 9996"/>
              <a:gd name="connsiteY7" fmla="*/ 2005 h 10000"/>
              <a:gd name="connsiteX8" fmla="*/ 9877 w 9996"/>
              <a:gd name="connsiteY8" fmla="*/ 2464 h 10000"/>
              <a:gd name="connsiteX9" fmla="*/ 9827 w 9996"/>
              <a:gd name="connsiteY9" fmla="*/ 2925 h 10000"/>
              <a:gd name="connsiteX10" fmla="*/ 9770 w 9996"/>
              <a:gd name="connsiteY10" fmla="*/ 3384 h 10000"/>
              <a:gd name="connsiteX11" fmla="*/ 9695 w 9996"/>
              <a:gd name="connsiteY11" fmla="*/ 3812 h 10000"/>
              <a:gd name="connsiteX12" fmla="*/ 9658 w 9996"/>
              <a:gd name="connsiteY12" fmla="*/ 4042 h 10000"/>
              <a:gd name="connsiteX13" fmla="*/ 9608 w 9996"/>
              <a:gd name="connsiteY13" fmla="*/ 4238 h 10000"/>
              <a:gd name="connsiteX14" fmla="*/ 9564 w 9996"/>
              <a:gd name="connsiteY14" fmla="*/ 4403 h 10000"/>
              <a:gd name="connsiteX15" fmla="*/ 9507 w 9996"/>
              <a:gd name="connsiteY15" fmla="*/ 4600 h 10000"/>
              <a:gd name="connsiteX16" fmla="*/ 9451 w 9996"/>
              <a:gd name="connsiteY16" fmla="*/ 4732 h 10000"/>
              <a:gd name="connsiteX17" fmla="*/ 9395 w 9996"/>
              <a:gd name="connsiteY17" fmla="*/ 4896 h 10000"/>
              <a:gd name="connsiteX18" fmla="*/ 9332 w 9996"/>
              <a:gd name="connsiteY18" fmla="*/ 4995 h 10000"/>
              <a:gd name="connsiteX19" fmla="*/ 9256 w 9996"/>
              <a:gd name="connsiteY19" fmla="*/ 5093 h 10000"/>
              <a:gd name="connsiteX20" fmla="*/ 9188 w 9996"/>
              <a:gd name="connsiteY20" fmla="*/ 5191 h 10000"/>
              <a:gd name="connsiteX21" fmla="*/ 9107 w 9996"/>
              <a:gd name="connsiteY21" fmla="*/ 5224 h 10000"/>
              <a:gd name="connsiteX22" fmla="*/ 9107 w 9996"/>
              <a:gd name="connsiteY22" fmla="*/ 5224 h 10000"/>
              <a:gd name="connsiteX23" fmla="*/ 2 w 9996"/>
              <a:gd name="connsiteY23" fmla="*/ 9404 h 10000"/>
              <a:gd name="connsiteX24" fmla="*/ 0 w 9996"/>
              <a:gd name="connsiteY24" fmla="*/ 10000 h 10000"/>
              <a:gd name="connsiteX25" fmla="*/ 9996 w 9996"/>
              <a:gd name="connsiteY25" fmla="*/ 9989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9996" h="10000">
                <a:moveTo>
                  <a:pt x="9996" y="9989"/>
                </a:moveTo>
                <a:lnTo>
                  <a:pt x="9996" y="0"/>
                </a:lnTo>
                <a:lnTo>
                  <a:pt x="9996" y="0"/>
                </a:lnTo>
                <a:lnTo>
                  <a:pt x="9996" y="230"/>
                </a:lnTo>
                <a:cubicBezTo>
                  <a:pt x="9989" y="406"/>
                  <a:pt x="9984" y="580"/>
                  <a:pt x="9977" y="756"/>
                </a:cubicBezTo>
                <a:cubicBezTo>
                  <a:pt x="9972" y="876"/>
                  <a:pt x="9969" y="997"/>
                  <a:pt x="9964" y="1117"/>
                </a:cubicBezTo>
                <a:cubicBezTo>
                  <a:pt x="9956" y="1260"/>
                  <a:pt x="9947" y="1401"/>
                  <a:pt x="9939" y="1544"/>
                </a:cubicBezTo>
                <a:cubicBezTo>
                  <a:pt x="9931" y="1698"/>
                  <a:pt x="9922" y="1851"/>
                  <a:pt x="9914" y="2005"/>
                </a:cubicBezTo>
                <a:cubicBezTo>
                  <a:pt x="9902" y="2158"/>
                  <a:pt x="9889" y="2311"/>
                  <a:pt x="9877" y="2464"/>
                </a:cubicBezTo>
                <a:cubicBezTo>
                  <a:pt x="9860" y="2618"/>
                  <a:pt x="9844" y="2771"/>
                  <a:pt x="9827" y="2925"/>
                </a:cubicBezTo>
                <a:cubicBezTo>
                  <a:pt x="9808" y="3078"/>
                  <a:pt x="9790" y="3231"/>
                  <a:pt x="9770" y="3384"/>
                </a:cubicBezTo>
                <a:cubicBezTo>
                  <a:pt x="9745" y="3527"/>
                  <a:pt x="9720" y="3669"/>
                  <a:pt x="9695" y="3812"/>
                </a:cubicBezTo>
                <a:cubicBezTo>
                  <a:pt x="9683" y="3889"/>
                  <a:pt x="9670" y="3965"/>
                  <a:pt x="9658" y="4042"/>
                </a:cubicBezTo>
                <a:cubicBezTo>
                  <a:pt x="9641" y="4107"/>
                  <a:pt x="9625" y="4172"/>
                  <a:pt x="9608" y="4238"/>
                </a:cubicBezTo>
                <a:cubicBezTo>
                  <a:pt x="9593" y="4293"/>
                  <a:pt x="9579" y="4348"/>
                  <a:pt x="9564" y="4403"/>
                </a:cubicBezTo>
                <a:cubicBezTo>
                  <a:pt x="9544" y="4469"/>
                  <a:pt x="9526" y="4534"/>
                  <a:pt x="9507" y="4600"/>
                </a:cubicBezTo>
                <a:cubicBezTo>
                  <a:pt x="9489" y="4644"/>
                  <a:pt x="9470" y="4688"/>
                  <a:pt x="9451" y="4732"/>
                </a:cubicBezTo>
                <a:cubicBezTo>
                  <a:pt x="9432" y="4787"/>
                  <a:pt x="9414" y="4841"/>
                  <a:pt x="9395" y="4896"/>
                </a:cubicBezTo>
                <a:lnTo>
                  <a:pt x="9332" y="4995"/>
                </a:lnTo>
                <a:cubicBezTo>
                  <a:pt x="9307" y="5027"/>
                  <a:pt x="9281" y="5060"/>
                  <a:pt x="9256" y="5093"/>
                </a:cubicBezTo>
                <a:cubicBezTo>
                  <a:pt x="9234" y="5126"/>
                  <a:pt x="9211" y="5158"/>
                  <a:pt x="9188" y="5191"/>
                </a:cubicBezTo>
                <a:lnTo>
                  <a:pt x="9107" y="5224"/>
                </a:lnTo>
                <a:lnTo>
                  <a:pt x="9107" y="5224"/>
                </a:lnTo>
                <a:lnTo>
                  <a:pt x="2" y="9404"/>
                </a:lnTo>
                <a:cubicBezTo>
                  <a:pt x="-1" y="9602"/>
                  <a:pt x="2" y="9801"/>
                  <a:pt x="0" y="10000"/>
                </a:cubicBezTo>
                <a:lnTo>
                  <a:pt x="9996" y="9989"/>
                </a:lnTo>
                <a:close/>
              </a:path>
            </a:pathLst>
          </a:custGeom>
          <a:solidFill>
            <a:schemeClr val="accent6"/>
          </a:solidFill>
          <a:ln>
            <a:noFill/>
          </a:ln>
        </p:spPr>
        <p:txBody>
          <a:bodyPr vert="horz" wrap="square" lIns="133428" tIns="66715" rIns="133428" bIns="66715" numCol="1" anchor="t" anchorCtr="0" compatLnSpc="1">
            <a:prstTxWarp prst="textNoShape">
              <a:avLst/>
            </a:prstTxWarp>
          </a:bodyPr>
          <a:lstStyle/>
          <a:p>
            <a:endParaRPr lang="ja-JP" altLang="en-US" sz="2533"/>
          </a:p>
        </p:txBody>
      </p:sp>
      <p:sp>
        <p:nvSpPr>
          <p:cNvPr id="2" name="タイトル 1"/>
          <p:cNvSpPr>
            <a:spLocks noGrp="1"/>
          </p:cNvSpPr>
          <p:nvPr>
            <p:ph type="title"/>
          </p:nvPr>
        </p:nvSpPr>
        <p:spPr>
          <a:xfrm>
            <a:off x="368549" y="194236"/>
            <a:ext cx="9791452" cy="540000"/>
          </a:xfrm>
          <a:prstGeom prst="rect">
            <a:avLst/>
          </a:prstGeom>
        </p:spPr>
        <p:txBody>
          <a:bodyPr lIns="95767" tIns="47884" rIns="95767" bIns="47884"/>
          <a:lstStyle>
            <a:lvl1pPr>
              <a:defRPr>
                <a:latin typeface="Meiryo UI" panose="020B0604030504040204" pitchFamily="50" charset="-128"/>
                <a:ea typeface="Meiryo UI" panose="020B0604030504040204" pitchFamily="50" charset="-128"/>
              </a:defRPr>
            </a:lvl1pPr>
          </a:lstStyle>
          <a:p>
            <a:r>
              <a:rPr kumimoji="1" lang="ja-JP" altLang="en-US"/>
              <a:t>マスター タイトルの書式設定</a:t>
            </a:r>
          </a:p>
        </p:txBody>
      </p:sp>
      <p:sp>
        <p:nvSpPr>
          <p:cNvPr id="3" name="コンテンツ プレースホルダー 2"/>
          <p:cNvSpPr>
            <a:spLocks noGrp="1"/>
          </p:cNvSpPr>
          <p:nvPr>
            <p:ph idx="1"/>
          </p:nvPr>
        </p:nvSpPr>
        <p:spPr>
          <a:xfrm>
            <a:off x="368551" y="903600"/>
            <a:ext cx="11583452" cy="5540400"/>
          </a:xfrm>
          <a:prstGeom prst="rect">
            <a:avLst/>
          </a:prstGeom>
        </p:spPr>
        <p:txBody>
          <a:bodyPr lIns="95767" tIns="47884" rIns="95767" bIns="47884"/>
          <a:lstStyle>
            <a:lvl1pPr>
              <a:defRPr>
                <a:latin typeface="Meiryo UI" panose="020B0604030504040204" pitchFamily="50" charset="-128"/>
                <a:ea typeface="Meiryo UI" panose="020B0604030504040204" pitchFamily="50" charset="-128"/>
              </a:defRPr>
            </a:lvl1pPr>
            <a:lvl2pPr indent="-236233">
              <a:defRPr>
                <a:latin typeface="Meiryo UI" panose="020B0604030504040204" pitchFamily="50" charset="-128"/>
                <a:ea typeface="Meiryo UI" panose="020B0604030504040204" pitchFamily="50" charset="-128"/>
              </a:defRPr>
            </a:lvl2pPr>
            <a:lvl3pPr indent="-236233">
              <a:defRPr>
                <a:latin typeface="Meiryo UI" panose="020B0604030504040204" pitchFamily="50" charset="-128"/>
                <a:ea typeface="Meiryo UI" panose="020B0604030504040204" pitchFamily="50" charset="-128"/>
              </a:defRPr>
            </a:lvl3pPr>
            <a:lvl4pPr indent="-236233">
              <a:defRPr>
                <a:latin typeface="Meiryo UI" panose="020B0604030504040204" pitchFamily="50" charset="-128"/>
                <a:ea typeface="Meiryo UI" panose="020B0604030504040204" pitchFamily="50" charset="-128"/>
              </a:defRPr>
            </a:lvl4pPr>
            <a:lvl5pPr indent="-236233">
              <a:defRPr>
                <a:latin typeface="Meiryo UI" panose="020B0604030504040204" pitchFamily="50" charset="-128"/>
                <a:ea typeface="Meiryo UI" panose="020B0604030504040204" pitchFamily="50" charset="-128"/>
              </a:defRPr>
            </a:lvl5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6" name="スライド番号プレースホルダー 5"/>
          <p:cNvSpPr>
            <a:spLocks noGrp="1"/>
          </p:cNvSpPr>
          <p:nvPr>
            <p:ph type="sldNum" sz="quarter" idx="12"/>
          </p:nvPr>
        </p:nvSpPr>
        <p:spPr>
          <a:xfrm>
            <a:off x="11524630" y="6468878"/>
            <a:ext cx="555811" cy="289299"/>
          </a:xfrm>
          <a:prstGeom prst="rect">
            <a:avLst/>
          </a:prstGeom>
        </p:spPr>
        <p:txBody>
          <a:bodyPr lIns="95767" tIns="47884" rIns="95767" bIns="47884"/>
          <a:lstStyle>
            <a:lvl1pPr>
              <a:defRPr sz="1333"/>
            </a:lvl1pPr>
          </a:lstStyle>
          <a:p>
            <a:fld id="{2FF5E1DE-7B95-8A44-8552-65323269AE41}" type="slidenum">
              <a:rPr lang="ja-JP" altLang="en-US" smtClean="0"/>
              <a:pPr/>
              <a:t>‹#›</a:t>
            </a:fld>
            <a:endParaRPr lang="ja-JP" altLang="en-US"/>
          </a:p>
        </p:txBody>
      </p:sp>
      <p:cxnSp>
        <p:nvCxnSpPr>
          <p:cNvPr id="8" name="直線コネクタ 7"/>
          <p:cNvCxnSpPr/>
          <p:nvPr userDrawn="1"/>
        </p:nvCxnSpPr>
        <p:spPr>
          <a:xfrm>
            <a:off x="239959" y="817200"/>
            <a:ext cx="11709966" cy="0"/>
          </a:xfrm>
          <a:prstGeom prst="line">
            <a:avLst/>
          </a:prstGeom>
          <a:ln>
            <a:solidFill>
              <a:srgbClr val="C7000D"/>
            </a:solidFill>
          </a:ln>
          <a:effectLst/>
        </p:spPr>
        <p:style>
          <a:lnRef idx="2">
            <a:schemeClr val="accent1"/>
          </a:lnRef>
          <a:fillRef idx="0">
            <a:schemeClr val="accent1"/>
          </a:fillRef>
          <a:effectRef idx="1">
            <a:schemeClr val="accent1"/>
          </a:effectRef>
          <a:fontRef idx="minor">
            <a:schemeClr val="tx1"/>
          </a:fontRef>
        </p:style>
      </p:cxnSp>
      <p:pic>
        <p:nvPicPr>
          <p:cNvPr id="10" name="Picture 2" descr="C:\Users\00057835\AppData\Local\Temp\notesEA5B2A\グループ併記ロゴ（縦・英文）.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0756324" y="26652"/>
            <a:ext cx="1434080" cy="85801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53647466"/>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type="title" preserve="1">
  <p:cSld name="6_タイトル スライド">
    <p:spTree>
      <p:nvGrpSpPr>
        <p:cNvPr id="1" name=""/>
        <p:cNvGrpSpPr/>
        <p:nvPr/>
      </p:nvGrpSpPr>
      <p:grpSpPr>
        <a:xfrm>
          <a:off x="0" y="0"/>
          <a:ext cx="0" cy="0"/>
          <a:chOff x="0" y="0"/>
          <a:chExt cx="0" cy="0"/>
        </a:xfrm>
      </p:grpSpPr>
      <p:sp>
        <p:nvSpPr>
          <p:cNvPr id="10" name="Freeform 5"/>
          <p:cNvSpPr>
            <a:spLocks/>
          </p:cNvSpPr>
          <p:nvPr userDrawn="1"/>
        </p:nvSpPr>
        <p:spPr bwMode="auto">
          <a:xfrm>
            <a:off x="233538" y="169337"/>
            <a:ext cx="11730712" cy="5207000"/>
          </a:xfrm>
          <a:custGeom>
            <a:avLst/>
            <a:gdLst>
              <a:gd name="T0" fmla="*/ 0 w 1618"/>
              <a:gd name="T1" fmla="*/ 0 h 957"/>
              <a:gd name="T2" fmla="*/ 0 w 1618"/>
              <a:gd name="T3" fmla="*/ 957 h 957"/>
              <a:gd name="T4" fmla="*/ 1279 w 1618"/>
              <a:gd name="T5" fmla="*/ 842 h 957"/>
              <a:gd name="T6" fmla="*/ 1618 w 1618"/>
              <a:gd name="T7" fmla="*/ 472 h 957"/>
              <a:gd name="T8" fmla="*/ 1618 w 1618"/>
              <a:gd name="T9" fmla="*/ 0 h 957"/>
              <a:gd name="T10" fmla="*/ 0 w 1618"/>
              <a:gd name="T11" fmla="*/ 0 h 957"/>
            </a:gdLst>
            <a:ahLst/>
            <a:cxnLst>
              <a:cxn ang="0">
                <a:pos x="T0" y="T1"/>
              </a:cxn>
              <a:cxn ang="0">
                <a:pos x="T2" y="T3"/>
              </a:cxn>
              <a:cxn ang="0">
                <a:pos x="T4" y="T5"/>
              </a:cxn>
              <a:cxn ang="0">
                <a:pos x="T6" y="T7"/>
              </a:cxn>
              <a:cxn ang="0">
                <a:pos x="T8" y="T9"/>
              </a:cxn>
              <a:cxn ang="0">
                <a:pos x="T10" y="T11"/>
              </a:cxn>
            </a:cxnLst>
            <a:rect l="0" t="0" r="r" b="b"/>
            <a:pathLst>
              <a:path w="1618" h="957">
                <a:moveTo>
                  <a:pt x="0" y="0"/>
                </a:moveTo>
                <a:cubicBezTo>
                  <a:pt x="0" y="957"/>
                  <a:pt x="0" y="957"/>
                  <a:pt x="0" y="957"/>
                </a:cubicBezTo>
                <a:cubicBezTo>
                  <a:pt x="1279" y="842"/>
                  <a:pt x="1279" y="842"/>
                  <a:pt x="1279" y="842"/>
                </a:cubicBezTo>
                <a:cubicBezTo>
                  <a:pt x="1465" y="825"/>
                  <a:pt x="1618" y="659"/>
                  <a:pt x="1618" y="472"/>
                </a:cubicBezTo>
                <a:cubicBezTo>
                  <a:pt x="1618" y="0"/>
                  <a:pt x="1618" y="0"/>
                  <a:pt x="1618" y="0"/>
                </a:cubicBezTo>
                <a:lnTo>
                  <a:pt x="0" y="0"/>
                </a:lnTo>
                <a:close/>
              </a:path>
            </a:pathLst>
          </a:custGeom>
          <a:solidFill>
            <a:schemeClr val="accent6"/>
          </a:solidFill>
          <a:ln>
            <a:noFill/>
          </a:ln>
        </p:spPr>
        <p:txBody>
          <a:bodyPr lIns="127667" tIns="63834" rIns="127667" bIns="63834"/>
          <a:lstStyle/>
          <a:p>
            <a:endParaRPr lang="ja-JP" altLang="en-US" sz="2533">
              <a:latin typeface="Meiryo UI" panose="020B0604030504040204" pitchFamily="50" charset="-128"/>
              <a:ea typeface="Meiryo UI" panose="020B0604030504040204" pitchFamily="50" charset="-128"/>
            </a:endParaRPr>
          </a:p>
        </p:txBody>
      </p:sp>
      <p:sp>
        <p:nvSpPr>
          <p:cNvPr id="2" name="タイトル 1"/>
          <p:cNvSpPr>
            <a:spLocks noGrp="1"/>
          </p:cNvSpPr>
          <p:nvPr>
            <p:ph type="ctrTitle"/>
          </p:nvPr>
        </p:nvSpPr>
        <p:spPr>
          <a:xfrm>
            <a:off x="914400" y="1416804"/>
            <a:ext cx="10363200" cy="1470025"/>
          </a:xfrm>
          <a:prstGeom prst="rect">
            <a:avLst/>
          </a:prstGeom>
        </p:spPr>
        <p:txBody>
          <a:bodyPr lIns="95767" tIns="47884" rIns="95767" bIns="47884" anchor="b">
            <a:normAutofit/>
          </a:bodyPr>
          <a:lstStyle>
            <a:lvl1pPr algn="l">
              <a:defRPr sz="5199" kern="1200">
                <a:solidFill>
                  <a:schemeClr val="tx1"/>
                </a:solidFill>
                <a:latin typeface="Meiryo UI" panose="020B0604030504040204" pitchFamily="50" charset="-128"/>
                <a:ea typeface="Meiryo UI" panose="020B0604030504040204" pitchFamily="50" charset="-128"/>
              </a:defRPr>
            </a:lvl1pPr>
          </a:lstStyle>
          <a:p>
            <a:r>
              <a:rPr kumimoji="1" lang="ja-JP" altLang="en-US"/>
              <a:t>マスター タイトルの書式設定</a:t>
            </a:r>
          </a:p>
        </p:txBody>
      </p:sp>
      <p:sp>
        <p:nvSpPr>
          <p:cNvPr id="3" name="サブタイトル 2"/>
          <p:cNvSpPr>
            <a:spLocks noGrp="1"/>
          </p:cNvSpPr>
          <p:nvPr>
            <p:ph type="subTitle" idx="1"/>
          </p:nvPr>
        </p:nvSpPr>
        <p:spPr>
          <a:xfrm>
            <a:off x="916801" y="3420000"/>
            <a:ext cx="9691436" cy="977153"/>
          </a:xfrm>
          <a:prstGeom prst="rect">
            <a:avLst/>
          </a:prstGeom>
        </p:spPr>
        <p:txBody>
          <a:bodyPr lIns="95767" tIns="47884" rIns="95767" bIns="47884">
            <a:normAutofit/>
          </a:bodyPr>
          <a:lstStyle>
            <a:lvl1pPr marL="0" indent="0" algn="l">
              <a:buNone/>
              <a:defRPr sz="3333">
                <a:solidFill>
                  <a:schemeClr val="tx1"/>
                </a:solidFill>
                <a:latin typeface="Meiryo UI" panose="020B0604030504040204" pitchFamily="50" charset="-128"/>
                <a:ea typeface="Meiryo UI" panose="020B0604030504040204" pitchFamily="50" charset="-128"/>
              </a:defRPr>
            </a:lvl1pPr>
            <a:lvl2pPr marL="638335" indent="0" algn="ctr">
              <a:buNone/>
              <a:defRPr>
                <a:solidFill>
                  <a:schemeClr val="tx1">
                    <a:tint val="75000"/>
                  </a:schemeClr>
                </a:solidFill>
              </a:defRPr>
            </a:lvl2pPr>
            <a:lvl3pPr marL="1276669" indent="0" algn="ctr">
              <a:buNone/>
              <a:defRPr>
                <a:solidFill>
                  <a:schemeClr val="tx1">
                    <a:tint val="75000"/>
                  </a:schemeClr>
                </a:solidFill>
              </a:defRPr>
            </a:lvl3pPr>
            <a:lvl4pPr marL="1915003" indent="0" algn="ctr">
              <a:buNone/>
              <a:defRPr>
                <a:solidFill>
                  <a:schemeClr val="tx1">
                    <a:tint val="75000"/>
                  </a:schemeClr>
                </a:solidFill>
              </a:defRPr>
            </a:lvl4pPr>
            <a:lvl5pPr marL="2553338" indent="0" algn="ctr">
              <a:buNone/>
              <a:defRPr>
                <a:solidFill>
                  <a:schemeClr val="tx1">
                    <a:tint val="75000"/>
                  </a:schemeClr>
                </a:solidFill>
              </a:defRPr>
            </a:lvl5pPr>
            <a:lvl6pPr marL="3191671" indent="0" algn="ctr">
              <a:buNone/>
              <a:defRPr>
                <a:solidFill>
                  <a:schemeClr val="tx1">
                    <a:tint val="75000"/>
                  </a:schemeClr>
                </a:solidFill>
              </a:defRPr>
            </a:lvl6pPr>
            <a:lvl7pPr marL="3830007" indent="0" algn="ctr">
              <a:buNone/>
              <a:defRPr>
                <a:solidFill>
                  <a:schemeClr val="tx1">
                    <a:tint val="75000"/>
                  </a:schemeClr>
                </a:solidFill>
              </a:defRPr>
            </a:lvl7pPr>
            <a:lvl8pPr marL="4468342" indent="0" algn="ctr">
              <a:buNone/>
              <a:defRPr>
                <a:solidFill>
                  <a:schemeClr val="tx1">
                    <a:tint val="75000"/>
                  </a:schemeClr>
                </a:solidFill>
              </a:defRPr>
            </a:lvl8pPr>
            <a:lvl9pPr marL="5106676" indent="0" algn="ctr">
              <a:buNone/>
              <a:defRPr>
                <a:solidFill>
                  <a:schemeClr val="tx1">
                    <a:tint val="75000"/>
                  </a:schemeClr>
                </a:solidFill>
              </a:defRPr>
            </a:lvl9pPr>
          </a:lstStyle>
          <a:p>
            <a:r>
              <a:rPr kumimoji="1" lang="ja-JP" altLang="en-US"/>
              <a:t>マスター サブタイトルの書式設定</a:t>
            </a:r>
          </a:p>
        </p:txBody>
      </p:sp>
      <p:sp>
        <p:nvSpPr>
          <p:cNvPr id="15" name="フッター プレースホルダー 12"/>
          <p:cNvSpPr>
            <a:spLocks noGrp="1"/>
          </p:cNvSpPr>
          <p:nvPr>
            <p:ph type="ftr" sz="quarter" idx="11"/>
          </p:nvPr>
        </p:nvSpPr>
        <p:spPr>
          <a:xfrm>
            <a:off x="609600" y="6099529"/>
            <a:ext cx="3860800" cy="365125"/>
          </a:xfrm>
          <a:prstGeom prst="rect">
            <a:avLst/>
          </a:prstGeom>
        </p:spPr>
        <p:txBody>
          <a:bodyPr lIns="95767" tIns="47884" rIns="95767" bIns="47884"/>
          <a:lstStyle>
            <a:lvl1pPr algn="l">
              <a:defRPr sz="2266">
                <a:latin typeface="Meiryo UI" panose="020B0604030504040204" pitchFamily="50" charset="-128"/>
                <a:ea typeface="Meiryo UI" panose="020B0604030504040204" pitchFamily="50" charset="-128"/>
              </a:defRPr>
            </a:lvl1pPr>
          </a:lstStyle>
          <a:p>
            <a:endParaRPr lang="ja-JP" altLang="en-US"/>
          </a:p>
        </p:txBody>
      </p:sp>
      <p:sp>
        <p:nvSpPr>
          <p:cNvPr id="16" name="日付プレースホルダー 11"/>
          <p:cNvSpPr>
            <a:spLocks noGrp="1"/>
          </p:cNvSpPr>
          <p:nvPr>
            <p:ph type="dt" sz="half" idx="10"/>
          </p:nvPr>
        </p:nvSpPr>
        <p:spPr>
          <a:xfrm>
            <a:off x="609600" y="5691768"/>
            <a:ext cx="3860800" cy="365125"/>
          </a:xfrm>
          <a:prstGeom prst="rect">
            <a:avLst/>
          </a:prstGeom>
        </p:spPr>
        <p:txBody>
          <a:bodyPr lIns="95767" tIns="47884" rIns="95767" bIns="47884"/>
          <a:lstStyle>
            <a:lvl1pPr algn="l">
              <a:defRPr sz="2266">
                <a:solidFill>
                  <a:srgbClr val="000000"/>
                </a:solidFill>
                <a:latin typeface="Meiryo UI" panose="020B0604030504040204" pitchFamily="50" charset="-128"/>
                <a:ea typeface="Meiryo UI" panose="020B0604030504040204" pitchFamily="50" charset="-128"/>
              </a:defRPr>
            </a:lvl1pPr>
          </a:lstStyle>
          <a:p>
            <a:endParaRPr lang="ja-JP" altLang="en-US"/>
          </a:p>
        </p:txBody>
      </p:sp>
    </p:spTree>
    <p:extLst>
      <p:ext uri="{BB962C8B-B14F-4D97-AF65-F5344CB8AC3E}">
        <p14:creationId xmlns:p14="http://schemas.microsoft.com/office/powerpoint/2010/main" val="4155129015"/>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25_タイトルとコンテンツ">
    <p:spTree>
      <p:nvGrpSpPr>
        <p:cNvPr id="1" name=""/>
        <p:cNvGrpSpPr/>
        <p:nvPr/>
      </p:nvGrpSpPr>
      <p:grpSpPr>
        <a:xfrm>
          <a:off x="0" y="0"/>
          <a:ext cx="0" cy="0"/>
          <a:chOff x="0" y="0"/>
          <a:chExt cx="0" cy="0"/>
        </a:xfrm>
      </p:grpSpPr>
      <p:sp>
        <p:nvSpPr>
          <p:cNvPr id="7" name="Freeform 8"/>
          <p:cNvSpPr>
            <a:spLocks/>
          </p:cNvSpPr>
          <p:nvPr userDrawn="1"/>
        </p:nvSpPr>
        <p:spPr bwMode="auto">
          <a:xfrm>
            <a:off x="-2100" y="5505984"/>
            <a:ext cx="12192504" cy="1353504"/>
          </a:xfrm>
          <a:custGeom>
            <a:avLst/>
            <a:gdLst>
              <a:gd name="T0" fmla="*/ 3622 w 3622"/>
              <a:gd name="T1" fmla="*/ 608 h 608"/>
              <a:gd name="T2" fmla="*/ 3622 w 3622"/>
              <a:gd name="T3" fmla="*/ 0 h 608"/>
              <a:gd name="T4" fmla="*/ 3622 w 3622"/>
              <a:gd name="T5" fmla="*/ 0 h 608"/>
              <a:gd name="T6" fmla="*/ 3622 w 3622"/>
              <a:gd name="T7" fmla="*/ 14 h 608"/>
              <a:gd name="T8" fmla="*/ 3616 w 3622"/>
              <a:gd name="T9" fmla="*/ 46 h 608"/>
              <a:gd name="T10" fmla="*/ 3612 w 3622"/>
              <a:gd name="T11" fmla="*/ 68 h 608"/>
              <a:gd name="T12" fmla="*/ 3604 w 3622"/>
              <a:gd name="T13" fmla="*/ 94 h 608"/>
              <a:gd name="T14" fmla="*/ 3596 w 3622"/>
              <a:gd name="T15" fmla="*/ 122 h 608"/>
              <a:gd name="T16" fmla="*/ 3584 w 3622"/>
              <a:gd name="T17" fmla="*/ 150 h 608"/>
              <a:gd name="T18" fmla="*/ 3568 w 3622"/>
              <a:gd name="T19" fmla="*/ 178 h 608"/>
              <a:gd name="T20" fmla="*/ 3550 w 3622"/>
              <a:gd name="T21" fmla="*/ 206 h 608"/>
              <a:gd name="T22" fmla="*/ 3526 w 3622"/>
              <a:gd name="T23" fmla="*/ 232 h 608"/>
              <a:gd name="T24" fmla="*/ 3514 w 3622"/>
              <a:gd name="T25" fmla="*/ 246 h 608"/>
              <a:gd name="T26" fmla="*/ 3498 w 3622"/>
              <a:gd name="T27" fmla="*/ 258 h 608"/>
              <a:gd name="T28" fmla="*/ 3484 w 3622"/>
              <a:gd name="T29" fmla="*/ 268 h 608"/>
              <a:gd name="T30" fmla="*/ 3466 w 3622"/>
              <a:gd name="T31" fmla="*/ 280 h 608"/>
              <a:gd name="T32" fmla="*/ 3448 w 3622"/>
              <a:gd name="T33" fmla="*/ 288 h 608"/>
              <a:gd name="T34" fmla="*/ 3430 w 3622"/>
              <a:gd name="T35" fmla="*/ 298 h 608"/>
              <a:gd name="T36" fmla="*/ 3410 w 3622"/>
              <a:gd name="T37" fmla="*/ 304 h 608"/>
              <a:gd name="T38" fmla="*/ 3386 w 3622"/>
              <a:gd name="T39" fmla="*/ 310 h 608"/>
              <a:gd name="T40" fmla="*/ 3364 w 3622"/>
              <a:gd name="T41" fmla="*/ 316 h 608"/>
              <a:gd name="T42" fmla="*/ 3338 w 3622"/>
              <a:gd name="T43" fmla="*/ 318 h 608"/>
              <a:gd name="T44" fmla="*/ 3338 w 3622"/>
              <a:gd name="T45" fmla="*/ 318 h 608"/>
              <a:gd name="T46" fmla="*/ 0 w 3622"/>
              <a:gd name="T47" fmla="*/ 608 h 608"/>
              <a:gd name="T48" fmla="*/ 3622 w 3622"/>
              <a:gd name="T49" fmla="*/ 608 h 608"/>
              <a:gd name="connsiteX0" fmla="*/ 10000 w 10000"/>
              <a:gd name="connsiteY0" fmla="*/ 10000 h 10000"/>
              <a:gd name="connsiteX1" fmla="*/ 10000 w 10000"/>
              <a:gd name="connsiteY1" fmla="*/ 0 h 10000"/>
              <a:gd name="connsiteX2" fmla="*/ 10000 w 10000"/>
              <a:gd name="connsiteY2" fmla="*/ 0 h 10000"/>
              <a:gd name="connsiteX3" fmla="*/ 10000 w 10000"/>
              <a:gd name="connsiteY3" fmla="*/ 230 h 10000"/>
              <a:gd name="connsiteX4" fmla="*/ 9983 w 10000"/>
              <a:gd name="connsiteY4" fmla="*/ 757 h 10000"/>
              <a:gd name="connsiteX5" fmla="*/ 9972 w 10000"/>
              <a:gd name="connsiteY5" fmla="*/ 1118 h 10000"/>
              <a:gd name="connsiteX6" fmla="*/ 9950 w 10000"/>
              <a:gd name="connsiteY6" fmla="*/ 1546 h 10000"/>
              <a:gd name="connsiteX7" fmla="*/ 9928 w 10000"/>
              <a:gd name="connsiteY7" fmla="*/ 2007 h 10000"/>
              <a:gd name="connsiteX8" fmla="*/ 9895 w 10000"/>
              <a:gd name="connsiteY8" fmla="*/ 2467 h 10000"/>
              <a:gd name="connsiteX9" fmla="*/ 9851 w 10000"/>
              <a:gd name="connsiteY9" fmla="*/ 2928 h 10000"/>
              <a:gd name="connsiteX10" fmla="*/ 9801 w 10000"/>
              <a:gd name="connsiteY10" fmla="*/ 3388 h 10000"/>
              <a:gd name="connsiteX11" fmla="*/ 9735 w 10000"/>
              <a:gd name="connsiteY11" fmla="*/ 3816 h 10000"/>
              <a:gd name="connsiteX12" fmla="*/ 9702 w 10000"/>
              <a:gd name="connsiteY12" fmla="*/ 4046 h 10000"/>
              <a:gd name="connsiteX13" fmla="*/ 9658 w 10000"/>
              <a:gd name="connsiteY13" fmla="*/ 4243 h 10000"/>
              <a:gd name="connsiteX14" fmla="*/ 9619 w 10000"/>
              <a:gd name="connsiteY14" fmla="*/ 4408 h 10000"/>
              <a:gd name="connsiteX15" fmla="*/ 9569 w 10000"/>
              <a:gd name="connsiteY15" fmla="*/ 4605 h 10000"/>
              <a:gd name="connsiteX16" fmla="*/ 9520 w 10000"/>
              <a:gd name="connsiteY16" fmla="*/ 4737 h 10000"/>
              <a:gd name="connsiteX17" fmla="*/ 9470 w 10000"/>
              <a:gd name="connsiteY17" fmla="*/ 4901 h 10000"/>
              <a:gd name="connsiteX18" fmla="*/ 9415 w 10000"/>
              <a:gd name="connsiteY18" fmla="*/ 5000 h 10000"/>
              <a:gd name="connsiteX19" fmla="*/ 9348 w 10000"/>
              <a:gd name="connsiteY19" fmla="*/ 5099 h 10000"/>
              <a:gd name="connsiteX20" fmla="*/ 9288 w 10000"/>
              <a:gd name="connsiteY20" fmla="*/ 5197 h 10000"/>
              <a:gd name="connsiteX21" fmla="*/ 9216 w 10000"/>
              <a:gd name="connsiteY21" fmla="*/ 5230 h 10000"/>
              <a:gd name="connsiteX22" fmla="*/ 9216 w 10000"/>
              <a:gd name="connsiteY22" fmla="*/ 5230 h 10000"/>
              <a:gd name="connsiteX23" fmla="*/ 1190 w 10000"/>
              <a:gd name="connsiteY23" fmla="*/ 9414 h 10000"/>
              <a:gd name="connsiteX24" fmla="*/ 0 w 10000"/>
              <a:gd name="connsiteY24" fmla="*/ 10000 h 10000"/>
              <a:gd name="connsiteX25" fmla="*/ 10000 w 10000"/>
              <a:gd name="connsiteY25" fmla="*/ 10000 h 10000"/>
              <a:gd name="connsiteX0" fmla="*/ 10000 w 10000"/>
              <a:gd name="connsiteY0" fmla="*/ 10000 h 10011"/>
              <a:gd name="connsiteX1" fmla="*/ 10000 w 10000"/>
              <a:gd name="connsiteY1" fmla="*/ 0 h 10011"/>
              <a:gd name="connsiteX2" fmla="*/ 10000 w 10000"/>
              <a:gd name="connsiteY2" fmla="*/ 0 h 10011"/>
              <a:gd name="connsiteX3" fmla="*/ 10000 w 10000"/>
              <a:gd name="connsiteY3" fmla="*/ 230 h 10011"/>
              <a:gd name="connsiteX4" fmla="*/ 9983 w 10000"/>
              <a:gd name="connsiteY4" fmla="*/ 757 h 10011"/>
              <a:gd name="connsiteX5" fmla="*/ 9972 w 10000"/>
              <a:gd name="connsiteY5" fmla="*/ 1118 h 10011"/>
              <a:gd name="connsiteX6" fmla="*/ 9950 w 10000"/>
              <a:gd name="connsiteY6" fmla="*/ 1546 h 10011"/>
              <a:gd name="connsiteX7" fmla="*/ 9928 w 10000"/>
              <a:gd name="connsiteY7" fmla="*/ 2007 h 10011"/>
              <a:gd name="connsiteX8" fmla="*/ 9895 w 10000"/>
              <a:gd name="connsiteY8" fmla="*/ 2467 h 10011"/>
              <a:gd name="connsiteX9" fmla="*/ 9851 w 10000"/>
              <a:gd name="connsiteY9" fmla="*/ 2928 h 10011"/>
              <a:gd name="connsiteX10" fmla="*/ 9801 w 10000"/>
              <a:gd name="connsiteY10" fmla="*/ 3388 h 10011"/>
              <a:gd name="connsiteX11" fmla="*/ 9735 w 10000"/>
              <a:gd name="connsiteY11" fmla="*/ 3816 h 10011"/>
              <a:gd name="connsiteX12" fmla="*/ 9702 w 10000"/>
              <a:gd name="connsiteY12" fmla="*/ 4046 h 10011"/>
              <a:gd name="connsiteX13" fmla="*/ 9658 w 10000"/>
              <a:gd name="connsiteY13" fmla="*/ 4243 h 10011"/>
              <a:gd name="connsiteX14" fmla="*/ 9619 w 10000"/>
              <a:gd name="connsiteY14" fmla="*/ 4408 h 10011"/>
              <a:gd name="connsiteX15" fmla="*/ 9569 w 10000"/>
              <a:gd name="connsiteY15" fmla="*/ 4605 h 10011"/>
              <a:gd name="connsiteX16" fmla="*/ 9520 w 10000"/>
              <a:gd name="connsiteY16" fmla="*/ 4737 h 10011"/>
              <a:gd name="connsiteX17" fmla="*/ 9470 w 10000"/>
              <a:gd name="connsiteY17" fmla="*/ 4901 h 10011"/>
              <a:gd name="connsiteX18" fmla="*/ 9415 w 10000"/>
              <a:gd name="connsiteY18" fmla="*/ 5000 h 10011"/>
              <a:gd name="connsiteX19" fmla="*/ 9348 w 10000"/>
              <a:gd name="connsiteY19" fmla="*/ 5099 h 10011"/>
              <a:gd name="connsiteX20" fmla="*/ 9288 w 10000"/>
              <a:gd name="connsiteY20" fmla="*/ 5197 h 10011"/>
              <a:gd name="connsiteX21" fmla="*/ 9216 w 10000"/>
              <a:gd name="connsiteY21" fmla="*/ 5230 h 10011"/>
              <a:gd name="connsiteX22" fmla="*/ 9216 w 10000"/>
              <a:gd name="connsiteY22" fmla="*/ 5230 h 10011"/>
              <a:gd name="connsiteX23" fmla="*/ 1190 w 10000"/>
              <a:gd name="connsiteY23" fmla="*/ 9414 h 10011"/>
              <a:gd name="connsiteX24" fmla="*/ 0 w 10000"/>
              <a:gd name="connsiteY24" fmla="*/ 10000 h 10011"/>
              <a:gd name="connsiteX25" fmla="*/ 1185 w 10000"/>
              <a:gd name="connsiteY25" fmla="*/ 10011 h 10011"/>
              <a:gd name="connsiteX26" fmla="*/ 10000 w 10000"/>
              <a:gd name="connsiteY26" fmla="*/ 10000 h 10011"/>
              <a:gd name="connsiteX0" fmla="*/ 8815 w 8815"/>
              <a:gd name="connsiteY0" fmla="*/ 10000 h 10011"/>
              <a:gd name="connsiteX1" fmla="*/ 8815 w 8815"/>
              <a:gd name="connsiteY1" fmla="*/ 0 h 10011"/>
              <a:gd name="connsiteX2" fmla="*/ 8815 w 8815"/>
              <a:gd name="connsiteY2" fmla="*/ 0 h 10011"/>
              <a:gd name="connsiteX3" fmla="*/ 8815 w 8815"/>
              <a:gd name="connsiteY3" fmla="*/ 230 h 10011"/>
              <a:gd name="connsiteX4" fmla="*/ 8798 w 8815"/>
              <a:gd name="connsiteY4" fmla="*/ 757 h 10011"/>
              <a:gd name="connsiteX5" fmla="*/ 8787 w 8815"/>
              <a:gd name="connsiteY5" fmla="*/ 1118 h 10011"/>
              <a:gd name="connsiteX6" fmla="*/ 8765 w 8815"/>
              <a:gd name="connsiteY6" fmla="*/ 1546 h 10011"/>
              <a:gd name="connsiteX7" fmla="*/ 8743 w 8815"/>
              <a:gd name="connsiteY7" fmla="*/ 2007 h 10011"/>
              <a:gd name="connsiteX8" fmla="*/ 8710 w 8815"/>
              <a:gd name="connsiteY8" fmla="*/ 2467 h 10011"/>
              <a:gd name="connsiteX9" fmla="*/ 8666 w 8815"/>
              <a:gd name="connsiteY9" fmla="*/ 2928 h 10011"/>
              <a:gd name="connsiteX10" fmla="*/ 8616 w 8815"/>
              <a:gd name="connsiteY10" fmla="*/ 3388 h 10011"/>
              <a:gd name="connsiteX11" fmla="*/ 8550 w 8815"/>
              <a:gd name="connsiteY11" fmla="*/ 3816 h 10011"/>
              <a:gd name="connsiteX12" fmla="*/ 8517 w 8815"/>
              <a:gd name="connsiteY12" fmla="*/ 4046 h 10011"/>
              <a:gd name="connsiteX13" fmla="*/ 8473 w 8815"/>
              <a:gd name="connsiteY13" fmla="*/ 4243 h 10011"/>
              <a:gd name="connsiteX14" fmla="*/ 8434 w 8815"/>
              <a:gd name="connsiteY14" fmla="*/ 4408 h 10011"/>
              <a:gd name="connsiteX15" fmla="*/ 8384 w 8815"/>
              <a:gd name="connsiteY15" fmla="*/ 4605 h 10011"/>
              <a:gd name="connsiteX16" fmla="*/ 8335 w 8815"/>
              <a:gd name="connsiteY16" fmla="*/ 4737 h 10011"/>
              <a:gd name="connsiteX17" fmla="*/ 8285 w 8815"/>
              <a:gd name="connsiteY17" fmla="*/ 4901 h 10011"/>
              <a:gd name="connsiteX18" fmla="*/ 8230 w 8815"/>
              <a:gd name="connsiteY18" fmla="*/ 5000 h 10011"/>
              <a:gd name="connsiteX19" fmla="*/ 8163 w 8815"/>
              <a:gd name="connsiteY19" fmla="*/ 5099 h 10011"/>
              <a:gd name="connsiteX20" fmla="*/ 8103 w 8815"/>
              <a:gd name="connsiteY20" fmla="*/ 5197 h 10011"/>
              <a:gd name="connsiteX21" fmla="*/ 8031 w 8815"/>
              <a:gd name="connsiteY21" fmla="*/ 5230 h 10011"/>
              <a:gd name="connsiteX22" fmla="*/ 8031 w 8815"/>
              <a:gd name="connsiteY22" fmla="*/ 5230 h 10011"/>
              <a:gd name="connsiteX23" fmla="*/ 5 w 8815"/>
              <a:gd name="connsiteY23" fmla="*/ 9414 h 10011"/>
              <a:gd name="connsiteX24" fmla="*/ 0 w 8815"/>
              <a:gd name="connsiteY24" fmla="*/ 10011 h 10011"/>
              <a:gd name="connsiteX25" fmla="*/ 8815 w 8815"/>
              <a:gd name="connsiteY25" fmla="*/ 10000 h 10011"/>
              <a:gd name="connsiteX0" fmla="*/ 9996 w 9996"/>
              <a:gd name="connsiteY0" fmla="*/ 9989 h 10000"/>
              <a:gd name="connsiteX1" fmla="*/ 9996 w 9996"/>
              <a:gd name="connsiteY1" fmla="*/ 0 h 10000"/>
              <a:gd name="connsiteX2" fmla="*/ 9996 w 9996"/>
              <a:gd name="connsiteY2" fmla="*/ 0 h 10000"/>
              <a:gd name="connsiteX3" fmla="*/ 9996 w 9996"/>
              <a:gd name="connsiteY3" fmla="*/ 230 h 10000"/>
              <a:gd name="connsiteX4" fmla="*/ 9977 w 9996"/>
              <a:gd name="connsiteY4" fmla="*/ 756 h 10000"/>
              <a:gd name="connsiteX5" fmla="*/ 9964 w 9996"/>
              <a:gd name="connsiteY5" fmla="*/ 1117 h 10000"/>
              <a:gd name="connsiteX6" fmla="*/ 9939 w 9996"/>
              <a:gd name="connsiteY6" fmla="*/ 1544 h 10000"/>
              <a:gd name="connsiteX7" fmla="*/ 9914 w 9996"/>
              <a:gd name="connsiteY7" fmla="*/ 2005 h 10000"/>
              <a:gd name="connsiteX8" fmla="*/ 9877 w 9996"/>
              <a:gd name="connsiteY8" fmla="*/ 2464 h 10000"/>
              <a:gd name="connsiteX9" fmla="*/ 9827 w 9996"/>
              <a:gd name="connsiteY9" fmla="*/ 2925 h 10000"/>
              <a:gd name="connsiteX10" fmla="*/ 9770 w 9996"/>
              <a:gd name="connsiteY10" fmla="*/ 3384 h 10000"/>
              <a:gd name="connsiteX11" fmla="*/ 9695 w 9996"/>
              <a:gd name="connsiteY11" fmla="*/ 3812 h 10000"/>
              <a:gd name="connsiteX12" fmla="*/ 9658 w 9996"/>
              <a:gd name="connsiteY12" fmla="*/ 4042 h 10000"/>
              <a:gd name="connsiteX13" fmla="*/ 9608 w 9996"/>
              <a:gd name="connsiteY13" fmla="*/ 4238 h 10000"/>
              <a:gd name="connsiteX14" fmla="*/ 9564 w 9996"/>
              <a:gd name="connsiteY14" fmla="*/ 4403 h 10000"/>
              <a:gd name="connsiteX15" fmla="*/ 9507 w 9996"/>
              <a:gd name="connsiteY15" fmla="*/ 4600 h 10000"/>
              <a:gd name="connsiteX16" fmla="*/ 9451 w 9996"/>
              <a:gd name="connsiteY16" fmla="*/ 4732 h 10000"/>
              <a:gd name="connsiteX17" fmla="*/ 9395 w 9996"/>
              <a:gd name="connsiteY17" fmla="*/ 4896 h 10000"/>
              <a:gd name="connsiteX18" fmla="*/ 9332 w 9996"/>
              <a:gd name="connsiteY18" fmla="*/ 4995 h 10000"/>
              <a:gd name="connsiteX19" fmla="*/ 9256 w 9996"/>
              <a:gd name="connsiteY19" fmla="*/ 5093 h 10000"/>
              <a:gd name="connsiteX20" fmla="*/ 9188 w 9996"/>
              <a:gd name="connsiteY20" fmla="*/ 5191 h 10000"/>
              <a:gd name="connsiteX21" fmla="*/ 9107 w 9996"/>
              <a:gd name="connsiteY21" fmla="*/ 5224 h 10000"/>
              <a:gd name="connsiteX22" fmla="*/ 9107 w 9996"/>
              <a:gd name="connsiteY22" fmla="*/ 5224 h 10000"/>
              <a:gd name="connsiteX23" fmla="*/ 2 w 9996"/>
              <a:gd name="connsiteY23" fmla="*/ 9404 h 10000"/>
              <a:gd name="connsiteX24" fmla="*/ 0 w 9996"/>
              <a:gd name="connsiteY24" fmla="*/ 10000 h 10000"/>
              <a:gd name="connsiteX25" fmla="*/ 9996 w 9996"/>
              <a:gd name="connsiteY25" fmla="*/ 9989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9996" h="10000">
                <a:moveTo>
                  <a:pt x="9996" y="9989"/>
                </a:moveTo>
                <a:lnTo>
                  <a:pt x="9996" y="0"/>
                </a:lnTo>
                <a:lnTo>
                  <a:pt x="9996" y="0"/>
                </a:lnTo>
                <a:lnTo>
                  <a:pt x="9996" y="230"/>
                </a:lnTo>
                <a:cubicBezTo>
                  <a:pt x="9989" y="406"/>
                  <a:pt x="9984" y="580"/>
                  <a:pt x="9977" y="756"/>
                </a:cubicBezTo>
                <a:cubicBezTo>
                  <a:pt x="9972" y="876"/>
                  <a:pt x="9969" y="997"/>
                  <a:pt x="9964" y="1117"/>
                </a:cubicBezTo>
                <a:cubicBezTo>
                  <a:pt x="9956" y="1260"/>
                  <a:pt x="9947" y="1401"/>
                  <a:pt x="9939" y="1544"/>
                </a:cubicBezTo>
                <a:cubicBezTo>
                  <a:pt x="9931" y="1698"/>
                  <a:pt x="9922" y="1851"/>
                  <a:pt x="9914" y="2005"/>
                </a:cubicBezTo>
                <a:cubicBezTo>
                  <a:pt x="9902" y="2158"/>
                  <a:pt x="9889" y="2311"/>
                  <a:pt x="9877" y="2464"/>
                </a:cubicBezTo>
                <a:cubicBezTo>
                  <a:pt x="9860" y="2618"/>
                  <a:pt x="9844" y="2771"/>
                  <a:pt x="9827" y="2925"/>
                </a:cubicBezTo>
                <a:cubicBezTo>
                  <a:pt x="9808" y="3078"/>
                  <a:pt x="9790" y="3231"/>
                  <a:pt x="9770" y="3384"/>
                </a:cubicBezTo>
                <a:cubicBezTo>
                  <a:pt x="9745" y="3527"/>
                  <a:pt x="9720" y="3669"/>
                  <a:pt x="9695" y="3812"/>
                </a:cubicBezTo>
                <a:cubicBezTo>
                  <a:pt x="9683" y="3889"/>
                  <a:pt x="9670" y="3965"/>
                  <a:pt x="9658" y="4042"/>
                </a:cubicBezTo>
                <a:cubicBezTo>
                  <a:pt x="9641" y="4107"/>
                  <a:pt x="9625" y="4172"/>
                  <a:pt x="9608" y="4238"/>
                </a:cubicBezTo>
                <a:cubicBezTo>
                  <a:pt x="9593" y="4293"/>
                  <a:pt x="9579" y="4348"/>
                  <a:pt x="9564" y="4403"/>
                </a:cubicBezTo>
                <a:cubicBezTo>
                  <a:pt x="9544" y="4469"/>
                  <a:pt x="9526" y="4534"/>
                  <a:pt x="9507" y="4600"/>
                </a:cubicBezTo>
                <a:cubicBezTo>
                  <a:pt x="9489" y="4644"/>
                  <a:pt x="9470" y="4688"/>
                  <a:pt x="9451" y="4732"/>
                </a:cubicBezTo>
                <a:cubicBezTo>
                  <a:pt x="9432" y="4787"/>
                  <a:pt x="9414" y="4841"/>
                  <a:pt x="9395" y="4896"/>
                </a:cubicBezTo>
                <a:lnTo>
                  <a:pt x="9332" y="4995"/>
                </a:lnTo>
                <a:cubicBezTo>
                  <a:pt x="9307" y="5027"/>
                  <a:pt x="9281" y="5060"/>
                  <a:pt x="9256" y="5093"/>
                </a:cubicBezTo>
                <a:cubicBezTo>
                  <a:pt x="9234" y="5126"/>
                  <a:pt x="9211" y="5158"/>
                  <a:pt x="9188" y="5191"/>
                </a:cubicBezTo>
                <a:lnTo>
                  <a:pt x="9107" y="5224"/>
                </a:lnTo>
                <a:lnTo>
                  <a:pt x="9107" y="5224"/>
                </a:lnTo>
                <a:lnTo>
                  <a:pt x="2" y="9404"/>
                </a:lnTo>
                <a:cubicBezTo>
                  <a:pt x="-1" y="9602"/>
                  <a:pt x="2" y="9801"/>
                  <a:pt x="0" y="10000"/>
                </a:cubicBezTo>
                <a:lnTo>
                  <a:pt x="9996" y="9989"/>
                </a:lnTo>
                <a:close/>
              </a:path>
            </a:pathLst>
          </a:custGeom>
          <a:solidFill>
            <a:schemeClr val="accent6"/>
          </a:solidFill>
          <a:ln>
            <a:noFill/>
          </a:ln>
        </p:spPr>
        <p:txBody>
          <a:bodyPr vert="horz" wrap="square" lIns="133428" tIns="66715" rIns="133428" bIns="66715" numCol="1" anchor="t" anchorCtr="0" compatLnSpc="1">
            <a:prstTxWarp prst="textNoShape">
              <a:avLst/>
            </a:prstTxWarp>
          </a:bodyPr>
          <a:lstStyle/>
          <a:p>
            <a:endParaRPr lang="ja-JP" altLang="en-US" sz="2533"/>
          </a:p>
        </p:txBody>
      </p:sp>
      <p:sp>
        <p:nvSpPr>
          <p:cNvPr id="2" name="タイトル 1"/>
          <p:cNvSpPr>
            <a:spLocks noGrp="1"/>
          </p:cNvSpPr>
          <p:nvPr>
            <p:ph type="title"/>
          </p:nvPr>
        </p:nvSpPr>
        <p:spPr>
          <a:xfrm>
            <a:off x="368550" y="1959102"/>
            <a:ext cx="11451591" cy="540000"/>
          </a:xfrm>
          <a:prstGeom prst="rect">
            <a:avLst/>
          </a:prstGeom>
        </p:spPr>
        <p:txBody>
          <a:bodyPr lIns="95767" tIns="47884" rIns="95767" bIns="47884"/>
          <a:lstStyle>
            <a:lvl1pPr>
              <a:defRPr>
                <a:latin typeface="Meiryo UI" panose="020B0604030504040204" pitchFamily="50" charset="-128"/>
                <a:ea typeface="Meiryo UI" panose="020B0604030504040204" pitchFamily="50" charset="-128"/>
              </a:defRPr>
            </a:lvl1pPr>
          </a:lstStyle>
          <a:p>
            <a:r>
              <a:rPr kumimoji="1" lang="ja-JP" altLang="en-US"/>
              <a:t>マスター タイトルの書式設定</a:t>
            </a:r>
          </a:p>
        </p:txBody>
      </p:sp>
      <p:sp>
        <p:nvSpPr>
          <p:cNvPr id="6" name="スライド番号プレースホルダー 5"/>
          <p:cNvSpPr>
            <a:spLocks noGrp="1"/>
          </p:cNvSpPr>
          <p:nvPr>
            <p:ph type="sldNum" sz="quarter" idx="12"/>
          </p:nvPr>
        </p:nvSpPr>
        <p:spPr>
          <a:xfrm>
            <a:off x="11524630" y="6468878"/>
            <a:ext cx="555811" cy="289299"/>
          </a:xfrm>
          <a:prstGeom prst="rect">
            <a:avLst/>
          </a:prstGeom>
        </p:spPr>
        <p:txBody>
          <a:bodyPr lIns="95767" tIns="47884" rIns="95767" bIns="47884"/>
          <a:lstStyle>
            <a:lvl1pPr>
              <a:defRPr sz="1333"/>
            </a:lvl1pPr>
          </a:lstStyle>
          <a:p>
            <a:fld id="{2FF5E1DE-7B95-8A44-8552-65323269AE41}" type="slidenum">
              <a:rPr lang="ja-JP" altLang="en-US" smtClean="0"/>
              <a:pPr/>
              <a:t>‹#›</a:t>
            </a:fld>
            <a:endParaRPr lang="ja-JP" altLang="en-US"/>
          </a:p>
        </p:txBody>
      </p:sp>
      <p:pic>
        <p:nvPicPr>
          <p:cNvPr id="8" name="Picture 2" descr="C:\Users\00057835\AppData\Local\Temp\notesEA5B2A\グループ併記ロゴ（縦・英文）.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0756324" y="26652"/>
            <a:ext cx="1434080" cy="85801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37260290"/>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type="obj" preserve="1">
  <p:cSld name="26_タイトルとコンテンツ">
    <p:spTree>
      <p:nvGrpSpPr>
        <p:cNvPr id="1" name=""/>
        <p:cNvGrpSpPr/>
        <p:nvPr/>
      </p:nvGrpSpPr>
      <p:grpSpPr>
        <a:xfrm>
          <a:off x="0" y="0"/>
          <a:ext cx="0" cy="0"/>
          <a:chOff x="0" y="0"/>
          <a:chExt cx="0" cy="0"/>
        </a:xfrm>
      </p:grpSpPr>
      <p:sp>
        <p:nvSpPr>
          <p:cNvPr id="9" name="Freeform 8"/>
          <p:cNvSpPr>
            <a:spLocks/>
          </p:cNvSpPr>
          <p:nvPr userDrawn="1"/>
        </p:nvSpPr>
        <p:spPr bwMode="auto">
          <a:xfrm>
            <a:off x="-2100" y="5505984"/>
            <a:ext cx="12192504" cy="1353504"/>
          </a:xfrm>
          <a:custGeom>
            <a:avLst/>
            <a:gdLst>
              <a:gd name="T0" fmla="*/ 3622 w 3622"/>
              <a:gd name="T1" fmla="*/ 608 h 608"/>
              <a:gd name="T2" fmla="*/ 3622 w 3622"/>
              <a:gd name="T3" fmla="*/ 0 h 608"/>
              <a:gd name="T4" fmla="*/ 3622 w 3622"/>
              <a:gd name="T5" fmla="*/ 0 h 608"/>
              <a:gd name="T6" fmla="*/ 3622 w 3622"/>
              <a:gd name="T7" fmla="*/ 14 h 608"/>
              <a:gd name="T8" fmla="*/ 3616 w 3622"/>
              <a:gd name="T9" fmla="*/ 46 h 608"/>
              <a:gd name="T10" fmla="*/ 3612 w 3622"/>
              <a:gd name="T11" fmla="*/ 68 h 608"/>
              <a:gd name="T12" fmla="*/ 3604 w 3622"/>
              <a:gd name="T13" fmla="*/ 94 h 608"/>
              <a:gd name="T14" fmla="*/ 3596 w 3622"/>
              <a:gd name="T15" fmla="*/ 122 h 608"/>
              <a:gd name="T16" fmla="*/ 3584 w 3622"/>
              <a:gd name="T17" fmla="*/ 150 h 608"/>
              <a:gd name="T18" fmla="*/ 3568 w 3622"/>
              <a:gd name="T19" fmla="*/ 178 h 608"/>
              <a:gd name="T20" fmla="*/ 3550 w 3622"/>
              <a:gd name="T21" fmla="*/ 206 h 608"/>
              <a:gd name="T22" fmla="*/ 3526 w 3622"/>
              <a:gd name="T23" fmla="*/ 232 h 608"/>
              <a:gd name="T24" fmla="*/ 3514 w 3622"/>
              <a:gd name="T25" fmla="*/ 246 h 608"/>
              <a:gd name="T26" fmla="*/ 3498 w 3622"/>
              <a:gd name="T27" fmla="*/ 258 h 608"/>
              <a:gd name="T28" fmla="*/ 3484 w 3622"/>
              <a:gd name="T29" fmla="*/ 268 h 608"/>
              <a:gd name="T30" fmla="*/ 3466 w 3622"/>
              <a:gd name="T31" fmla="*/ 280 h 608"/>
              <a:gd name="T32" fmla="*/ 3448 w 3622"/>
              <a:gd name="T33" fmla="*/ 288 h 608"/>
              <a:gd name="T34" fmla="*/ 3430 w 3622"/>
              <a:gd name="T35" fmla="*/ 298 h 608"/>
              <a:gd name="T36" fmla="*/ 3410 w 3622"/>
              <a:gd name="T37" fmla="*/ 304 h 608"/>
              <a:gd name="T38" fmla="*/ 3386 w 3622"/>
              <a:gd name="T39" fmla="*/ 310 h 608"/>
              <a:gd name="T40" fmla="*/ 3364 w 3622"/>
              <a:gd name="T41" fmla="*/ 316 h 608"/>
              <a:gd name="T42" fmla="*/ 3338 w 3622"/>
              <a:gd name="T43" fmla="*/ 318 h 608"/>
              <a:gd name="T44" fmla="*/ 3338 w 3622"/>
              <a:gd name="T45" fmla="*/ 318 h 608"/>
              <a:gd name="T46" fmla="*/ 0 w 3622"/>
              <a:gd name="T47" fmla="*/ 608 h 608"/>
              <a:gd name="T48" fmla="*/ 3622 w 3622"/>
              <a:gd name="T49" fmla="*/ 608 h 608"/>
              <a:gd name="connsiteX0" fmla="*/ 10000 w 10000"/>
              <a:gd name="connsiteY0" fmla="*/ 10000 h 10000"/>
              <a:gd name="connsiteX1" fmla="*/ 10000 w 10000"/>
              <a:gd name="connsiteY1" fmla="*/ 0 h 10000"/>
              <a:gd name="connsiteX2" fmla="*/ 10000 w 10000"/>
              <a:gd name="connsiteY2" fmla="*/ 0 h 10000"/>
              <a:gd name="connsiteX3" fmla="*/ 10000 w 10000"/>
              <a:gd name="connsiteY3" fmla="*/ 230 h 10000"/>
              <a:gd name="connsiteX4" fmla="*/ 9983 w 10000"/>
              <a:gd name="connsiteY4" fmla="*/ 757 h 10000"/>
              <a:gd name="connsiteX5" fmla="*/ 9972 w 10000"/>
              <a:gd name="connsiteY5" fmla="*/ 1118 h 10000"/>
              <a:gd name="connsiteX6" fmla="*/ 9950 w 10000"/>
              <a:gd name="connsiteY6" fmla="*/ 1546 h 10000"/>
              <a:gd name="connsiteX7" fmla="*/ 9928 w 10000"/>
              <a:gd name="connsiteY7" fmla="*/ 2007 h 10000"/>
              <a:gd name="connsiteX8" fmla="*/ 9895 w 10000"/>
              <a:gd name="connsiteY8" fmla="*/ 2467 h 10000"/>
              <a:gd name="connsiteX9" fmla="*/ 9851 w 10000"/>
              <a:gd name="connsiteY9" fmla="*/ 2928 h 10000"/>
              <a:gd name="connsiteX10" fmla="*/ 9801 w 10000"/>
              <a:gd name="connsiteY10" fmla="*/ 3388 h 10000"/>
              <a:gd name="connsiteX11" fmla="*/ 9735 w 10000"/>
              <a:gd name="connsiteY11" fmla="*/ 3816 h 10000"/>
              <a:gd name="connsiteX12" fmla="*/ 9702 w 10000"/>
              <a:gd name="connsiteY12" fmla="*/ 4046 h 10000"/>
              <a:gd name="connsiteX13" fmla="*/ 9658 w 10000"/>
              <a:gd name="connsiteY13" fmla="*/ 4243 h 10000"/>
              <a:gd name="connsiteX14" fmla="*/ 9619 w 10000"/>
              <a:gd name="connsiteY14" fmla="*/ 4408 h 10000"/>
              <a:gd name="connsiteX15" fmla="*/ 9569 w 10000"/>
              <a:gd name="connsiteY15" fmla="*/ 4605 h 10000"/>
              <a:gd name="connsiteX16" fmla="*/ 9520 w 10000"/>
              <a:gd name="connsiteY16" fmla="*/ 4737 h 10000"/>
              <a:gd name="connsiteX17" fmla="*/ 9470 w 10000"/>
              <a:gd name="connsiteY17" fmla="*/ 4901 h 10000"/>
              <a:gd name="connsiteX18" fmla="*/ 9415 w 10000"/>
              <a:gd name="connsiteY18" fmla="*/ 5000 h 10000"/>
              <a:gd name="connsiteX19" fmla="*/ 9348 w 10000"/>
              <a:gd name="connsiteY19" fmla="*/ 5099 h 10000"/>
              <a:gd name="connsiteX20" fmla="*/ 9288 w 10000"/>
              <a:gd name="connsiteY20" fmla="*/ 5197 h 10000"/>
              <a:gd name="connsiteX21" fmla="*/ 9216 w 10000"/>
              <a:gd name="connsiteY21" fmla="*/ 5230 h 10000"/>
              <a:gd name="connsiteX22" fmla="*/ 9216 w 10000"/>
              <a:gd name="connsiteY22" fmla="*/ 5230 h 10000"/>
              <a:gd name="connsiteX23" fmla="*/ 1190 w 10000"/>
              <a:gd name="connsiteY23" fmla="*/ 9414 h 10000"/>
              <a:gd name="connsiteX24" fmla="*/ 0 w 10000"/>
              <a:gd name="connsiteY24" fmla="*/ 10000 h 10000"/>
              <a:gd name="connsiteX25" fmla="*/ 10000 w 10000"/>
              <a:gd name="connsiteY25" fmla="*/ 10000 h 10000"/>
              <a:gd name="connsiteX0" fmla="*/ 10000 w 10000"/>
              <a:gd name="connsiteY0" fmla="*/ 10000 h 10011"/>
              <a:gd name="connsiteX1" fmla="*/ 10000 w 10000"/>
              <a:gd name="connsiteY1" fmla="*/ 0 h 10011"/>
              <a:gd name="connsiteX2" fmla="*/ 10000 w 10000"/>
              <a:gd name="connsiteY2" fmla="*/ 0 h 10011"/>
              <a:gd name="connsiteX3" fmla="*/ 10000 w 10000"/>
              <a:gd name="connsiteY3" fmla="*/ 230 h 10011"/>
              <a:gd name="connsiteX4" fmla="*/ 9983 w 10000"/>
              <a:gd name="connsiteY4" fmla="*/ 757 h 10011"/>
              <a:gd name="connsiteX5" fmla="*/ 9972 w 10000"/>
              <a:gd name="connsiteY5" fmla="*/ 1118 h 10011"/>
              <a:gd name="connsiteX6" fmla="*/ 9950 w 10000"/>
              <a:gd name="connsiteY6" fmla="*/ 1546 h 10011"/>
              <a:gd name="connsiteX7" fmla="*/ 9928 w 10000"/>
              <a:gd name="connsiteY7" fmla="*/ 2007 h 10011"/>
              <a:gd name="connsiteX8" fmla="*/ 9895 w 10000"/>
              <a:gd name="connsiteY8" fmla="*/ 2467 h 10011"/>
              <a:gd name="connsiteX9" fmla="*/ 9851 w 10000"/>
              <a:gd name="connsiteY9" fmla="*/ 2928 h 10011"/>
              <a:gd name="connsiteX10" fmla="*/ 9801 w 10000"/>
              <a:gd name="connsiteY10" fmla="*/ 3388 h 10011"/>
              <a:gd name="connsiteX11" fmla="*/ 9735 w 10000"/>
              <a:gd name="connsiteY11" fmla="*/ 3816 h 10011"/>
              <a:gd name="connsiteX12" fmla="*/ 9702 w 10000"/>
              <a:gd name="connsiteY12" fmla="*/ 4046 h 10011"/>
              <a:gd name="connsiteX13" fmla="*/ 9658 w 10000"/>
              <a:gd name="connsiteY13" fmla="*/ 4243 h 10011"/>
              <a:gd name="connsiteX14" fmla="*/ 9619 w 10000"/>
              <a:gd name="connsiteY14" fmla="*/ 4408 h 10011"/>
              <a:gd name="connsiteX15" fmla="*/ 9569 w 10000"/>
              <a:gd name="connsiteY15" fmla="*/ 4605 h 10011"/>
              <a:gd name="connsiteX16" fmla="*/ 9520 w 10000"/>
              <a:gd name="connsiteY16" fmla="*/ 4737 h 10011"/>
              <a:gd name="connsiteX17" fmla="*/ 9470 w 10000"/>
              <a:gd name="connsiteY17" fmla="*/ 4901 h 10011"/>
              <a:gd name="connsiteX18" fmla="*/ 9415 w 10000"/>
              <a:gd name="connsiteY18" fmla="*/ 5000 h 10011"/>
              <a:gd name="connsiteX19" fmla="*/ 9348 w 10000"/>
              <a:gd name="connsiteY19" fmla="*/ 5099 h 10011"/>
              <a:gd name="connsiteX20" fmla="*/ 9288 w 10000"/>
              <a:gd name="connsiteY20" fmla="*/ 5197 h 10011"/>
              <a:gd name="connsiteX21" fmla="*/ 9216 w 10000"/>
              <a:gd name="connsiteY21" fmla="*/ 5230 h 10011"/>
              <a:gd name="connsiteX22" fmla="*/ 9216 w 10000"/>
              <a:gd name="connsiteY22" fmla="*/ 5230 h 10011"/>
              <a:gd name="connsiteX23" fmla="*/ 1190 w 10000"/>
              <a:gd name="connsiteY23" fmla="*/ 9414 h 10011"/>
              <a:gd name="connsiteX24" fmla="*/ 0 w 10000"/>
              <a:gd name="connsiteY24" fmla="*/ 10000 h 10011"/>
              <a:gd name="connsiteX25" fmla="*/ 1185 w 10000"/>
              <a:gd name="connsiteY25" fmla="*/ 10011 h 10011"/>
              <a:gd name="connsiteX26" fmla="*/ 10000 w 10000"/>
              <a:gd name="connsiteY26" fmla="*/ 10000 h 10011"/>
              <a:gd name="connsiteX0" fmla="*/ 8815 w 8815"/>
              <a:gd name="connsiteY0" fmla="*/ 10000 h 10011"/>
              <a:gd name="connsiteX1" fmla="*/ 8815 w 8815"/>
              <a:gd name="connsiteY1" fmla="*/ 0 h 10011"/>
              <a:gd name="connsiteX2" fmla="*/ 8815 w 8815"/>
              <a:gd name="connsiteY2" fmla="*/ 0 h 10011"/>
              <a:gd name="connsiteX3" fmla="*/ 8815 w 8815"/>
              <a:gd name="connsiteY3" fmla="*/ 230 h 10011"/>
              <a:gd name="connsiteX4" fmla="*/ 8798 w 8815"/>
              <a:gd name="connsiteY4" fmla="*/ 757 h 10011"/>
              <a:gd name="connsiteX5" fmla="*/ 8787 w 8815"/>
              <a:gd name="connsiteY5" fmla="*/ 1118 h 10011"/>
              <a:gd name="connsiteX6" fmla="*/ 8765 w 8815"/>
              <a:gd name="connsiteY6" fmla="*/ 1546 h 10011"/>
              <a:gd name="connsiteX7" fmla="*/ 8743 w 8815"/>
              <a:gd name="connsiteY7" fmla="*/ 2007 h 10011"/>
              <a:gd name="connsiteX8" fmla="*/ 8710 w 8815"/>
              <a:gd name="connsiteY8" fmla="*/ 2467 h 10011"/>
              <a:gd name="connsiteX9" fmla="*/ 8666 w 8815"/>
              <a:gd name="connsiteY9" fmla="*/ 2928 h 10011"/>
              <a:gd name="connsiteX10" fmla="*/ 8616 w 8815"/>
              <a:gd name="connsiteY10" fmla="*/ 3388 h 10011"/>
              <a:gd name="connsiteX11" fmla="*/ 8550 w 8815"/>
              <a:gd name="connsiteY11" fmla="*/ 3816 h 10011"/>
              <a:gd name="connsiteX12" fmla="*/ 8517 w 8815"/>
              <a:gd name="connsiteY12" fmla="*/ 4046 h 10011"/>
              <a:gd name="connsiteX13" fmla="*/ 8473 w 8815"/>
              <a:gd name="connsiteY13" fmla="*/ 4243 h 10011"/>
              <a:gd name="connsiteX14" fmla="*/ 8434 w 8815"/>
              <a:gd name="connsiteY14" fmla="*/ 4408 h 10011"/>
              <a:gd name="connsiteX15" fmla="*/ 8384 w 8815"/>
              <a:gd name="connsiteY15" fmla="*/ 4605 h 10011"/>
              <a:gd name="connsiteX16" fmla="*/ 8335 w 8815"/>
              <a:gd name="connsiteY16" fmla="*/ 4737 h 10011"/>
              <a:gd name="connsiteX17" fmla="*/ 8285 w 8815"/>
              <a:gd name="connsiteY17" fmla="*/ 4901 h 10011"/>
              <a:gd name="connsiteX18" fmla="*/ 8230 w 8815"/>
              <a:gd name="connsiteY18" fmla="*/ 5000 h 10011"/>
              <a:gd name="connsiteX19" fmla="*/ 8163 w 8815"/>
              <a:gd name="connsiteY19" fmla="*/ 5099 h 10011"/>
              <a:gd name="connsiteX20" fmla="*/ 8103 w 8815"/>
              <a:gd name="connsiteY20" fmla="*/ 5197 h 10011"/>
              <a:gd name="connsiteX21" fmla="*/ 8031 w 8815"/>
              <a:gd name="connsiteY21" fmla="*/ 5230 h 10011"/>
              <a:gd name="connsiteX22" fmla="*/ 8031 w 8815"/>
              <a:gd name="connsiteY22" fmla="*/ 5230 h 10011"/>
              <a:gd name="connsiteX23" fmla="*/ 5 w 8815"/>
              <a:gd name="connsiteY23" fmla="*/ 9414 h 10011"/>
              <a:gd name="connsiteX24" fmla="*/ 0 w 8815"/>
              <a:gd name="connsiteY24" fmla="*/ 10011 h 10011"/>
              <a:gd name="connsiteX25" fmla="*/ 8815 w 8815"/>
              <a:gd name="connsiteY25" fmla="*/ 10000 h 10011"/>
              <a:gd name="connsiteX0" fmla="*/ 9996 w 9996"/>
              <a:gd name="connsiteY0" fmla="*/ 9989 h 10000"/>
              <a:gd name="connsiteX1" fmla="*/ 9996 w 9996"/>
              <a:gd name="connsiteY1" fmla="*/ 0 h 10000"/>
              <a:gd name="connsiteX2" fmla="*/ 9996 w 9996"/>
              <a:gd name="connsiteY2" fmla="*/ 0 h 10000"/>
              <a:gd name="connsiteX3" fmla="*/ 9996 w 9996"/>
              <a:gd name="connsiteY3" fmla="*/ 230 h 10000"/>
              <a:gd name="connsiteX4" fmla="*/ 9977 w 9996"/>
              <a:gd name="connsiteY4" fmla="*/ 756 h 10000"/>
              <a:gd name="connsiteX5" fmla="*/ 9964 w 9996"/>
              <a:gd name="connsiteY5" fmla="*/ 1117 h 10000"/>
              <a:gd name="connsiteX6" fmla="*/ 9939 w 9996"/>
              <a:gd name="connsiteY6" fmla="*/ 1544 h 10000"/>
              <a:gd name="connsiteX7" fmla="*/ 9914 w 9996"/>
              <a:gd name="connsiteY7" fmla="*/ 2005 h 10000"/>
              <a:gd name="connsiteX8" fmla="*/ 9877 w 9996"/>
              <a:gd name="connsiteY8" fmla="*/ 2464 h 10000"/>
              <a:gd name="connsiteX9" fmla="*/ 9827 w 9996"/>
              <a:gd name="connsiteY9" fmla="*/ 2925 h 10000"/>
              <a:gd name="connsiteX10" fmla="*/ 9770 w 9996"/>
              <a:gd name="connsiteY10" fmla="*/ 3384 h 10000"/>
              <a:gd name="connsiteX11" fmla="*/ 9695 w 9996"/>
              <a:gd name="connsiteY11" fmla="*/ 3812 h 10000"/>
              <a:gd name="connsiteX12" fmla="*/ 9658 w 9996"/>
              <a:gd name="connsiteY12" fmla="*/ 4042 h 10000"/>
              <a:gd name="connsiteX13" fmla="*/ 9608 w 9996"/>
              <a:gd name="connsiteY13" fmla="*/ 4238 h 10000"/>
              <a:gd name="connsiteX14" fmla="*/ 9564 w 9996"/>
              <a:gd name="connsiteY14" fmla="*/ 4403 h 10000"/>
              <a:gd name="connsiteX15" fmla="*/ 9507 w 9996"/>
              <a:gd name="connsiteY15" fmla="*/ 4600 h 10000"/>
              <a:gd name="connsiteX16" fmla="*/ 9451 w 9996"/>
              <a:gd name="connsiteY16" fmla="*/ 4732 h 10000"/>
              <a:gd name="connsiteX17" fmla="*/ 9395 w 9996"/>
              <a:gd name="connsiteY17" fmla="*/ 4896 h 10000"/>
              <a:gd name="connsiteX18" fmla="*/ 9332 w 9996"/>
              <a:gd name="connsiteY18" fmla="*/ 4995 h 10000"/>
              <a:gd name="connsiteX19" fmla="*/ 9256 w 9996"/>
              <a:gd name="connsiteY19" fmla="*/ 5093 h 10000"/>
              <a:gd name="connsiteX20" fmla="*/ 9188 w 9996"/>
              <a:gd name="connsiteY20" fmla="*/ 5191 h 10000"/>
              <a:gd name="connsiteX21" fmla="*/ 9107 w 9996"/>
              <a:gd name="connsiteY21" fmla="*/ 5224 h 10000"/>
              <a:gd name="connsiteX22" fmla="*/ 9107 w 9996"/>
              <a:gd name="connsiteY22" fmla="*/ 5224 h 10000"/>
              <a:gd name="connsiteX23" fmla="*/ 2 w 9996"/>
              <a:gd name="connsiteY23" fmla="*/ 9404 h 10000"/>
              <a:gd name="connsiteX24" fmla="*/ 0 w 9996"/>
              <a:gd name="connsiteY24" fmla="*/ 10000 h 10000"/>
              <a:gd name="connsiteX25" fmla="*/ 9996 w 9996"/>
              <a:gd name="connsiteY25" fmla="*/ 9989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9996" h="10000">
                <a:moveTo>
                  <a:pt x="9996" y="9989"/>
                </a:moveTo>
                <a:lnTo>
                  <a:pt x="9996" y="0"/>
                </a:lnTo>
                <a:lnTo>
                  <a:pt x="9996" y="0"/>
                </a:lnTo>
                <a:lnTo>
                  <a:pt x="9996" y="230"/>
                </a:lnTo>
                <a:cubicBezTo>
                  <a:pt x="9989" y="406"/>
                  <a:pt x="9984" y="580"/>
                  <a:pt x="9977" y="756"/>
                </a:cubicBezTo>
                <a:cubicBezTo>
                  <a:pt x="9972" y="876"/>
                  <a:pt x="9969" y="997"/>
                  <a:pt x="9964" y="1117"/>
                </a:cubicBezTo>
                <a:cubicBezTo>
                  <a:pt x="9956" y="1260"/>
                  <a:pt x="9947" y="1401"/>
                  <a:pt x="9939" y="1544"/>
                </a:cubicBezTo>
                <a:cubicBezTo>
                  <a:pt x="9931" y="1698"/>
                  <a:pt x="9922" y="1851"/>
                  <a:pt x="9914" y="2005"/>
                </a:cubicBezTo>
                <a:cubicBezTo>
                  <a:pt x="9902" y="2158"/>
                  <a:pt x="9889" y="2311"/>
                  <a:pt x="9877" y="2464"/>
                </a:cubicBezTo>
                <a:cubicBezTo>
                  <a:pt x="9860" y="2618"/>
                  <a:pt x="9844" y="2771"/>
                  <a:pt x="9827" y="2925"/>
                </a:cubicBezTo>
                <a:cubicBezTo>
                  <a:pt x="9808" y="3078"/>
                  <a:pt x="9790" y="3231"/>
                  <a:pt x="9770" y="3384"/>
                </a:cubicBezTo>
                <a:cubicBezTo>
                  <a:pt x="9745" y="3527"/>
                  <a:pt x="9720" y="3669"/>
                  <a:pt x="9695" y="3812"/>
                </a:cubicBezTo>
                <a:cubicBezTo>
                  <a:pt x="9683" y="3889"/>
                  <a:pt x="9670" y="3965"/>
                  <a:pt x="9658" y="4042"/>
                </a:cubicBezTo>
                <a:cubicBezTo>
                  <a:pt x="9641" y="4107"/>
                  <a:pt x="9625" y="4172"/>
                  <a:pt x="9608" y="4238"/>
                </a:cubicBezTo>
                <a:cubicBezTo>
                  <a:pt x="9593" y="4293"/>
                  <a:pt x="9579" y="4348"/>
                  <a:pt x="9564" y="4403"/>
                </a:cubicBezTo>
                <a:cubicBezTo>
                  <a:pt x="9544" y="4469"/>
                  <a:pt x="9526" y="4534"/>
                  <a:pt x="9507" y="4600"/>
                </a:cubicBezTo>
                <a:cubicBezTo>
                  <a:pt x="9489" y="4644"/>
                  <a:pt x="9470" y="4688"/>
                  <a:pt x="9451" y="4732"/>
                </a:cubicBezTo>
                <a:cubicBezTo>
                  <a:pt x="9432" y="4787"/>
                  <a:pt x="9414" y="4841"/>
                  <a:pt x="9395" y="4896"/>
                </a:cubicBezTo>
                <a:lnTo>
                  <a:pt x="9332" y="4995"/>
                </a:lnTo>
                <a:cubicBezTo>
                  <a:pt x="9307" y="5027"/>
                  <a:pt x="9281" y="5060"/>
                  <a:pt x="9256" y="5093"/>
                </a:cubicBezTo>
                <a:cubicBezTo>
                  <a:pt x="9234" y="5126"/>
                  <a:pt x="9211" y="5158"/>
                  <a:pt x="9188" y="5191"/>
                </a:cubicBezTo>
                <a:lnTo>
                  <a:pt x="9107" y="5224"/>
                </a:lnTo>
                <a:lnTo>
                  <a:pt x="9107" y="5224"/>
                </a:lnTo>
                <a:lnTo>
                  <a:pt x="2" y="9404"/>
                </a:lnTo>
                <a:cubicBezTo>
                  <a:pt x="-1" y="9602"/>
                  <a:pt x="2" y="9801"/>
                  <a:pt x="0" y="10000"/>
                </a:cubicBezTo>
                <a:lnTo>
                  <a:pt x="9996" y="9989"/>
                </a:lnTo>
                <a:close/>
              </a:path>
            </a:pathLst>
          </a:custGeom>
          <a:solidFill>
            <a:schemeClr val="accent6"/>
          </a:solidFill>
          <a:ln>
            <a:noFill/>
          </a:ln>
        </p:spPr>
        <p:txBody>
          <a:bodyPr vert="horz" wrap="square" lIns="133428" tIns="66715" rIns="133428" bIns="66715" numCol="1" anchor="t" anchorCtr="0" compatLnSpc="1">
            <a:prstTxWarp prst="textNoShape">
              <a:avLst/>
            </a:prstTxWarp>
          </a:bodyPr>
          <a:lstStyle/>
          <a:p>
            <a:endParaRPr lang="ja-JP" altLang="en-US" sz="2533"/>
          </a:p>
        </p:txBody>
      </p:sp>
      <p:sp>
        <p:nvSpPr>
          <p:cNvPr id="2" name="タイトル 1"/>
          <p:cNvSpPr>
            <a:spLocks noGrp="1"/>
          </p:cNvSpPr>
          <p:nvPr>
            <p:ph type="title"/>
          </p:nvPr>
        </p:nvSpPr>
        <p:spPr>
          <a:xfrm>
            <a:off x="368549" y="194236"/>
            <a:ext cx="9791452" cy="540000"/>
          </a:xfrm>
          <a:prstGeom prst="rect">
            <a:avLst/>
          </a:prstGeom>
        </p:spPr>
        <p:txBody>
          <a:bodyPr lIns="95767" tIns="47884" rIns="95767" bIns="47884"/>
          <a:lstStyle>
            <a:lvl1pPr>
              <a:defRPr>
                <a:latin typeface="Meiryo UI" panose="020B0604030504040204" pitchFamily="50" charset="-128"/>
                <a:ea typeface="Meiryo UI" panose="020B0604030504040204" pitchFamily="50" charset="-128"/>
              </a:defRPr>
            </a:lvl1pPr>
          </a:lstStyle>
          <a:p>
            <a:r>
              <a:rPr kumimoji="1" lang="ja-JP" altLang="en-US"/>
              <a:t>マスター タイトルの書式設定</a:t>
            </a:r>
          </a:p>
        </p:txBody>
      </p:sp>
      <p:sp>
        <p:nvSpPr>
          <p:cNvPr id="3" name="コンテンツ プレースホルダー 2"/>
          <p:cNvSpPr>
            <a:spLocks noGrp="1"/>
          </p:cNvSpPr>
          <p:nvPr>
            <p:ph idx="1"/>
          </p:nvPr>
        </p:nvSpPr>
        <p:spPr>
          <a:xfrm>
            <a:off x="368551" y="903600"/>
            <a:ext cx="11583452" cy="5540400"/>
          </a:xfrm>
          <a:prstGeom prst="rect">
            <a:avLst/>
          </a:prstGeom>
        </p:spPr>
        <p:txBody>
          <a:bodyPr lIns="95767" tIns="47884" rIns="95767" bIns="47884"/>
          <a:lstStyle>
            <a:lvl1pPr>
              <a:defRPr>
                <a:latin typeface="Meiryo UI" panose="020B0604030504040204" pitchFamily="50" charset="-128"/>
                <a:ea typeface="Meiryo UI" panose="020B0604030504040204" pitchFamily="50" charset="-128"/>
              </a:defRPr>
            </a:lvl1pPr>
            <a:lvl2pPr indent="-236233">
              <a:defRPr>
                <a:latin typeface="Meiryo UI" panose="020B0604030504040204" pitchFamily="50" charset="-128"/>
                <a:ea typeface="Meiryo UI" panose="020B0604030504040204" pitchFamily="50" charset="-128"/>
              </a:defRPr>
            </a:lvl2pPr>
            <a:lvl3pPr indent="-236233">
              <a:defRPr>
                <a:latin typeface="Meiryo UI" panose="020B0604030504040204" pitchFamily="50" charset="-128"/>
                <a:ea typeface="Meiryo UI" panose="020B0604030504040204" pitchFamily="50" charset="-128"/>
              </a:defRPr>
            </a:lvl3pPr>
            <a:lvl4pPr indent="-236233">
              <a:defRPr>
                <a:latin typeface="Meiryo UI" panose="020B0604030504040204" pitchFamily="50" charset="-128"/>
                <a:ea typeface="Meiryo UI" panose="020B0604030504040204" pitchFamily="50" charset="-128"/>
              </a:defRPr>
            </a:lvl4pPr>
            <a:lvl5pPr indent="-236233">
              <a:defRPr>
                <a:latin typeface="Meiryo UI" panose="020B0604030504040204" pitchFamily="50" charset="-128"/>
                <a:ea typeface="Meiryo UI" panose="020B0604030504040204" pitchFamily="50" charset="-128"/>
              </a:defRPr>
            </a:lvl5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6" name="スライド番号プレースホルダー 5"/>
          <p:cNvSpPr>
            <a:spLocks noGrp="1"/>
          </p:cNvSpPr>
          <p:nvPr>
            <p:ph type="sldNum" sz="quarter" idx="12"/>
          </p:nvPr>
        </p:nvSpPr>
        <p:spPr>
          <a:xfrm>
            <a:off x="11524630" y="6468878"/>
            <a:ext cx="555811" cy="289299"/>
          </a:xfrm>
          <a:prstGeom prst="rect">
            <a:avLst/>
          </a:prstGeom>
        </p:spPr>
        <p:txBody>
          <a:bodyPr lIns="95767" tIns="47884" rIns="95767" bIns="47884"/>
          <a:lstStyle>
            <a:lvl1pPr>
              <a:defRPr sz="1333"/>
            </a:lvl1pPr>
          </a:lstStyle>
          <a:p>
            <a:fld id="{2FF5E1DE-7B95-8A44-8552-65323269AE41}" type="slidenum">
              <a:rPr lang="ja-JP" altLang="en-US" smtClean="0"/>
              <a:pPr/>
              <a:t>‹#›</a:t>
            </a:fld>
            <a:endParaRPr lang="ja-JP" altLang="en-US"/>
          </a:p>
        </p:txBody>
      </p:sp>
      <p:cxnSp>
        <p:nvCxnSpPr>
          <p:cNvPr id="8" name="直線コネクタ 7"/>
          <p:cNvCxnSpPr/>
          <p:nvPr userDrawn="1"/>
        </p:nvCxnSpPr>
        <p:spPr>
          <a:xfrm>
            <a:off x="239959" y="817200"/>
            <a:ext cx="11709966" cy="0"/>
          </a:xfrm>
          <a:prstGeom prst="line">
            <a:avLst/>
          </a:prstGeom>
          <a:ln>
            <a:solidFill>
              <a:srgbClr val="C7000D"/>
            </a:solidFill>
          </a:ln>
          <a:effectLst/>
        </p:spPr>
        <p:style>
          <a:lnRef idx="2">
            <a:schemeClr val="accent1"/>
          </a:lnRef>
          <a:fillRef idx="0">
            <a:schemeClr val="accent1"/>
          </a:fillRef>
          <a:effectRef idx="1">
            <a:schemeClr val="accent1"/>
          </a:effectRef>
          <a:fontRef idx="minor">
            <a:schemeClr val="tx1"/>
          </a:fontRef>
        </p:style>
      </p:cxnSp>
      <p:pic>
        <p:nvPicPr>
          <p:cNvPr id="10" name="Picture 2" descr="C:\Users\00057835\AppData\Local\Temp\notesEA5B2A\グループ併記ロゴ（縦・英文）.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0756324" y="26652"/>
            <a:ext cx="1434080" cy="85801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46739025"/>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userDrawn="1">
  <p:cSld name="7_タイトルとコンテンツ">
    <p:spTree>
      <p:nvGrpSpPr>
        <p:cNvPr id="1" name=""/>
        <p:cNvGrpSpPr/>
        <p:nvPr/>
      </p:nvGrpSpPr>
      <p:grpSpPr>
        <a:xfrm>
          <a:off x="0" y="0"/>
          <a:ext cx="0" cy="0"/>
          <a:chOff x="0" y="0"/>
          <a:chExt cx="0" cy="0"/>
        </a:xfrm>
      </p:grpSpPr>
      <p:sp>
        <p:nvSpPr>
          <p:cNvPr id="2" name="タイトル 1"/>
          <p:cNvSpPr>
            <a:spLocks noGrp="1"/>
          </p:cNvSpPr>
          <p:nvPr>
            <p:ph type="title"/>
          </p:nvPr>
        </p:nvSpPr>
        <p:spPr>
          <a:xfrm>
            <a:off x="368549" y="194236"/>
            <a:ext cx="9791452" cy="540000"/>
          </a:xfrm>
          <a:prstGeom prst="rect">
            <a:avLst/>
          </a:prstGeom>
        </p:spPr>
        <p:txBody>
          <a:bodyPr lIns="95767" tIns="47884" rIns="95767" bIns="47884"/>
          <a:lstStyle>
            <a:lvl1pPr>
              <a:defRPr sz="2800">
                <a:latin typeface="Meiryo UI" panose="020B0604030504040204" pitchFamily="50" charset="-128"/>
                <a:ea typeface="Meiryo UI" panose="020B0604030504040204" pitchFamily="50" charset="-128"/>
              </a:defRPr>
            </a:lvl1pPr>
          </a:lstStyle>
          <a:p>
            <a:r>
              <a:rPr kumimoji="1" lang="ja-JP" altLang="en-US"/>
              <a:t>マスター タイトルの書式設定</a:t>
            </a:r>
          </a:p>
        </p:txBody>
      </p:sp>
      <p:cxnSp>
        <p:nvCxnSpPr>
          <p:cNvPr id="8" name="直線コネクタ 7"/>
          <p:cNvCxnSpPr/>
          <p:nvPr userDrawn="1"/>
        </p:nvCxnSpPr>
        <p:spPr>
          <a:xfrm>
            <a:off x="239959" y="817200"/>
            <a:ext cx="11709966" cy="0"/>
          </a:xfrm>
          <a:prstGeom prst="line">
            <a:avLst/>
          </a:prstGeom>
          <a:ln>
            <a:solidFill>
              <a:srgbClr val="C7000D"/>
            </a:solidFill>
          </a:ln>
          <a:effectLst/>
        </p:spPr>
        <p:style>
          <a:lnRef idx="2">
            <a:schemeClr val="accent1"/>
          </a:lnRef>
          <a:fillRef idx="0">
            <a:schemeClr val="accent1"/>
          </a:fillRef>
          <a:effectRef idx="1">
            <a:schemeClr val="accent1"/>
          </a:effectRef>
          <a:fontRef idx="minor">
            <a:schemeClr val="tx1"/>
          </a:fontRef>
        </p:style>
      </p:cxnSp>
      <p:sp>
        <p:nvSpPr>
          <p:cNvPr id="5" name="テキスト ボックス 4">
            <a:extLst>
              <a:ext uri="{FF2B5EF4-FFF2-40B4-BE49-F238E27FC236}">
                <a16:creationId xmlns:a16="http://schemas.microsoft.com/office/drawing/2014/main" id="{AADF97E1-4CA8-DAAC-A11E-B2D3C144F3E0}"/>
              </a:ext>
            </a:extLst>
          </p:cNvPr>
          <p:cNvSpPr txBox="1"/>
          <p:nvPr userDrawn="1"/>
        </p:nvSpPr>
        <p:spPr>
          <a:xfrm>
            <a:off x="11479075" y="6454381"/>
            <a:ext cx="648000" cy="276999"/>
          </a:xfrm>
          <a:prstGeom prst="rect">
            <a:avLst/>
          </a:prstGeom>
          <a:noFill/>
        </p:spPr>
        <p:txBody>
          <a:bodyPr wrap="square" rtlCol="0">
            <a:spAutoFit/>
          </a:bodyPr>
          <a:lstStyle/>
          <a:p>
            <a:pPr algn="ctr"/>
            <a:fld id="{D85E7518-D2CA-4B2B-B71C-37504A82BA18}" type="slidenum">
              <a:rPr kumimoji="1" lang="en-US" altLang="ja-JP" sz="1200" smtClean="0">
                <a:latin typeface="Meiryo UI" panose="020B0604030504040204" pitchFamily="50" charset="-128"/>
                <a:ea typeface="Meiryo UI" panose="020B0604030504040204" pitchFamily="50" charset="-128"/>
              </a:rPr>
              <a:t>‹#›</a:t>
            </a:fld>
            <a:endParaRPr kumimoji="1" lang="ja-JP" altLang="en-US" sz="1200">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2892308061"/>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pic>
        <p:nvPicPr>
          <p:cNvPr id="8" name="図 7"/>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 y="0"/>
            <a:ext cx="12192000" cy="6858000"/>
          </a:xfrm>
          <a:prstGeom prst="rect">
            <a:avLst/>
          </a:prstGeom>
        </p:spPr>
      </p:pic>
      <p:sp>
        <p:nvSpPr>
          <p:cNvPr id="2" name="タイトル 1"/>
          <p:cNvSpPr>
            <a:spLocks noGrp="1"/>
          </p:cNvSpPr>
          <p:nvPr>
            <p:ph type="ctrTitle"/>
          </p:nvPr>
        </p:nvSpPr>
        <p:spPr>
          <a:xfrm>
            <a:off x="914401" y="1416803"/>
            <a:ext cx="10363200" cy="1470025"/>
          </a:xfrm>
          <a:prstGeom prst="rect">
            <a:avLst/>
          </a:prstGeom>
        </p:spPr>
        <p:txBody>
          <a:bodyPr anchor="b">
            <a:normAutofit/>
          </a:bodyPr>
          <a:lstStyle>
            <a:lvl1pPr algn="l">
              <a:defRPr sz="3800" kern="1200">
                <a:solidFill>
                  <a:schemeClr val="tx1"/>
                </a:solidFill>
              </a:defRPr>
            </a:lvl1pPr>
          </a:lstStyle>
          <a:p>
            <a:r>
              <a:rPr kumimoji="1" lang="ja-JP" altLang="en-US"/>
              <a:t>マスター タイトルの書式設定</a:t>
            </a:r>
          </a:p>
        </p:txBody>
      </p:sp>
      <p:sp>
        <p:nvSpPr>
          <p:cNvPr id="3" name="サブタイトル 2"/>
          <p:cNvSpPr>
            <a:spLocks noGrp="1"/>
          </p:cNvSpPr>
          <p:nvPr>
            <p:ph type="subTitle" idx="1"/>
          </p:nvPr>
        </p:nvSpPr>
        <p:spPr>
          <a:xfrm>
            <a:off x="916805" y="3420000"/>
            <a:ext cx="9691434" cy="977153"/>
          </a:xfrm>
          <a:prstGeom prst="rect">
            <a:avLst/>
          </a:prstGeom>
        </p:spPr>
        <p:txBody>
          <a:bodyPr>
            <a:normAutofit/>
          </a:bodyPr>
          <a:lstStyle>
            <a:lvl1pPr marL="0" indent="0" algn="l">
              <a:buNone/>
              <a:defRPr sz="2400">
                <a:solidFill>
                  <a:srgbClr val="000000"/>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kumimoji="1" lang="ja-JP" altLang="en-US"/>
              <a:t>マスター サブタイトルの書式設定</a:t>
            </a:r>
          </a:p>
        </p:txBody>
      </p:sp>
      <p:sp>
        <p:nvSpPr>
          <p:cNvPr id="13" name="フッター プレースホルダー 12"/>
          <p:cNvSpPr>
            <a:spLocks noGrp="1"/>
          </p:cNvSpPr>
          <p:nvPr>
            <p:ph type="ftr" sz="quarter" idx="11"/>
          </p:nvPr>
        </p:nvSpPr>
        <p:spPr>
          <a:xfrm>
            <a:off x="609604" y="6084341"/>
            <a:ext cx="3860799" cy="365125"/>
          </a:xfrm>
          <a:prstGeom prst="rect">
            <a:avLst/>
          </a:prstGeom>
        </p:spPr>
        <p:txBody>
          <a:bodyPr/>
          <a:lstStyle>
            <a:lvl1pPr algn="l">
              <a:defRPr sz="1600"/>
            </a:lvl1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1" lang="ja-JP" altLang="en-US" sz="1600" b="0" i="0" u="none" strike="noStrike" kern="1200" cap="none" spc="0" normalizeH="0" baseline="0" noProof="0">
              <a:ln>
                <a:noFill/>
              </a:ln>
              <a:solidFill>
                <a:srgbClr val="000000"/>
              </a:solidFill>
              <a:effectLst/>
              <a:uLnTx/>
              <a:uFillTx/>
              <a:latin typeface="Calibri"/>
              <a:ea typeface="ＭＳ Ｐゴシック" panose="020B0600070205080204" pitchFamily="50" charset="-128"/>
              <a:cs typeface="+mn-cs"/>
            </a:endParaRPr>
          </a:p>
        </p:txBody>
      </p:sp>
      <p:sp>
        <p:nvSpPr>
          <p:cNvPr id="11" name="日付プレースホルダー 11"/>
          <p:cNvSpPr>
            <a:spLocks noGrp="1"/>
          </p:cNvSpPr>
          <p:nvPr>
            <p:ph type="dt" sz="half" idx="10"/>
          </p:nvPr>
        </p:nvSpPr>
        <p:spPr>
          <a:xfrm>
            <a:off x="609604" y="5676580"/>
            <a:ext cx="3860799" cy="365125"/>
          </a:xfrm>
          <a:prstGeom prst="rect">
            <a:avLst/>
          </a:prstGeom>
        </p:spPr>
        <p:txBody>
          <a:bodyPr/>
          <a:lstStyle>
            <a:lvl1pPr algn="l">
              <a:defRPr sz="1600">
                <a:solidFill>
                  <a:srgbClr val="000000"/>
                </a:solidFill>
              </a:defRPr>
            </a:lvl1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1" lang="ja-JP" altLang="en-US" sz="1600" b="0" i="0" u="none" strike="noStrike" kern="1200" cap="none" spc="0" normalizeH="0" baseline="0" noProof="0">
              <a:ln>
                <a:noFill/>
              </a:ln>
              <a:solidFill>
                <a:srgbClr val="000000"/>
              </a:solidFill>
              <a:effectLst/>
              <a:uLnTx/>
              <a:uFillTx/>
              <a:latin typeface="Calibri"/>
              <a:ea typeface="ＭＳ Ｐゴシック" panose="020B0600070205080204" pitchFamily="50" charset="-128"/>
              <a:cs typeface="+mn-cs"/>
            </a:endParaRPr>
          </a:p>
        </p:txBody>
      </p:sp>
      <p:pic>
        <p:nvPicPr>
          <p:cNvPr id="9" name="Picture 2" descr="K:\新ロゴ（データ一式）\★logo_3_jn.png"/>
          <p:cNvPicPr>
            <a:picLocks noChangeAspect="1" noChangeArrowheads="1"/>
          </p:cNvPicPr>
          <p:nvPr userDrawn="1"/>
        </p:nvPicPr>
        <p:blipFill>
          <a:blip r:embed="rId3" cstate="email">
            <a:extLst>
              <a:ext uri="{28A0092B-C50C-407E-A947-70E740481C1C}">
                <a14:useLocalDpi xmlns:a14="http://schemas.microsoft.com/office/drawing/2010/main"/>
              </a:ext>
            </a:extLst>
          </a:blip>
          <a:srcRect/>
          <a:stretch>
            <a:fillRect/>
          </a:stretch>
        </p:blipFill>
        <p:spPr bwMode="auto">
          <a:xfrm>
            <a:off x="9666455" y="5364013"/>
            <a:ext cx="2519177" cy="150723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00869758"/>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タイトルとコンテンツ">
    <p:spTree>
      <p:nvGrpSpPr>
        <p:cNvPr id="1" name=""/>
        <p:cNvGrpSpPr/>
        <p:nvPr/>
      </p:nvGrpSpPr>
      <p:grpSpPr>
        <a:xfrm>
          <a:off x="0" y="0"/>
          <a:ext cx="0" cy="0"/>
          <a:chOff x="0" y="0"/>
          <a:chExt cx="0" cy="0"/>
        </a:xfrm>
      </p:grpSpPr>
    </p:spTree>
    <p:extLst>
      <p:ext uri="{BB962C8B-B14F-4D97-AF65-F5344CB8AC3E}">
        <p14:creationId xmlns:p14="http://schemas.microsoft.com/office/powerpoint/2010/main" val="105845656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25_タイトルとコンテンツ">
    <p:spTree>
      <p:nvGrpSpPr>
        <p:cNvPr id="1" name=""/>
        <p:cNvGrpSpPr/>
        <p:nvPr/>
      </p:nvGrpSpPr>
      <p:grpSpPr>
        <a:xfrm>
          <a:off x="0" y="0"/>
          <a:ext cx="0" cy="0"/>
          <a:chOff x="0" y="0"/>
          <a:chExt cx="0" cy="0"/>
        </a:xfrm>
      </p:grpSpPr>
      <p:sp>
        <p:nvSpPr>
          <p:cNvPr id="7" name="Freeform 8"/>
          <p:cNvSpPr>
            <a:spLocks/>
          </p:cNvSpPr>
          <p:nvPr userDrawn="1"/>
        </p:nvSpPr>
        <p:spPr bwMode="auto">
          <a:xfrm>
            <a:off x="-2100" y="5505984"/>
            <a:ext cx="12192504" cy="1353504"/>
          </a:xfrm>
          <a:custGeom>
            <a:avLst/>
            <a:gdLst>
              <a:gd name="T0" fmla="*/ 3622 w 3622"/>
              <a:gd name="T1" fmla="*/ 608 h 608"/>
              <a:gd name="T2" fmla="*/ 3622 w 3622"/>
              <a:gd name="T3" fmla="*/ 0 h 608"/>
              <a:gd name="T4" fmla="*/ 3622 w 3622"/>
              <a:gd name="T5" fmla="*/ 0 h 608"/>
              <a:gd name="T6" fmla="*/ 3622 w 3622"/>
              <a:gd name="T7" fmla="*/ 14 h 608"/>
              <a:gd name="T8" fmla="*/ 3616 w 3622"/>
              <a:gd name="T9" fmla="*/ 46 h 608"/>
              <a:gd name="T10" fmla="*/ 3612 w 3622"/>
              <a:gd name="T11" fmla="*/ 68 h 608"/>
              <a:gd name="T12" fmla="*/ 3604 w 3622"/>
              <a:gd name="T13" fmla="*/ 94 h 608"/>
              <a:gd name="T14" fmla="*/ 3596 w 3622"/>
              <a:gd name="T15" fmla="*/ 122 h 608"/>
              <a:gd name="T16" fmla="*/ 3584 w 3622"/>
              <a:gd name="T17" fmla="*/ 150 h 608"/>
              <a:gd name="T18" fmla="*/ 3568 w 3622"/>
              <a:gd name="T19" fmla="*/ 178 h 608"/>
              <a:gd name="T20" fmla="*/ 3550 w 3622"/>
              <a:gd name="T21" fmla="*/ 206 h 608"/>
              <a:gd name="T22" fmla="*/ 3526 w 3622"/>
              <a:gd name="T23" fmla="*/ 232 h 608"/>
              <a:gd name="T24" fmla="*/ 3514 w 3622"/>
              <a:gd name="T25" fmla="*/ 246 h 608"/>
              <a:gd name="T26" fmla="*/ 3498 w 3622"/>
              <a:gd name="T27" fmla="*/ 258 h 608"/>
              <a:gd name="T28" fmla="*/ 3484 w 3622"/>
              <a:gd name="T29" fmla="*/ 268 h 608"/>
              <a:gd name="T30" fmla="*/ 3466 w 3622"/>
              <a:gd name="T31" fmla="*/ 280 h 608"/>
              <a:gd name="T32" fmla="*/ 3448 w 3622"/>
              <a:gd name="T33" fmla="*/ 288 h 608"/>
              <a:gd name="T34" fmla="*/ 3430 w 3622"/>
              <a:gd name="T35" fmla="*/ 298 h 608"/>
              <a:gd name="T36" fmla="*/ 3410 w 3622"/>
              <a:gd name="T37" fmla="*/ 304 h 608"/>
              <a:gd name="T38" fmla="*/ 3386 w 3622"/>
              <a:gd name="T39" fmla="*/ 310 h 608"/>
              <a:gd name="T40" fmla="*/ 3364 w 3622"/>
              <a:gd name="T41" fmla="*/ 316 h 608"/>
              <a:gd name="T42" fmla="*/ 3338 w 3622"/>
              <a:gd name="T43" fmla="*/ 318 h 608"/>
              <a:gd name="T44" fmla="*/ 3338 w 3622"/>
              <a:gd name="T45" fmla="*/ 318 h 608"/>
              <a:gd name="T46" fmla="*/ 0 w 3622"/>
              <a:gd name="T47" fmla="*/ 608 h 608"/>
              <a:gd name="T48" fmla="*/ 3622 w 3622"/>
              <a:gd name="T49" fmla="*/ 608 h 608"/>
              <a:gd name="connsiteX0" fmla="*/ 10000 w 10000"/>
              <a:gd name="connsiteY0" fmla="*/ 10000 h 10000"/>
              <a:gd name="connsiteX1" fmla="*/ 10000 w 10000"/>
              <a:gd name="connsiteY1" fmla="*/ 0 h 10000"/>
              <a:gd name="connsiteX2" fmla="*/ 10000 w 10000"/>
              <a:gd name="connsiteY2" fmla="*/ 0 h 10000"/>
              <a:gd name="connsiteX3" fmla="*/ 10000 w 10000"/>
              <a:gd name="connsiteY3" fmla="*/ 230 h 10000"/>
              <a:gd name="connsiteX4" fmla="*/ 9983 w 10000"/>
              <a:gd name="connsiteY4" fmla="*/ 757 h 10000"/>
              <a:gd name="connsiteX5" fmla="*/ 9972 w 10000"/>
              <a:gd name="connsiteY5" fmla="*/ 1118 h 10000"/>
              <a:gd name="connsiteX6" fmla="*/ 9950 w 10000"/>
              <a:gd name="connsiteY6" fmla="*/ 1546 h 10000"/>
              <a:gd name="connsiteX7" fmla="*/ 9928 w 10000"/>
              <a:gd name="connsiteY7" fmla="*/ 2007 h 10000"/>
              <a:gd name="connsiteX8" fmla="*/ 9895 w 10000"/>
              <a:gd name="connsiteY8" fmla="*/ 2467 h 10000"/>
              <a:gd name="connsiteX9" fmla="*/ 9851 w 10000"/>
              <a:gd name="connsiteY9" fmla="*/ 2928 h 10000"/>
              <a:gd name="connsiteX10" fmla="*/ 9801 w 10000"/>
              <a:gd name="connsiteY10" fmla="*/ 3388 h 10000"/>
              <a:gd name="connsiteX11" fmla="*/ 9735 w 10000"/>
              <a:gd name="connsiteY11" fmla="*/ 3816 h 10000"/>
              <a:gd name="connsiteX12" fmla="*/ 9702 w 10000"/>
              <a:gd name="connsiteY12" fmla="*/ 4046 h 10000"/>
              <a:gd name="connsiteX13" fmla="*/ 9658 w 10000"/>
              <a:gd name="connsiteY13" fmla="*/ 4243 h 10000"/>
              <a:gd name="connsiteX14" fmla="*/ 9619 w 10000"/>
              <a:gd name="connsiteY14" fmla="*/ 4408 h 10000"/>
              <a:gd name="connsiteX15" fmla="*/ 9569 w 10000"/>
              <a:gd name="connsiteY15" fmla="*/ 4605 h 10000"/>
              <a:gd name="connsiteX16" fmla="*/ 9520 w 10000"/>
              <a:gd name="connsiteY16" fmla="*/ 4737 h 10000"/>
              <a:gd name="connsiteX17" fmla="*/ 9470 w 10000"/>
              <a:gd name="connsiteY17" fmla="*/ 4901 h 10000"/>
              <a:gd name="connsiteX18" fmla="*/ 9415 w 10000"/>
              <a:gd name="connsiteY18" fmla="*/ 5000 h 10000"/>
              <a:gd name="connsiteX19" fmla="*/ 9348 w 10000"/>
              <a:gd name="connsiteY19" fmla="*/ 5099 h 10000"/>
              <a:gd name="connsiteX20" fmla="*/ 9288 w 10000"/>
              <a:gd name="connsiteY20" fmla="*/ 5197 h 10000"/>
              <a:gd name="connsiteX21" fmla="*/ 9216 w 10000"/>
              <a:gd name="connsiteY21" fmla="*/ 5230 h 10000"/>
              <a:gd name="connsiteX22" fmla="*/ 9216 w 10000"/>
              <a:gd name="connsiteY22" fmla="*/ 5230 h 10000"/>
              <a:gd name="connsiteX23" fmla="*/ 1190 w 10000"/>
              <a:gd name="connsiteY23" fmla="*/ 9414 h 10000"/>
              <a:gd name="connsiteX24" fmla="*/ 0 w 10000"/>
              <a:gd name="connsiteY24" fmla="*/ 10000 h 10000"/>
              <a:gd name="connsiteX25" fmla="*/ 10000 w 10000"/>
              <a:gd name="connsiteY25" fmla="*/ 10000 h 10000"/>
              <a:gd name="connsiteX0" fmla="*/ 10000 w 10000"/>
              <a:gd name="connsiteY0" fmla="*/ 10000 h 10011"/>
              <a:gd name="connsiteX1" fmla="*/ 10000 w 10000"/>
              <a:gd name="connsiteY1" fmla="*/ 0 h 10011"/>
              <a:gd name="connsiteX2" fmla="*/ 10000 w 10000"/>
              <a:gd name="connsiteY2" fmla="*/ 0 h 10011"/>
              <a:gd name="connsiteX3" fmla="*/ 10000 w 10000"/>
              <a:gd name="connsiteY3" fmla="*/ 230 h 10011"/>
              <a:gd name="connsiteX4" fmla="*/ 9983 w 10000"/>
              <a:gd name="connsiteY4" fmla="*/ 757 h 10011"/>
              <a:gd name="connsiteX5" fmla="*/ 9972 w 10000"/>
              <a:gd name="connsiteY5" fmla="*/ 1118 h 10011"/>
              <a:gd name="connsiteX6" fmla="*/ 9950 w 10000"/>
              <a:gd name="connsiteY6" fmla="*/ 1546 h 10011"/>
              <a:gd name="connsiteX7" fmla="*/ 9928 w 10000"/>
              <a:gd name="connsiteY7" fmla="*/ 2007 h 10011"/>
              <a:gd name="connsiteX8" fmla="*/ 9895 w 10000"/>
              <a:gd name="connsiteY8" fmla="*/ 2467 h 10011"/>
              <a:gd name="connsiteX9" fmla="*/ 9851 w 10000"/>
              <a:gd name="connsiteY9" fmla="*/ 2928 h 10011"/>
              <a:gd name="connsiteX10" fmla="*/ 9801 w 10000"/>
              <a:gd name="connsiteY10" fmla="*/ 3388 h 10011"/>
              <a:gd name="connsiteX11" fmla="*/ 9735 w 10000"/>
              <a:gd name="connsiteY11" fmla="*/ 3816 h 10011"/>
              <a:gd name="connsiteX12" fmla="*/ 9702 w 10000"/>
              <a:gd name="connsiteY12" fmla="*/ 4046 h 10011"/>
              <a:gd name="connsiteX13" fmla="*/ 9658 w 10000"/>
              <a:gd name="connsiteY13" fmla="*/ 4243 h 10011"/>
              <a:gd name="connsiteX14" fmla="*/ 9619 w 10000"/>
              <a:gd name="connsiteY14" fmla="*/ 4408 h 10011"/>
              <a:gd name="connsiteX15" fmla="*/ 9569 w 10000"/>
              <a:gd name="connsiteY15" fmla="*/ 4605 h 10011"/>
              <a:gd name="connsiteX16" fmla="*/ 9520 w 10000"/>
              <a:gd name="connsiteY16" fmla="*/ 4737 h 10011"/>
              <a:gd name="connsiteX17" fmla="*/ 9470 w 10000"/>
              <a:gd name="connsiteY17" fmla="*/ 4901 h 10011"/>
              <a:gd name="connsiteX18" fmla="*/ 9415 w 10000"/>
              <a:gd name="connsiteY18" fmla="*/ 5000 h 10011"/>
              <a:gd name="connsiteX19" fmla="*/ 9348 w 10000"/>
              <a:gd name="connsiteY19" fmla="*/ 5099 h 10011"/>
              <a:gd name="connsiteX20" fmla="*/ 9288 w 10000"/>
              <a:gd name="connsiteY20" fmla="*/ 5197 h 10011"/>
              <a:gd name="connsiteX21" fmla="*/ 9216 w 10000"/>
              <a:gd name="connsiteY21" fmla="*/ 5230 h 10011"/>
              <a:gd name="connsiteX22" fmla="*/ 9216 w 10000"/>
              <a:gd name="connsiteY22" fmla="*/ 5230 h 10011"/>
              <a:gd name="connsiteX23" fmla="*/ 1190 w 10000"/>
              <a:gd name="connsiteY23" fmla="*/ 9414 h 10011"/>
              <a:gd name="connsiteX24" fmla="*/ 0 w 10000"/>
              <a:gd name="connsiteY24" fmla="*/ 10000 h 10011"/>
              <a:gd name="connsiteX25" fmla="*/ 1185 w 10000"/>
              <a:gd name="connsiteY25" fmla="*/ 10011 h 10011"/>
              <a:gd name="connsiteX26" fmla="*/ 10000 w 10000"/>
              <a:gd name="connsiteY26" fmla="*/ 10000 h 10011"/>
              <a:gd name="connsiteX0" fmla="*/ 8815 w 8815"/>
              <a:gd name="connsiteY0" fmla="*/ 10000 h 10011"/>
              <a:gd name="connsiteX1" fmla="*/ 8815 w 8815"/>
              <a:gd name="connsiteY1" fmla="*/ 0 h 10011"/>
              <a:gd name="connsiteX2" fmla="*/ 8815 w 8815"/>
              <a:gd name="connsiteY2" fmla="*/ 0 h 10011"/>
              <a:gd name="connsiteX3" fmla="*/ 8815 w 8815"/>
              <a:gd name="connsiteY3" fmla="*/ 230 h 10011"/>
              <a:gd name="connsiteX4" fmla="*/ 8798 w 8815"/>
              <a:gd name="connsiteY4" fmla="*/ 757 h 10011"/>
              <a:gd name="connsiteX5" fmla="*/ 8787 w 8815"/>
              <a:gd name="connsiteY5" fmla="*/ 1118 h 10011"/>
              <a:gd name="connsiteX6" fmla="*/ 8765 w 8815"/>
              <a:gd name="connsiteY6" fmla="*/ 1546 h 10011"/>
              <a:gd name="connsiteX7" fmla="*/ 8743 w 8815"/>
              <a:gd name="connsiteY7" fmla="*/ 2007 h 10011"/>
              <a:gd name="connsiteX8" fmla="*/ 8710 w 8815"/>
              <a:gd name="connsiteY8" fmla="*/ 2467 h 10011"/>
              <a:gd name="connsiteX9" fmla="*/ 8666 w 8815"/>
              <a:gd name="connsiteY9" fmla="*/ 2928 h 10011"/>
              <a:gd name="connsiteX10" fmla="*/ 8616 w 8815"/>
              <a:gd name="connsiteY10" fmla="*/ 3388 h 10011"/>
              <a:gd name="connsiteX11" fmla="*/ 8550 w 8815"/>
              <a:gd name="connsiteY11" fmla="*/ 3816 h 10011"/>
              <a:gd name="connsiteX12" fmla="*/ 8517 w 8815"/>
              <a:gd name="connsiteY12" fmla="*/ 4046 h 10011"/>
              <a:gd name="connsiteX13" fmla="*/ 8473 w 8815"/>
              <a:gd name="connsiteY13" fmla="*/ 4243 h 10011"/>
              <a:gd name="connsiteX14" fmla="*/ 8434 w 8815"/>
              <a:gd name="connsiteY14" fmla="*/ 4408 h 10011"/>
              <a:gd name="connsiteX15" fmla="*/ 8384 w 8815"/>
              <a:gd name="connsiteY15" fmla="*/ 4605 h 10011"/>
              <a:gd name="connsiteX16" fmla="*/ 8335 w 8815"/>
              <a:gd name="connsiteY16" fmla="*/ 4737 h 10011"/>
              <a:gd name="connsiteX17" fmla="*/ 8285 w 8815"/>
              <a:gd name="connsiteY17" fmla="*/ 4901 h 10011"/>
              <a:gd name="connsiteX18" fmla="*/ 8230 w 8815"/>
              <a:gd name="connsiteY18" fmla="*/ 5000 h 10011"/>
              <a:gd name="connsiteX19" fmla="*/ 8163 w 8815"/>
              <a:gd name="connsiteY19" fmla="*/ 5099 h 10011"/>
              <a:gd name="connsiteX20" fmla="*/ 8103 w 8815"/>
              <a:gd name="connsiteY20" fmla="*/ 5197 h 10011"/>
              <a:gd name="connsiteX21" fmla="*/ 8031 w 8815"/>
              <a:gd name="connsiteY21" fmla="*/ 5230 h 10011"/>
              <a:gd name="connsiteX22" fmla="*/ 8031 w 8815"/>
              <a:gd name="connsiteY22" fmla="*/ 5230 h 10011"/>
              <a:gd name="connsiteX23" fmla="*/ 5 w 8815"/>
              <a:gd name="connsiteY23" fmla="*/ 9414 h 10011"/>
              <a:gd name="connsiteX24" fmla="*/ 0 w 8815"/>
              <a:gd name="connsiteY24" fmla="*/ 10011 h 10011"/>
              <a:gd name="connsiteX25" fmla="*/ 8815 w 8815"/>
              <a:gd name="connsiteY25" fmla="*/ 10000 h 10011"/>
              <a:gd name="connsiteX0" fmla="*/ 9996 w 9996"/>
              <a:gd name="connsiteY0" fmla="*/ 9989 h 10000"/>
              <a:gd name="connsiteX1" fmla="*/ 9996 w 9996"/>
              <a:gd name="connsiteY1" fmla="*/ 0 h 10000"/>
              <a:gd name="connsiteX2" fmla="*/ 9996 w 9996"/>
              <a:gd name="connsiteY2" fmla="*/ 0 h 10000"/>
              <a:gd name="connsiteX3" fmla="*/ 9996 w 9996"/>
              <a:gd name="connsiteY3" fmla="*/ 230 h 10000"/>
              <a:gd name="connsiteX4" fmla="*/ 9977 w 9996"/>
              <a:gd name="connsiteY4" fmla="*/ 756 h 10000"/>
              <a:gd name="connsiteX5" fmla="*/ 9964 w 9996"/>
              <a:gd name="connsiteY5" fmla="*/ 1117 h 10000"/>
              <a:gd name="connsiteX6" fmla="*/ 9939 w 9996"/>
              <a:gd name="connsiteY6" fmla="*/ 1544 h 10000"/>
              <a:gd name="connsiteX7" fmla="*/ 9914 w 9996"/>
              <a:gd name="connsiteY7" fmla="*/ 2005 h 10000"/>
              <a:gd name="connsiteX8" fmla="*/ 9877 w 9996"/>
              <a:gd name="connsiteY8" fmla="*/ 2464 h 10000"/>
              <a:gd name="connsiteX9" fmla="*/ 9827 w 9996"/>
              <a:gd name="connsiteY9" fmla="*/ 2925 h 10000"/>
              <a:gd name="connsiteX10" fmla="*/ 9770 w 9996"/>
              <a:gd name="connsiteY10" fmla="*/ 3384 h 10000"/>
              <a:gd name="connsiteX11" fmla="*/ 9695 w 9996"/>
              <a:gd name="connsiteY11" fmla="*/ 3812 h 10000"/>
              <a:gd name="connsiteX12" fmla="*/ 9658 w 9996"/>
              <a:gd name="connsiteY12" fmla="*/ 4042 h 10000"/>
              <a:gd name="connsiteX13" fmla="*/ 9608 w 9996"/>
              <a:gd name="connsiteY13" fmla="*/ 4238 h 10000"/>
              <a:gd name="connsiteX14" fmla="*/ 9564 w 9996"/>
              <a:gd name="connsiteY14" fmla="*/ 4403 h 10000"/>
              <a:gd name="connsiteX15" fmla="*/ 9507 w 9996"/>
              <a:gd name="connsiteY15" fmla="*/ 4600 h 10000"/>
              <a:gd name="connsiteX16" fmla="*/ 9451 w 9996"/>
              <a:gd name="connsiteY16" fmla="*/ 4732 h 10000"/>
              <a:gd name="connsiteX17" fmla="*/ 9395 w 9996"/>
              <a:gd name="connsiteY17" fmla="*/ 4896 h 10000"/>
              <a:gd name="connsiteX18" fmla="*/ 9332 w 9996"/>
              <a:gd name="connsiteY18" fmla="*/ 4995 h 10000"/>
              <a:gd name="connsiteX19" fmla="*/ 9256 w 9996"/>
              <a:gd name="connsiteY19" fmla="*/ 5093 h 10000"/>
              <a:gd name="connsiteX20" fmla="*/ 9188 w 9996"/>
              <a:gd name="connsiteY20" fmla="*/ 5191 h 10000"/>
              <a:gd name="connsiteX21" fmla="*/ 9107 w 9996"/>
              <a:gd name="connsiteY21" fmla="*/ 5224 h 10000"/>
              <a:gd name="connsiteX22" fmla="*/ 9107 w 9996"/>
              <a:gd name="connsiteY22" fmla="*/ 5224 h 10000"/>
              <a:gd name="connsiteX23" fmla="*/ 2 w 9996"/>
              <a:gd name="connsiteY23" fmla="*/ 9404 h 10000"/>
              <a:gd name="connsiteX24" fmla="*/ 0 w 9996"/>
              <a:gd name="connsiteY24" fmla="*/ 10000 h 10000"/>
              <a:gd name="connsiteX25" fmla="*/ 9996 w 9996"/>
              <a:gd name="connsiteY25" fmla="*/ 9989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9996" h="10000">
                <a:moveTo>
                  <a:pt x="9996" y="9989"/>
                </a:moveTo>
                <a:lnTo>
                  <a:pt x="9996" y="0"/>
                </a:lnTo>
                <a:lnTo>
                  <a:pt x="9996" y="0"/>
                </a:lnTo>
                <a:lnTo>
                  <a:pt x="9996" y="230"/>
                </a:lnTo>
                <a:cubicBezTo>
                  <a:pt x="9989" y="406"/>
                  <a:pt x="9984" y="580"/>
                  <a:pt x="9977" y="756"/>
                </a:cubicBezTo>
                <a:cubicBezTo>
                  <a:pt x="9972" y="876"/>
                  <a:pt x="9969" y="997"/>
                  <a:pt x="9964" y="1117"/>
                </a:cubicBezTo>
                <a:cubicBezTo>
                  <a:pt x="9956" y="1260"/>
                  <a:pt x="9947" y="1401"/>
                  <a:pt x="9939" y="1544"/>
                </a:cubicBezTo>
                <a:cubicBezTo>
                  <a:pt x="9931" y="1698"/>
                  <a:pt x="9922" y="1851"/>
                  <a:pt x="9914" y="2005"/>
                </a:cubicBezTo>
                <a:cubicBezTo>
                  <a:pt x="9902" y="2158"/>
                  <a:pt x="9889" y="2311"/>
                  <a:pt x="9877" y="2464"/>
                </a:cubicBezTo>
                <a:cubicBezTo>
                  <a:pt x="9860" y="2618"/>
                  <a:pt x="9844" y="2771"/>
                  <a:pt x="9827" y="2925"/>
                </a:cubicBezTo>
                <a:cubicBezTo>
                  <a:pt x="9808" y="3078"/>
                  <a:pt x="9790" y="3231"/>
                  <a:pt x="9770" y="3384"/>
                </a:cubicBezTo>
                <a:cubicBezTo>
                  <a:pt x="9745" y="3527"/>
                  <a:pt x="9720" y="3669"/>
                  <a:pt x="9695" y="3812"/>
                </a:cubicBezTo>
                <a:cubicBezTo>
                  <a:pt x="9683" y="3889"/>
                  <a:pt x="9670" y="3965"/>
                  <a:pt x="9658" y="4042"/>
                </a:cubicBezTo>
                <a:cubicBezTo>
                  <a:pt x="9641" y="4107"/>
                  <a:pt x="9625" y="4172"/>
                  <a:pt x="9608" y="4238"/>
                </a:cubicBezTo>
                <a:cubicBezTo>
                  <a:pt x="9593" y="4293"/>
                  <a:pt x="9579" y="4348"/>
                  <a:pt x="9564" y="4403"/>
                </a:cubicBezTo>
                <a:cubicBezTo>
                  <a:pt x="9544" y="4469"/>
                  <a:pt x="9526" y="4534"/>
                  <a:pt x="9507" y="4600"/>
                </a:cubicBezTo>
                <a:cubicBezTo>
                  <a:pt x="9489" y="4644"/>
                  <a:pt x="9470" y="4688"/>
                  <a:pt x="9451" y="4732"/>
                </a:cubicBezTo>
                <a:cubicBezTo>
                  <a:pt x="9432" y="4787"/>
                  <a:pt x="9414" y="4841"/>
                  <a:pt x="9395" y="4896"/>
                </a:cubicBezTo>
                <a:lnTo>
                  <a:pt x="9332" y="4995"/>
                </a:lnTo>
                <a:cubicBezTo>
                  <a:pt x="9307" y="5027"/>
                  <a:pt x="9281" y="5060"/>
                  <a:pt x="9256" y="5093"/>
                </a:cubicBezTo>
                <a:cubicBezTo>
                  <a:pt x="9234" y="5126"/>
                  <a:pt x="9211" y="5158"/>
                  <a:pt x="9188" y="5191"/>
                </a:cubicBezTo>
                <a:lnTo>
                  <a:pt x="9107" y="5224"/>
                </a:lnTo>
                <a:lnTo>
                  <a:pt x="9107" y="5224"/>
                </a:lnTo>
                <a:lnTo>
                  <a:pt x="2" y="9404"/>
                </a:lnTo>
                <a:cubicBezTo>
                  <a:pt x="-1" y="9602"/>
                  <a:pt x="2" y="9801"/>
                  <a:pt x="0" y="10000"/>
                </a:cubicBezTo>
                <a:lnTo>
                  <a:pt x="9996" y="9989"/>
                </a:lnTo>
                <a:close/>
              </a:path>
            </a:pathLst>
          </a:custGeom>
          <a:solidFill>
            <a:schemeClr val="accent6"/>
          </a:solidFill>
          <a:ln>
            <a:noFill/>
          </a:ln>
        </p:spPr>
        <p:txBody>
          <a:bodyPr vert="horz" wrap="square" lIns="133428" tIns="66715" rIns="133428" bIns="66715" numCol="1" anchor="t" anchorCtr="0" compatLnSpc="1">
            <a:prstTxWarp prst="textNoShape">
              <a:avLst/>
            </a:prstTxWarp>
          </a:bodyPr>
          <a:lstStyle/>
          <a:p>
            <a:endParaRPr lang="ja-JP" altLang="en-US" sz="2533"/>
          </a:p>
        </p:txBody>
      </p:sp>
      <p:sp>
        <p:nvSpPr>
          <p:cNvPr id="2" name="タイトル 1"/>
          <p:cNvSpPr>
            <a:spLocks noGrp="1"/>
          </p:cNvSpPr>
          <p:nvPr>
            <p:ph type="title"/>
          </p:nvPr>
        </p:nvSpPr>
        <p:spPr>
          <a:xfrm>
            <a:off x="368550" y="1959102"/>
            <a:ext cx="11451591" cy="540000"/>
          </a:xfrm>
          <a:prstGeom prst="rect">
            <a:avLst/>
          </a:prstGeom>
        </p:spPr>
        <p:txBody>
          <a:bodyPr lIns="95767" tIns="47884" rIns="95767" bIns="47884"/>
          <a:lstStyle/>
          <a:p>
            <a:r>
              <a:rPr kumimoji="1" lang="ja-JP" altLang="en-US"/>
              <a:t>マスター タイトルの書式設定</a:t>
            </a:r>
          </a:p>
        </p:txBody>
      </p:sp>
      <p:sp>
        <p:nvSpPr>
          <p:cNvPr id="6" name="スライド番号プレースホルダー 5"/>
          <p:cNvSpPr>
            <a:spLocks noGrp="1"/>
          </p:cNvSpPr>
          <p:nvPr>
            <p:ph type="sldNum" sz="quarter" idx="12"/>
          </p:nvPr>
        </p:nvSpPr>
        <p:spPr>
          <a:xfrm>
            <a:off x="11524630" y="6468878"/>
            <a:ext cx="555811" cy="289299"/>
          </a:xfrm>
          <a:prstGeom prst="rect">
            <a:avLst/>
          </a:prstGeom>
        </p:spPr>
        <p:txBody>
          <a:bodyPr lIns="95767" tIns="47884" rIns="95767" bIns="47884"/>
          <a:lstStyle>
            <a:lvl1pPr>
              <a:defRPr sz="1333"/>
            </a:lvl1pPr>
          </a:lstStyle>
          <a:p>
            <a:fld id="{2FF5E1DE-7B95-8A44-8552-65323269AE41}" type="slidenum">
              <a:rPr lang="ja-JP" altLang="en-US" smtClean="0"/>
              <a:pPr/>
              <a:t>‹#›</a:t>
            </a:fld>
            <a:endParaRPr lang="ja-JP" altLang="en-US"/>
          </a:p>
        </p:txBody>
      </p:sp>
      <p:pic>
        <p:nvPicPr>
          <p:cNvPr id="8" name="Picture 2" descr="K:\新ロゴ（データ一式）\DLH_3_EN.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1038066" y="-34312"/>
            <a:ext cx="973128" cy="90043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31528834"/>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type="twoObj" preserve="1">
  <p:cSld name="2 つのコンテンツ">
    <p:spTree>
      <p:nvGrpSpPr>
        <p:cNvPr id="1" name=""/>
        <p:cNvGrpSpPr/>
        <p:nvPr/>
      </p:nvGrpSpPr>
      <p:grpSpPr>
        <a:xfrm>
          <a:off x="0" y="0"/>
          <a:ext cx="0" cy="0"/>
          <a:chOff x="0" y="0"/>
          <a:chExt cx="0" cy="0"/>
        </a:xfrm>
      </p:grpSpPr>
      <p:sp>
        <p:nvSpPr>
          <p:cNvPr id="2" name="タイトル 1"/>
          <p:cNvSpPr>
            <a:spLocks noGrp="1"/>
          </p:cNvSpPr>
          <p:nvPr>
            <p:ph type="title"/>
          </p:nvPr>
        </p:nvSpPr>
        <p:spPr>
          <a:xfrm>
            <a:off x="368550" y="194236"/>
            <a:ext cx="9791452" cy="540000"/>
          </a:xfrm>
          <a:prstGeom prst="rect">
            <a:avLst/>
          </a:prstGeom>
        </p:spPr>
        <p:txBody>
          <a:bodyPr/>
          <a:lstStyle>
            <a:lvl1pPr>
              <a:defRPr>
                <a:latin typeface="Meiryo UI" panose="020B0604030504040204" pitchFamily="50" charset="-128"/>
                <a:ea typeface="Meiryo UI" panose="020B0604030504040204" pitchFamily="50" charset="-128"/>
              </a:defRPr>
            </a:lvl1pPr>
          </a:lstStyle>
          <a:p>
            <a:r>
              <a:rPr kumimoji="1" lang="ja-JP" altLang="en-US"/>
              <a:t>マスター タイトルの書式設定</a:t>
            </a:r>
          </a:p>
        </p:txBody>
      </p:sp>
      <p:sp>
        <p:nvSpPr>
          <p:cNvPr id="3" name="コンテンツ プレースホルダー 2"/>
          <p:cNvSpPr>
            <a:spLocks noGrp="1"/>
          </p:cNvSpPr>
          <p:nvPr>
            <p:ph sz="half" idx="1"/>
          </p:nvPr>
        </p:nvSpPr>
        <p:spPr>
          <a:xfrm>
            <a:off x="368585" y="903599"/>
            <a:ext cx="5734207" cy="5540400"/>
          </a:xfrm>
          <a:prstGeom prst="rect">
            <a:avLst/>
          </a:prstGeom>
        </p:spPr>
        <p:txBody>
          <a:bodyPr>
            <a:normAutofit/>
          </a:bodyPr>
          <a:lstStyle>
            <a:lvl1pPr>
              <a:defRPr sz="2400">
                <a:latin typeface="Meiryo UI" panose="020B0604030504040204" pitchFamily="50" charset="-128"/>
                <a:ea typeface="Meiryo UI" panose="020B0604030504040204" pitchFamily="50" charset="-128"/>
              </a:defRPr>
            </a:lvl1pPr>
            <a:lvl2pPr>
              <a:defRPr sz="2000">
                <a:latin typeface="Meiryo UI" panose="020B0604030504040204" pitchFamily="50" charset="-128"/>
                <a:ea typeface="Meiryo UI" panose="020B0604030504040204" pitchFamily="50" charset="-128"/>
              </a:defRPr>
            </a:lvl2pPr>
            <a:lvl3pPr>
              <a:defRPr sz="1800">
                <a:latin typeface="Meiryo UI" panose="020B0604030504040204" pitchFamily="50" charset="-128"/>
                <a:ea typeface="Meiryo UI" panose="020B0604030504040204" pitchFamily="50" charset="-128"/>
              </a:defRPr>
            </a:lvl3pPr>
            <a:lvl4pPr>
              <a:defRPr sz="1600">
                <a:latin typeface="Meiryo UI" panose="020B0604030504040204" pitchFamily="50" charset="-128"/>
                <a:ea typeface="Meiryo UI" panose="020B0604030504040204" pitchFamily="50" charset="-128"/>
              </a:defRPr>
            </a:lvl4pPr>
            <a:lvl5pPr>
              <a:defRPr sz="1600">
                <a:latin typeface="Meiryo UI" panose="020B0604030504040204" pitchFamily="50" charset="-128"/>
                <a:ea typeface="Meiryo UI" panose="020B0604030504040204" pitchFamily="50" charset="-128"/>
              </a:defRPr>
            </a:lvl5pPr>
            <a:lvl6pPr>
              <a:defRPr sz="1800"/>
            </a:lvl6pPr>
            <a:lvl7pPr>
              <a:defRPr sz="1800"/>
            </a:lvl7pPr>
            <a:lvl8pPr>
              <a:defRPr sz="1800"/>
            </a:lvl8pPr>
            <a:lvl9pPr>
              <a:defRPr sz="1800"/>
            </a:lvl9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コンテンツ プレースホルダー 3"/>
          <p:cNvSpPr>
            <a:spLocks noGrp="1"/>
          </p:cNvSpPr>
          <p:nvPr>
            <p:ph sz="half" idx="2"/>
          </p:nvPr>
        </p:nvSpPr>
        <p:spPr>
          <a:xfrm>
            <a:off x="6197637" y="903599"/>
            <a:ext cx="5754511" cy="5540400"/>
          </a:xfrm>
          <a:prstGeom prst="rect">
            <a:avLst/>
          </a:prstGeom>
        </p:spPr>
        <p:txBody>
          <a:bodyPr>
            <a:normAutofit/>
          </a:bodyPr>
          <a:lstStyle>
            <a:lvl1pPr>
              <a:defRPr sz="2400">
                <a:latin typeface="Meiryo UI" panose="020B0604030504040204" pitchFamily="50" charset="-128"/>
                <a:ea typeface="Meiryo UI" panose="020B0604030504040204" pitchFamily="50" charset="-128"/>
              </a:defRPr>
            </a:lvl1pPr>
            <a:lvl2pPr>
              <a:defRPr sz="2000">
                <a:latin typeface="Meiryo UI" panose="020B0604030504040204" pitchFamily="50" charset="-128"/>
                <a:ea typeface="Meiryo UI" panose="020B0604030504040204" pitchFamily="50" charset="-128"/>
              </a:defRPr>
            </a:lvl2pPr>
            <a:lvl3pPr>
              <a:defRPr sz="1800">
                <a:latin typeface="Meiryo UI" panose="020B0604030504040204" pitchFamily="50" charset="-128"/>
                <a:ea typeface="Meiryo UI" panose="020B0604030504040204" pitchFamily="50" charset="-128"/>
              </a:defRPr>
            </a:lvl3pPr>
            <a:lvl4pPr>
              <a:defRPr sz="1600">
                <a:latin typeface="Meiryo UI" panose="020B0604030504040204" pitchFamily="50" charset="-128"/>
                <a:ea typeface="Meiryo UI" panose="020B0604030504040204" pitchFamily="50" charset="-128"/>
              </a:defRPr>
            </a:lvl4pPr>
            <a:lvl5pPr>
              <a:defRPr sz="1600">
                <a:latin typeface="Meiryo UI" panose="020B0604030504040204" pitchFamily="50" charset="-128"/>
                <a:ea typeface="Meiryo UI" panose="020B0604030504040204" pitchFamily="50" charset="-128"/>
              </a:defRPr>
            </a:lvl5pPr>
            <a:lvl6pPr>
              <a:defRPr sz="1800"/>
            </a:lvl6pPr>
            <a:lvl7pPr>
              <a:defRPr sz="1800"/>
            </a:lvl7pPr>
            <a:lvl8pPr>
              <a:defRPr sz="1800"/>
            </a:lvl8pPr>
            <a:lvl9pPr>
              <a:defRPr sz="1800"/>
            </a:lvl9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Tree>
    <p:extLst>
      <p:ext uri="{BB962C8B-B14F-4D97-AF65-F5344CB8AC3E}">
        <p14:creationId xmlns:p14="http://schemas.microsoft.com/office/powerpoint/2010/main" val="363875878"/>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1_2 つのコンテンツ">
    <p:spTree>
      <p:nvGrpSpPr>
        <p:cNvPr id="1" name=""/>
        <p:cNvGrpSpPr/>
        <p:nvPr/>
      </p:nvGrpSpPr>
      <p:grpSpPr>
        <a:xfrm>
          <a:off x="0" y="0"/>
          <a:ext cx="0" cy="0"/>
          <a:chOff x="0" y="0"/>
          <a:chExt cx="0" cy="0"/>
        </a:xfrm>
      </p:grpSpPr>
      <p:sp>
        <p:nvSpPr>
          <p:cNvPr id="2" name="タイトル 1"/>
          <p:cNvSpPr>
            <a:spLocks noGrp="1"/>
          </p:cNvSpPr>
          <p:nvPr>
            <p:ph type="title"/>
          </p:nvPr>
        </p:nvSpPr>
        <p:spPr>
          <a:xfrm>
            <a:off x="368550" y="194236"/>
            <a:ext cx="9791452" cy="540000"/>
          </a:xfrm>
          <a:prstGeom prst="rect">
            <a:avLst/>
          </a:prstGeom>
        </p:spPr>
        <p:txBody>
          <a:bodyPr/>
          <a:lstStyle/>
          <a:p>
            <a:r>
              <a:rPr kumimoji="1" lang="ja-JP" altLang="en-US"/>
              <a:t>マスター タイトルの書式設定</a:t>
            </a:r>
          </a:p>
        </p:txBody>
      </p:sp>
      <p:sp>
        <p:nvSpPr>
          <p:cNvPr id="8" name="テキスト プレースホルダー 2"/>
          <p:cNvSpPr>
            <a:spLocks noGrp="1"/>
          </p:cNvSpPr>
          <p:nvPr>
            <p:ph type="body" idx="1"/>
          </p:nvPr>
        </p:nvSpPr>
        <p:spPr>
          <a:xfrm>
            <a:off x="368584" y="907839"/>
            <a:ext cx="5772857"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kumimoji="1" lang="ja-JP" altLang="en-US"/>
              <a:t>マスター テキストの書式設定</a:t>
            </a:r>
          </a:p>
        </p:txBody>
      </p:sp>
      <p:sp>
        <p:nvSpPr>
          <p:cNvPr id="9" name="コンテンツ プレースホルダー 3"/>
          <p:cNvSpPr>
            <a:spLocks noGrp="1"/>
          </p:cNvSpPr>
          <p:nvPr>
            <p:ph sz="half" idx="2"/>
          </p:nvPr>
        </p:nvSpPr>
        <p:spPr>
          <a:xfrm>
            <a:off x="368584" y="1547600"/>
            <a:ext cx="5772857" cy="4921276"/>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10" name="テキスト プレースホルダー 4"/>
          <p:cNvSpPr>
            <a:spLocks noGrp="1"/>
          </p:cNvSpPr>
          <p:nvPr>
            <p:ph type="body" sz="quarter" idx="3"/>
          </p:nvPr>
        </p:nvSpPr>
        <p:spPr>
          <a:xfrm>
            <a:off x="6193402" y="907839"/>
            <a:ext cx="5772857"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kumimoji="1" lang="ja-JP" altLang="en-US"/>
              <a:t>マスター テキストの書式設定</a:t>
            </a:r>
          </a:p>
        </p:txBody>
      </p:sp>
      <p:sp>
        <p:nvSpPr>
          <p:cNvPr id="11" name="コンテンツ プレースホルダー 5"/>
          <p:cNvSpPr>
            <a:spLocks noGrp="1"/>
          </p:cNvSpPr>
          <p:nvPr>
            <p:ph sz="quarter" idx="4"/>
          </p:nvPr>
        </p:nvSpPr>
        <p:spPr>
          <a:xfrm>
            <a:off x="6193402" y="1547600"/>
            <a:ext cx="5772857" cy="4921276"/>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Tree>
    <p:extLst>
      <p:ext uri="{BB962C8B-B14F-4D97-AF65-F5344CB8AC3E}">
        <p14:creationId xmlns:p14="http://schemas.microsoft.com/office/powerpoint/2010/main" val="2347029033"/>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type="titleOnly" preserve="1">
  <p:cSld name="タイトルのみ">
    <p:spTree>
      <p:nvGrpSpPr>
        <p:cNvPr id="1" name=""/>
        <p:cNvGrpSpPr/>
        <p:nvPr/>
      </p:nvGrpSpPr>
      <p:grpSpPr>
        <a:xfrm>
          <a:off x="0" y="0"/>
          <a:ext cx="0" cy="0"/>
          <a:chOff x="0" y="0"/>
          <a:chExt cx="0" cy="0"/>
        </a:xfrm>
      </p:grpSpPr>
      <p:sp>
        <p:nvSpPr>
          <p:cNvPr id="2" name="タイトル 1"/>
          <p:cNvSpPr>
            <a:spLocks noGrp="1"/>
          </p:cNvSpPr>
          <p:nvPr>
            <p:ph type="title"/>
          </p:nvPr>
        </p:nvSpPr>
        <p:spPr>
          <a:xfrm>
            <a:off x="368550" y="194236"/>
            <a:ext cx="9791452" cy="540000"/>
          </a:xfrm>
          <a:prstGeom prst="rect">
            <a:avLst/>
          </a:prstGeom>
        </p:spPr>
        <p:txBody>
          <a:bodyPr/>
          <a:lstStyle/>
          <a:p>
            <a:r>
              <a:rPr kumimoji="1" lang="ja-JP" altLang="en-US"/>
              <a:t>マスター タイトルの書式設定</a:t>
            </a:r>
          </a:p>
        </p:txBody>
      </p:sp>
    </p:spTree>
    <p:extLst>
      <p:ext uri="{BB962C8B-B14F-4D97-AF65-F5344CB8AC3E}">
        <p14:creationId xmlns:p14="http://schemas.microsoft.com/office/powerpoint/2010/main" val="2098465009"/>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タイトルとコンテンツ（影最小）">
    <p:spTree>
      <p:nvGrpSpPr>
        <p:cNvPr id="1" name=""/>
        <p:cNvGrpSpPr/>
        <p:nvPr/>
      </p:nvGrpSpPr>
      <p:grpSpPr>
        <a:xfrm>
          <a:off x="0" y="0"/>
          <a:ext cx="0" cy="0"/>
          <a:chOff x="0" y="0"/>
          <a:chExt cx="0" cy="0"/>
        </a:xfrm>
      </p:grpSpPr>
      <p:pic>
        <p:nvPicPr>
          <p:cNvPr id="9" name="図 8"/>
          <p:cNvPicPr>
            <a:picLocks noChangeAspect="1"/>
          </p:cNvPicPr>
          <p:nvPr userDrawn="1"/>
        </p:nvPicPr>
        <p:blipFill rotWithShape="1">
          <a:blip r:embed="rId2" cstate="email">
            <a:extLst>
              <a:ext uri="{28A0092B-C50C-407E-A947-70E740481C1C}">
                <a14:useLocalDpi xmlns:a14="http://schemas.microsoft.com/office/drawing/2010/main"/>
              </a:ext>
            </a:extLst>
          </a:blip>
          <a:srcRect b="3196"/>
          <a:stretch/>
        </p:blipFill>
        <p:spPr>
          <a:xfrm>
            <a:off x="1" y="219062"/>
            <a:ext cx="12192000" cy="6638838"/>
          </a:xfrm>
          <a:prstGeom prst="rect">
            <a:avLst/>
          </a:prstGeom>
        </p:spPr>
      </p:pic>
      <p:sp>
        <p:nvSpPr>
          <p:cNvPr id="2" name="タイトル 1"/>
          <p:cNvSpPr>
            <a:spLocks noGrp="1"/>
          </p:cNvSpPr>
          <p:nvPr>
            <p:ph type="title"/>
          </p:nvPr>
        </p:nvSpPr>
        <p:spPr>
          <a:xfrm>
            <a:off x="368550" y="194236"/>
            <a:ext cx="9791452" cy="540000"/>
          </a:xfrm>
          <a:prstGeom prst="rect">
            <a:avLst/>
          </a:prstGeom>
        </p:spPr>
        <p:txBody>
          <a:bodyPr/>
          <a:lstStyle/>
          <a:p>
            <a:r>
              <a:rPr kumimoji="1" lang="ja-JP" altLang="en-US"/>
              <a:t>マスター タイトルの書式設定</a:t>
            </a:r>
          </a:p>
        </p:txBody>
      </p:sp>
      <p:cxnSp>
        <p:nvCxnSpPr>
          <p:cNvPr id="7" name="直線コネクタ 6"/>
          <p:cNvCxnSpPr/>
          <p:nvPr userDrawn="1"/>
        </p:nvCxnSpPr>
        <p:spPr>
          <a:xfrm>
            <a:off x="240001" y="817200"/>
            <a:ext cx="11711999" cy="0"/>
          </a:xfrm>
          <a:prstGeom prst="line">
            <a:avLst/>
          </a:prstGeom>
          <a:ln>
            <a:solidFill>
              <a:srgbClr val="C7000D"/>
            </a:solidFill>
          </a:ln>
          <a:effectLst/>
        </p:spPr>
        <p:style>
          <a:lnRef idx="2">
            <a:schemeClr val="accent1"/>
          </a:lnRef>
          <a:fillRef idx="0">
            <a:schemeClr val="accent1"/>
          </a:fillRef>
          <a:effectRef idx="1">
            <a:schemeClr val="accent1"/>
          </a:effectRef>
          <a:fontRef idx="minor">
            <a:schemeClr val="tx1"/>
          </a:fontRef>
        </p:style>
      </p:cxnSp>
      <p:sp>
        <p:nvSpPr>
          <p:cNvPr id="10" name="コンテンツ プレースホルダー 2"/>
          <p:cNvSpPr>
            <a:spLocks noGrp="1"/>
          </p:cNvSpPr>
          <p:nvPr>
            <p:ph idx="1"/>
          </p:nvPr>
        </p:nvSpPr>
        <p:spPr>
          <a:xfrm>
            <a:off x="368585" y="903600"/>
            <a:ext cx="11583452" cy="5540400"/>
          </a:xfrm>
          <a:prstGeom prst="rect">
            <a:avLst/>
          </a:prstGeom>
        </p:spPr>
        <p:txBody>
          <a:bodyPr/>
          <a:lstStyle>
            <a:lvl2pPr indent="-169200">
              <a:defRPr/>
            </a:lvl2pPr>
            <a:lvl3pPr indent="-169200">
              <a:defRPr/>
            </a:lvl3pPr>
            <a:lvl4pPr indent="-169200">
              <a:defRPr/>
            </a:lvl4pPr>
            <a:lvl5pPr indent="-169200">
              <a:defRPr sz="1600"/>
            </a:lvl5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Tree>
    <p:extLst>
      <p:ext uri="{BB962C8B-B14F-4D97-AF65-F5344CB8AC3E}">
        <p14:creationId xmlns:p14="http://schemas.microsoft.com/office/powerpoint/2010/main" val="4027298158"/>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userDrawn="1">
  <p:cSld name="3_2 つのコンテンツ">
    <p:spTree>
      <p:nvGrpSpPr>
        <p:cNvPr id="1" name=""/>
        <p:cNvGrpSpPr/>
        <p:nvPr/>
      </p:nvGrpSpPr>
      <p:grpSpPr>
        <a:xfrm>
          <a:off x="0" y="0"/>
          <a:ext cx="0" cy="0"/>
          <a:chOff x="0" y="0"/>
          <a:chExt cx="0" cy="0"/>
        </a:xfrm>
      </p:grpSpPr>
    </p:spTree>
    <p:extLst>
      <p:ext uri="{BB962C8B-B14F-4D97-AF65-F5344CB8AC3E}">
        <p14:creationId xmlns:p14="http://schemas.microsoft.com/office/powerpoint/2010/main" val="1350054892"/>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userDrawn="1">
  <p:cSld name="4_2 つのコンテンツ">
    <p:spTree>
      <p:nvGrpSpPr>
        <p:cNvPr id="1" name=""/>
        <p:cNvGrpSpPr/>
        <p:nvPr/>
      </p:nvGrpSpPr>
      <p:grpSpPr>
        <a:xfrm>
          <a:off x="0" y="0"/>
          <a:ext cx="0" cy="0"/>
          <a:chOff x="0" y="0"/>
          <a:chExt cx="0" cy="0"/>
        </a:xfrm>
      </p:grpSpPr>
    </p:spTree>
    <p:extLst>
      <p:ext uri="{BB962C8B-B14F-4D97-AF65-F5344CB8AC3E}">
        <p14:creationId xmlns:p14="http://schemas.microsoft.com/office/powerpoint/2010/main" val="2467360658"/>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type="blank">
  <p:cSld name="白紙">
    <p:spTree>
      <p:nvGrpSpPr>
        <p:cNvPr id="1" name=""/>
        <p:cNvGrpSpPr/>
        <p:nvPr/>
      </p:nvGrpSpPr>
      <p:grpSpPr>
        <a:xfrm>
          <a:off x="0" y="0"/>
          <a:ext cx="0" cy="0"/>
          <a:chOff x="0" y="0"/>
          <a:chExt cx="0" cy="0"/>
        </a:xfrm>
      </p:grpSpPr>
      <p:sp>
        <p:nvSpPr>
          <p:cNvPr id="2" name="日付プレースホルダー 1"/>
          <p:cNvSpPr>
            <a:spLocks noGrp="1"/>
          </p:cNvSpPr>
          <p:nvPr>
            <p:ph type="dt" sz="half" idx="10"/>
          </p:nvPr>
        </p:nvSpPr>
        <p:spPr>
          <a:xfrm>
            <a:off x="609601" y="6357009"/>
            <a:ext cx="2844800" cy="365125"/>
          </a:xfrm>
          <a:prstGeom prst="rect">
            <a:avLst/>
          </a:prstGeom>
        </p:spPr>
        <p:txBody>
          <a:bodyP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srgbClr val="000000"/>
              </a:solidFill>
              <a:effectLst/>
              <a:uLnTx/>
              <a:uFillTx/>
              <a:latin typeface="Calibri"/>
              <a:ea typeface="ＭＳ Ｐゴシック" panose="020B0600070205080204" pitchFamily="50" charset="-128"/>
              <a:cs typeface="+mn-cs"/>
            </a:endParaRPr>
          </a:p>
        </p:txBody>
      </p:sp>
      <p:sp>
        <p:nvSpPr>
          <p:cNvPr id="3" name="フッター プレースホルダー 2"/>
          <p:cNvSpPr>
            <a:spLocks noGrp="1"/>
          </p:cNvSpPr>
          <p:nvPr>
            <p:ph type="ftr" sz="quarter" idx="11"/>
          </p:nvPr>
        </p:nvSpPr>
        <p:spPr>
          <a:xfrm>
            <a:off x="4165613" y="6357009"/>
            <a:ext cx="3860799" cy="365125"/>
          </a:xfrm>
          <a:prstGeom prst="rect">
            <a:avLst/>
          </a:prstGeom>
        </p:spPr>
        <p:txBody>
          <a:bodyP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srgbClr val="000000"/>
              </a:solidFill>
              <a:effectLst/>
              <a:uLnTx/>
              <a:uFillTx/>
              <a:latin typeface="Calibri"/>
              <a:ea typeface="ＭＳ Ｐゴシック" panose="020B0600070205080204" pitchFamily="50" charset="-128"/>
              <a:cs typeface="+mn-cs"/>
            </a:endParaRPr>
          </a:p>
        </p:txBody>
      </p:sp>
    </p:spTree>
    <p:extLst>
      <p:ext uri="{BB962C8B-B14F-4D97-AF65-F5344CB8AC3E}">
        <p14:creationId xmlns:p14="http://schemas.microsoft.com/office/powerpoint/2010/main" val="2636979274"/>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userDrawn="1">
  <p:cSld name="5_タイトルとコンテンツ">
    <p:spTree>
      <p:nvGrpSpPr>
        <p:cNvPr id="1" name=""/>
        <p:cNvGrpSpPr/>
        <p:nvPr/>
      </p:nvGrpSpPr>
      <p:grpSpPr>
        <a:xfrm>
          <a:off x="0" y="0"/>
          <a:ext cx="0" cy="0"/>
          <a:chOff x="0" y="0"/>
          <a:chExt cx="0" cy="0"/>
        </a:xfrm>
      </p:grpSpPr>
      <p:cxnSp>
        <p:nvCxnSpPr>
          <p:cNvPr id="5" name="直線コネクタ 4"/>
          <p:cNvCxnSpPr/>
          <p:nvPr userDrawn="1"/>
        </p:nvCxnSpPr>
        <p:spPr>
          <a:xfrm>
            <a:off x="240000" y="817200"/>
            <a:ext cx="11712000" cy="0"/>
          </a:xfrm>
          <a:prstGeom prst="line">
            <a:avLst/>
          </a:prstGeom>
          <a:ln>
            <a:solidFill>
              <a:srgbClr val="DF0010"/>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457415800"/>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pic>
        <p:nvPicPr>
          <p:cNvPr id="8" name="図 7"/>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2" name="タイトル 1"/>
          <p:cNvSpPr>
            <a:spLocks noGrp="1"/>
          </p:cNvSpPr>
          <p:nvPr>
            <p:ph type="ctrTitle"/>
          </p:nvPr>
        </p:nvSpPr>
        <p:spPr>
          <a:xfrm>
            <a:off x="914400" y="1416830"/>
            <a:ext cx="10363200" cy="1470025"/>
          </a:xfrm>
        </p:spPr>
        <p:txBody>
          <a:bodyPr anchor="b">
            <a:normAutofit/>
          </a:bodyPr>
          <a:lstStyle>
            <a:lvl1pPr algn="l">
              <a:defRPr sz="4677" kern="1200">
                <a:solidFill>
                  <a:schemeClr val="tx1"/>
                </a:solidFill>
              </a:defRPr>
            </a:lvl1pPr>
          </a:lstStyle>
          <a:p>
            <a:r>
              <a:rPr kumimoji="1" lang="ja-JP" altLang="en-US"/>
              <a:t>マスター タイトルの書式設定</a:t>
            </a:r>
          </a:p>
        </p:txBody>
      </p:sp>
      <p:sp>
        <p:nvSpPr>
          <p:cNvPr id="3" name="サブタイトル 2"/>
          <p:cNvSpPr>
            <a:spLocks noGrp="1"/>
          </p:cNvSpPr>
          <p:nvPr>
            <p:ph type="subTitle" idx="1"/>
          </p:nvPr>
        </p:nvSpPr>
        <p:spPr>
          <a:xfrm>
            <a:off x="916841" y="3420001"/>
            <a:ext cx="9691435" cy="977153"/>
          </a:xfrm>
        </p:spPr>
        <p:txBody>
          <a:bodyPr>
            <a:normAutofit/>
          </a:bodyPr>
          <a:lstStyle>
            <a:lvl1pPr marL="0" indent="0" algn="l">
              <a:buNone/>
              <a:defRPr sz="2955">
                <a:solidFill>
                  <a:srgbClr val="000000"/>
                </a:solidFill>
              </a:defRPr>
            </a:lvl1pPr>
            <a:lvl2pPr marL="560575" indent="0" algn="ctr">
              <a:buNone/>
              <a:defRPr>
                <a:solidFill>
                  <a:schemeClr val="tx1">
                    <a:tint val="75000"/>
                  </a:schemeClr>
                </a:solidFill>
              </a:defRPr>
            </a:lvl2pPr>
            <a:lvl3pPr marL="1121155" indent="0" algn="ctr">
              <a:buNone/>
              <a:defRPr>
                <a:solidFill>
                  <a:schemeClr val="tx1">
                    <a:tint val="75000"/>
                  </a:schemeClr>
                </a:solidFill>
              </a:defRPr>
            </a:lvl3pPr>
            <a:lvl4pPr marL="1681731" indent="0" algn="ctr">
              <a:buNone/>
              <a:defRPr>
                <a:solidFill>
                  <a:schemeClr val="tx1">
                    <a:tint val="75000"/>
                  </a:schemeClr>
                </a:solidFill>
              </a:defRPr>
            </a:lvl4pPr>
            <a:lvl5pPr marL="2242309" indent="0" algn="ctr">
              <a:buNone/>
              <a:defRPr>
                <a:solidFill>
                  <a:schemeClr val="tx1">
                    <a:tint val="75000"/>
                  </a:schemeClr>
                </a:solidFill>
              </a:defRPr>
            </a:lvl5pPr>
            <a:lvl6pPr marL="2802887" indent="0" algn="ctr">
              <a:buNone/>
              <a:defRPr>
                <a:solidFill>
                  <a:schemeClr val="tx1">
                    <a:tint val="75000"/>
                  </a:schemeClr>
                </a:solidFill>
              </a:defRPr>
            </a:lvl6pPr>
            <a:lvl7pPr marL="3363465" indent="0" algn="ctr">
              <a:buNone/>
              <a:defRPr>
                <a:solidFill>
                  <a:schemeClr val="tx1">
                    <a:tint val="75000"/>
                  </a:schemeClr>
                </a:solidFill>
              </a:defRPr>
            </a:lvl7pPr>
            <a:lvl8pPr marL="3924038" indent="0" algn="ctr">
              <a:buNone/>
              <a:defRPr>
                <a:solidFill>
                  <a:schemeClr val="tx1">
                    <a:tint val="75000"/>
                  </a:schemeClr>
                </a:solidFill>
              </a:defRPr>
            </a:lvl8pPr>
            <a:lvl9pPr marL="4484619" indent="0" algn="ctr">
              <a:buNone/>
              <a:defRPr>
                <a:solidFill>
                  <a:schemeClr val="tx1">
                    <a:tint val="75000"/>
                  </a:schemeClr>
                </a:solidFill>
              </a:defRPr>
            </a:lvl9pPr>
          </a:lstStyle>
          <a:p>
            <a:r>
              <a:rPr kumimoji="1" lang="ja-JP" altLang="en-US"/>
              <a:t>マスター サブタイトルの書式設定</a:t>
            </a:r>
          </a:p>
        </p:txBody>
      </p:sp>
      <p:sp>
        <p:nvSpPr>
          <p:cNvPr id="13" name="フッター プレースホルダー 12"/>
          <p:cNvSpPr>
            <a:spLocks noGrp="1"/>
          </p:cNvSpPr>
          <p:nvPr>
            <p:ph type="ftr" sz="quarter" idx="11"/>
          </p:nvPr>
        </p:nvSpPr>
        <p:spPr>
          <a:xfrm>
            <a:off x="609600" y="6084392"/>
            <a:ext cx="3860800" cy="365125"/>
          </a:xfrm>
          <a:prstGeom prst="rect">
            <a:avLst/>
          </a:prstGeom>
        </p:spPr>
        <p:txBody>
          <a:bodyPr lIns="91092" tIns="45547" rIns="91092" bIns="45547"/>
          <a:lstStyle>
            <a:lvl1pPr algn="l">
              <a:defRPr sz="1969"/>
            </a:lvl1pPr>
          </a:lstStyle>
          <a:p>
            <a:pPr marL="0" marR="0" lvl="0" indent="0" algn="l" defTabSz="560575" rtl="0" eaLnBrk="1" fontAlgn="auto" latinLnBrk="0" hangingPunct="1">
              <a:lnSpc>
                <a:spcPct val="100000"/>
              </a:lnSpc>
              <a:spcBef>
                <a:spcPts val="0"/>
              </a:spcBef>
              <a:spcAft>
                <a:spcPts val="0"/>
              </a:spcAft>
              <a:buClrTx/>
              <a:buSzTx/>
              <a:buFontTx/>
              <a:buNone/>
              <a:tabLst/>
              <a:defRPr/>
            </a:pPr>
            <a:endParaRPr kumimoji="1" lang="ja-JP" altLang="en-US" sz="1969" b="0" i="0" u="none" strike="noStrike" kern="1200" cap="none" spc="0" normalizeH="0" baseline="0" noProof="0">
              <a:ln>
                <a:noFill/>
              </a:ln>
              <a:solidFill>
                <a:prstClr val="black"/>
              </a:solidFill>
              <a:effectLst/>
              <a:uLnTx/>
              <a:uFillTx/>
              <a:latin typeface="Calibri"/>
              <a:ea typeface="ＭＳ Ｐゴシック"/>
              <a:cs typeface="+mn-cs"/>
            </a:endParaRPr>
          </a:p>
        </p:txBody>
      </p:sp>
      <p:sp>
        <p:nvSpPr>
          <p:cNvPr id="11" name="日付プレースホルダー 11"/>
          <p:cNvSpPr>
            <a:spLocks noGrp="1"/>
          </p:cNvSpPr>
          <p:nvPr>
            <p:ph type="dt" sz="half" idx="10"/>
          </p:nvPr>
        </p:nvSpPr>
        <p:spPr>
          <a:xfrm>
            <a:off x="609600" y="5676631"/>
            <a:ext cx="3860800" cy="365125"/>
          </a:xfrm>
          <a:prstGeom prst="rect">
            <a:avLst/>
          </a:prstGeom>
        </p:spPr>
        <p:txBody>
          <a:bodyPr lIns="91092" tIns="45547" rIns="91092" bIns="45547"/>
          <a:lstStyle>
            <a:lvl1pPr algn="l">
              <a:defRPr sz="1969">
                <a:solidFill>
                  <a:srgbClr val="000000"/>
                </a:solidFill>
              </a:defRPr>
            </a:lvl1pPr>
          </a:lstStyle>
          <a:p>
            <a:pPr marL="0" marR="0" lvl="0" indent="0" algn="l" defTabSz="560575" rtl="0" eaLnBrk="1" fontAlgn="auto" latinLnBrk="0" hangingPunct="1">
              <a:lnSpc>
                <a:spcPct val="100000"/>
              </a:lnSpc>
              <a:spcBef>
                <a:spcPts val="0"/>
              </a:spcBef>
              <a:spcAft>
                <a:spcPts val="0"/>
              </a:spcAft>
              <a:buClrTx/>
              <a:buSzTx/>
              <a:buFontTx/>
              <a:buNone/>
              <a:tabLst/>
              <a:defRPr/>
            </a:pPr>
            <a:endParaRPr kumimoji="1" lang="ja-JP" altLang="en-US" sz="1969" b="0" i="0" u="none" strike="noStrike" kern="1200" cap="none" spc="0" normalizeH="0" baseline="0" noProof="0">
              <a:ln>
                <a:noFill/>
              </a:ln>
              <a:solidFill>
                <a:srgbClr val="000000"/>
              </a:solidFill>
              <a:effectLst/>
              <a:uLnTx/>
              <a:uFillTx/>
              <a:latin typeface="Calibri"/>
              <a:ea typeface="ＭＳ Ｐゴシック"/>
              <a:cs typeface="+mn-cs"/>
            </a:endParaRPr>
          </a:p>
        </p:txBody>
      </p:sp>
      <p:pic>
        <p:nvPicPr>
          <p:cNvPr id="9" name="図 8"/>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750942" y="5311502"/>
            <a:ext cx="2441058" cy="1460500"/>
          </a:xfrm>
          <a:prstGeom prst="rect">
            <a:avLst/>
          </a:prstGeom>
        </p:spPr>
      </p:pic>
    </p:spTree>
    <p:extLst>
      <p:ext uri="{BB962C8B-B14F-4D97-AF65-F5344CB8AC3E}">
        <p14:creationId xmlns:p14="http://schemas.microsoft.com/office/powerpoint/2010/main" val="1946491214"/>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lvl1pPr>
              <a:defRPr>
                <a:latin typeface="BIZ UDPゴシック" panose="020B0400000000000000" pitchFamily="50" charset="-128"/>
                <a:ea typeface="BIZ UDPゴシック" panose="020B0400000000000000" pitchFamily="50" charset="-128"/>
              </a:defRPr>
            </a:lvl1pPr>
          </a:lstStyle>
          <a:p>
            <a:r>
              <a:rPr kumimoji="1" lang="ja-JP" altLang="en-US"/>
              <a:t>マスター タイトルの書式設定</a:t>
            </a:r>
          </a:p>
        </p:txBody>
      </p:sp>
      <p:sp>
        <p:nvSpPr>
          <p:cNvPr id="3" name="コンテンツ プレースホルダー 2"/>
          <p:cNvSpPr>
            <a:spLocks noGrp="1"/>
          </p:cNvSpPr>
          <p:nvPr>
            <p:ph idx="1"/>
          </p:nvPr>
        </p:nvSpPr>
        <p:spPr>
          <a:xfrm>
            <a:off x="368599" y="903600"/>
            <a:ext cx="11583452" cy="5540400"/>
          </a:xfrm>
        </p:spPr>
        <p:txBody>
          <a:bodyPr/>
          <a:lstStyle>
            <a:lvl1pPr>
              <a:defRPr>
                <a:latin typeface="BIZ UDPゴシック" panose="020B0400000000000000" pitchFamily="50" charset="-128"/>
                <a:ea typeface="BIZ UDPゴシック" panose="020B0400000000000000" pitchFamily="50" charset="-128"/>
              </a:defRPr>
            </a:lvl1pPr>
            <a:lvl2pPr indent="-207467">
              <a:defRPr>
                <a:latin typeface="BIZ UDPゴシック" panose="020B0400000000000000" pitchFamily="50" charset="-128"/>
                <a:ea typeface="BIZ UDPゴシック" panose="020B0400000000000000" pitchFamily="50" charset="-128"/>
              </a:defRPr>
            </a:lvl2pPr>
            <a:lvl3pPr indent="-207467">
              <a:defRPr>
                <a:latin typeface="BIZ UDPゴシック" panose="020B0400000000000000" pitchFamily="50" charset="-128"/>
                <a:ea typeface="BIZ UDPゴシック" panose="020B0400000000000000" pitchFamily="50" charset="-128"/>
              </a:defRPr>
            </a:lvl3pPr>
            <a:lvl4pPr indent="-207467">
              <a:defRPr>
                <a:latin typeface="BIZ UDPゴシック" panose="020B0400000000000000" pitchFamily="50" charset="-128"/>
                <a:ea typeface="BIZ UDPゴシック" panose="020B0400000000000000" pitchFamily="50" charset="-128"/>
              </a:defRPr>
            </a:lvl4pPr>
            <a:lvl5pPr indent="-207467">
              <a:defRPr>
                <a:latin typeface="BIZ UDPゴシック" panose="020B0400000000000000" pitchFamily="50" charset="-128"/>
                <a:ea typeface="BIZ UDPゴシック" panose="020B0400000000000000" pitchFamily="50" charset="-128"/>
              </a:defRPr>
            </a:lvl5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Tree>
    <p:extLst>
      <p:ext uri="{BB962C8B-B14F-4D97-AF65-F5344CB8AC3E}">
        <p14:creationId xmlns:p14="http://schemas.microsoft.com/office/powerpoint/2010/main" val="189957677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obj" preserve="1">
  <p:cSld name="26_タイトルとコンテンツ">
    <p:spTree>
      <p:nvGrpSpPr>
        <p:cNvPr id="1" name=""/>
        <p:cNvGrpSpPr/>
        <p:nvPr/>
      </p:nvGrpSpPr>
      <p:grpSpPr>
        <a:xfrm>
          <a:off x="0" y="0"/>
          <a:ext cx="0" cy="0"/>
          <a:chOff x="0" y="0"/>
          <a:chExt cx="0" cy="0"/>
        </a:xfrm>
      </p:grpSpPr>
      <p:sp>
        <p:nvSpPr>
          <p:cNvPr id="9" name="Freeform 8"/>
          <p:cNvSpPr>
            <a:spLocks/>
          </p:cNvSpPr>
          <p:nvPr userDrawn="1"/>
        </p:nvSpPr>
        <p:spPr bwMode="auto">
          <a:xfrm>
            <a:off x="-2100" y="5505984"/>
            <a:ext cx="12192504" cy="1353504"/>
          </a:xfrm>
          <a:custGeom>
            <a:avLst/>
            <a:gdLst>
              <a:gd name="T0" fmla="*/ 3622 w 3622"/>
              <a:gd name="T1" fmla="*/ 608 h 608"/>
              <a:gd name="T2" fmla="*/ 3622 w 3622"/>
              <a:gd name="T3" fmla="*/ 0 h 608"/>
              <a:gd name="T4" fmla="*/ 3622 w 3622"/>
              <a:gd name="T5" fmla="*/ 0 h 608"/>
              <a:gd name="T6" fmla="*/ 3622 w 3622"/>
              <a:gd name="T7" fmla="*/ 14 h 608"/>
              <a:gd name="T8" fmla="*/ 3616 w 3622"/>
              <a:gd name="T9" fmla="*/ 46 h 608"/>
              <a:gd name="T10" fmla="*/ 3612 w 3622"/>
              <a:gd name="T11" fmla="*/ 68 h 608"/>
              <a:gd name="T12" fmla="*/ 3604 w 3622"/>
              <a:gd name="T13" fmla="*/ 94 h 608"/>
              <a:gd name="T14" fmla="*/ 3596 w 3622"/>
              <a:gd name="T15" fmla="*/ 122 h 608"/>
              <a:gd name="T16" fmla="*/ 3584 w 3622"/>
              <a:gd name="T17" fmla="*/ 150 h 608"/>
              <a:gd name="T18" fmla="*/ 3568 w 3622"/>
              <a:gd name="T19" fmla="*/ 178 h 608"/>
              <a:gd name="T20" fmla="*/ 3550 w 3622"/>
              <a:gd name="T21" fmla="*/ 206 h 608"/>
              <a:gd name="T22" fmla="*/ 3526 w 3622"/>
              <a:gd name="T23" fmla="*/ 232 h 608"/>
              <a:gd name="T24" fmla="*/ 3514 w 3622"/>
              <a:gd name="T25" fmla="*/ 246 h 608"/>
              <a:gd name="T26" fmla="*/ 3498 w 3622"/>
              <a:gd name="T27" fmla="*/ 258 h 608"/>
              <a:gd name="T28" fmla="*/ 3484 w 3622"/>
              <a:gd name="T29" fmla="*/ 268 h 608"/>
              <a:gd name="T30" fmla="*/ 3466 w 3622"/>
              <a:gd name="T31" fmla="*/ 280 h 608"/>
              <a:gd name="T32" fmla="*/ 3448 w 3622"/>
              <a:gd name="T33" fmla="*/ 288 h 608"/>
              <a:gd name="T34" fmla="*/ 3430 w 3622"/>
              <a:gd name="T35" fmla="*/ 298 h 608"/>
              <a:gd name="T36" fmla="*/ 3410 w 3622"/>
              <a:gd name="T37" fmla="*/ 304 h 608"/>
              <a:gd name="T38" fmla="*/ 3386 w 3622"/>
              <a:gd name="T39" fmla="*/ 310 h 608"/>
              <a:gd name="T40" fmla="*/ 3364 w 3622"/>
              <a:gd name="T41" fmla="*/ 316 h 608"/>
              <a:gd name="T42" fmla="*/ 3338 w 3622"/>
              <a:gd name="T43" fmla="*/ 318 h 608"/>
              <a:gd name="T44" fmla="*/ 3338 w 3622"/>
              <a:gd name="T45" fmla="*/ 318 h 608"/>
              <a:gd name="T46" fmla="*/ 0 w 3622"/>
              <a:gd name="T47" fmla="*/ 608 h 608"/>
              <a:gd name="T48" fmla="*/ 3622 w 3622"/>
              <a:gd name="T49" fmla="*/ 608 h 608"/>
              <a:gd name="connsiteX0" fmla="*/ 10000 w 10000"/>
              <a:gd name="connsiteY0" fmla="*/ 10000 h 10000"/>
              <a:gd name="connsiteX1" fmla="*/ 10000 w 10000"/>
              <a:gd name="connsiteY1" fmla="*/ 0 h 10000"/>
              <a:gd name="connsiteX2" fmla="*/ 10000 w 10000"/>
              <a:gd name="connsiteY2" fmla="*/ 0 h 10000"/>
              <a:gd name="connsiteX3" fmla="*/ 10000 w 10000"/>
              <a:gd name="connsiteY3" fmla="*/ 230 h 10000"/>
              <a:gd name="connsiteX4" fmla="*/ 9983 w 10000"/>
              <a:gd name="connsiteY4" fmla="*/ 757 h 10000"/>
              <a:gd name="connsiteX5" fmla="*/ 9972 w 10000"/>
              <a:gd name="connsiteY5" fmla="*/ 1118 h 10000"/>
              <a:gd name="connsiteX6" fmla="*/ 9950 w 10000"/>
              <a:gd name="connsiteY6" fmla="*/ 1546 h 10000"/>
              <a:gd name="connsiteX7" fmla="*/ 9928 w 10000"/>
              <a:gd name="connsiteY7" fmla="*/ 2007 h 10000"/>
              <a:gd name="connsiteX8" fmla="*/ 9895 w 10000"/>
              <a:gd name="connsiteY8" fmla="*/ 2467 h 10000"/>
              <a:gd name="connsiteX9" fmla="*/ 9851 w 10000"/>
              <a:gd name="connsiteY9" fmla="*/ 2928 h 10000"/>
              <a:gd name="connsiteX10" fmla="*/ 9801 w 10000"/>
              <a:gd name="connsiteY10" fmla="*/ 3388 h 10000"/>
              <a:gd name="connsiteX11" fmla="*/ 9735 w 10000"/>
              <a:gd name="connsiteY11" fmla="*/ 3816 h 10000"/>
              <a:gd name="connsiteX12" fmla="*/ 9702 w 10000"/>
              <a:gd name="connsiteY12" fmla="*/ 4046 h 10000"/>
              <a:gd name="connsiteX13" fmla="*/ 9658 w 10000"/>
              <a:gd name="connsiteY13" fmla="*/ 4243 h 10000"/>
              <a:gd name="connsiteX14" fmla="*/ 9619 w 10000"/>
              <a:gd name="connsiteY14" fmla="*/ 4408 h 10000"/>
              <a:gd name="connsiteX15" fmla="*/ 9569 w 10000"/>
              <a:gd name="connsiteY15" fmla="*/ 4605 h 10000"/>
              <a:gd name="connsiteX16" fmla="*/ 9520 w 10000"/>
              <a:gd name="connsiteY16" fmla="*/ 4737 h 10000"/>
              <a:gd name="connsiteX17" fmla="*/ 9470 w 10000"/>
              <a:gd name="connsiteY17" fmla="*/ 4901 h 10000"/>
              <a:gd name="connsiteX18" fmla="*/ 9415 w 10000"/>
              <a:gd name="connsiteY18" fmla="*/ 5000 h 10000"/>
              <a:gd name="connsiteX19" fmla="*/ 9348 w 10000"/>
              <a:gd name="connsiteY19" fmla="*/ 5099 h 10000"/>
              <a:gd name="connsiteX20" fmla="*/ 9288 w 10000"/>
              <a:gd name="connsiteY20" fmla="*/ 5197 h 10000"/>
              <a:gd name="connsiteX21" fmla="*/ 9216 w 10000"/>
              <a:gd name="connsiteY21" fmla="*/ 5230 h 10000"/>
              <a:gd name="connsiteX22" fmla="*/ 9216 w 10000"/>
              <a:gd name="connsiteY22" fmla="*/ 5230 h 10000"/>
              <a:gd name="connsiteX23" fmla="*/ 1190 w 10000"/>
              <a:gd name="connsiteY23" fmla="*/ 9414 h 10000"/>
              <a:gd name="connsiteX24" fmla="*/ 0 w 10000"/>
              <a:gd name="connsiteY24" fmla="*/ 10000 h 10000"/>
              <a:gd name="connsiteX25" fmla="*/ 10000 w 10000"/>
              <a:gd name="connsiteY25" fmla="*/ 10000 h 10000"/>
              <a:gd name="connsiteX0" fmla="*/ 10000 w 10000"/>
              <a:gd name="connsiteY0" fmla="*/ 10000 h 10011"/>
              <a:gd name="connsiteX1" fmla="*/ 10000 w 10000"/>
              <a:gd name="connsiteY1" fmla="*/ 0 h 10011"/>
              <a:gd name="connsiteX2" fmla="*/ 10000 w 10000"/>
              <a:gd name="connsiteY2" fmla="*/ 0 h 10011"/>
              <a:gd name="connsiteX3" fmla="*/ 10000 w 10000"/>
              <a:gd name="connsiteY3" fmla="*/ 230 h 10011"/>
              <a:gd name="connsiteX4" fmla="*/ 9983 w 10000"/>
              <a:gd name="connsiteY4" fmla="*/ 757 h 10011"/>
              <a:gd name="connsiteX5" fmla="*/ 9972 w 10000"/>
              <a:gd name="connsiteY5" fmla="*/ 1118 h 10011"/>
              <a:gd name="connsiteX6" fmla="*/ 9950 w 10000"/>
              <a:gd name="connsiteY6" fmla="*/ 1546 h 10011"/>
              <a:gd name="connsiteX7" fmla="*/ 9928 w 10000"/>
              <a:gd name="connsiteY7" fmla="*/ 2007 h 10011"/>
              <a:gd name="connsiteX8" fmla="*/ 9895 w 10000"/>
              <a:gd name="connsiteY8" fmla="*/ 2467 h 10011"/>
              <a:gd name="connsiteX9" fmla="*/ 9851 w 10000"/>
              <a:gd name="connsiteY9" fmla="*/ 2928 h 10011"/>
              <a:gd name="connsiteX10" fmla="*/ 9801 w 10000"/>
              <a:gd name="connsiteY10" fmla="*/ 3388 h 10011"/>
              <a:gd name="connsiteX11" fmla="*/ 9735 w 10000"/>
              <a:gd name="connsiteY11" fmla="*/ 3816 h 10011"/>
              <a:gd name="connsiteX12" fmla="*/ 9702 w 10000"/>
              <a:gd name="connsiteY12" fmla="*/ 4046 h 10011"/>
              <a:gd name="connsiteX13" fmla="*/ 9658 w 10000"/>
              <a:gd name="connsiteY13" fmla="*/ 4243 h 10011"/>
              <a:gd name="connsiteX14" fmla="*/ 9619 w 10000"/>
              <a:gd name="connsiteY14" fmla="*/ 4408 h 10011"/>
              <a:gd name="connsiteX15" fmla="*/ 9569 w 10000"/>
              <a:gd name="connsiteY15" fmla="*/ 4605 h 10011"/>
              <a:gd name="connsiteX16" fmla="*/ 9520 w 10000"/>
              <a:gd name="connsiteY16" fmla="*/ 4737 h 10011"/>
              <a:gd name="connsiteX17" fmla="*/ 9470 w 10000"/>
              <a:gd name="connsiteY17" fmla="*/ 4901 h 10011"/>
              <a:gd name="connsiteX18" fmla="*/ 9415 w 10000"/>
              <a:gd name="connsiteY18" fmla="*/ 5000 h 10011"/>
              <a:gd name="connsiteX19" fmla="*/ 9348 w 10000"/>
              <a:gd name="connsiteY19" fmla="*/ 5099 h 10011"/>
              <a:gd name="connsiteX20" fmla="*/ 9288 w 10000"/>
              <a:gd name="connsiteY20" fmla="*/ 5197 h 10011"/>
              <a:gd name="connsiteX21" fmla="*/ 9216 w 10000"/>
              <a:gd name="connsiteY21" fmla="*/ 5230 h 10011"/>
              <a:gd name="connsiteX22" fmla="*/ 9216 w 10000"/>
              <a:gd name="connsiteY22" fmla="*/ 5230 h 10011"/>
              <a:gd name="connsiteX23" fmla="*/ 1190 w 10000"/>
              <a:gd name="connsiteY23" fmla="*/ 9414 h 10011"/>
              <a:gd name="connsiteX24" fmla="*/ 0 w 10000"/>
              <a:gd name="connsiteY24" fmla="*/ 10000 h 10011"/>
              <a:gd name="connsiteX25" fmla="*/ 1185 w 10000"/>
              <a:gd name="connsiteY25" fmla="*/ 10011 h 10011"/>
              <a:gd name="connsiteX26" fmla="*/ 10000 w 10000"/>
              <a:gd name="connsiteY26" fmla="*/ 10000 h 10011"/>
              <a:gd name="connsiteX0" fmla="*/ 8815 w 8815"/>
              <a:gd name="connsiteY0" fmla="*/ 10000 h 10011"/>
              <a:gd name="connsiteX1" fmla="*/ 8815 w 8815"/>
              <a:gd name="connsiteY1" fmla="*/ 0 h 10011"/>
              <a:gd name="connsiteX2" fmla="*/ 8815 w 8815"/>
              <a:gd name="connsiteY2" fmla="*/ 0 h 10011"/>
              <a:gd name="connsiteX3" fmla="*/ 8815 w 8815"/>
              <a:gd name="connsiteY3" fmla="*/ 230 h 10011"/>
              <a:gd name="connsiteX4" fmla="*/ 8798 w 8815"/>
              <a:gd name="connsiteY4" fmla="*/ 757 h 10011"/>
              <a:gd name="connsiteX5" fmla="*/ 8787 w 8815"/>
              <a:gd name="connsiteY5" fmla="*/ 1118 h 10011"/>
              <a:gd name="connsiteX6" fmla="*/ 8765 w 8815"/>
              <a:gd name="connsiteY6" fmla="*/ 1546 h 10011"/>
              <a:gd name="connsiteX7" fmla="*/ 8743 w 8815"/>
              <a:gd name="connsiteY7" fmla="*/ 2007 h 10011"/>
              <a:gd name="connsiteX8" fmla="*/ 8710 w 8815"/>
              <a:gd name="connsiteY8" fmla="*/ 2467 h 10011"/>
              <a:gd name="connsiteX9" fmla="*/ 8666 w 8815"/>
              <a:gd name="connsiteY9" fmla="*/ 2928 h 10011"/>
              <a:gd name="connsiteX10" fmla="*/ 8616 w 8815"/>
              <a:gd name="connsiteY10" fmla="*/ 3388 h 10011"/>
              <a:gd name="connsiteX11" fmla="*/ 8550 w 8815"/>
              <a:gd name="connsiteY11" fmla="*/ 3816 h 10011"/>
              <a:gd name="connsiteX12" fmla="*/ 8517 w 8815"/>
              <a:gd name="connsiteY12" fmla="*/ 4046 h 10011"/>
              <a:gd name="connsiteX13" fmla="*/ 8473 w 8815"/>
              <a:gd name="connsiteY13" fmla="*/ 4243 h 10011"/>
              <a:gd name="connsiteX14" fmla="*/ 8434 w 8815"/>
              <a:gd name="connsiteY14" fmla="*/ 4408 h 10011"/>
              <a:gd name="connsiteX15" fmla="*/ 8384 w 8815"/>
              <a:gd name="connsiteY15" fmla="*/ 4605 h 10011"/>
              <a:gd name="connsiteX16" fmla="*/ 8335 w 8815"/>
              <a:gd name="connsiteY16" fmla="*/ 4737 h 10011"/>
              <a:gd name="connsiteX17" fmla="*/ 8285 w 8815"/>
              <a:gd name="connsiteY17" fmla="*/ 4901 h 10011"/>
              <a:gd name="connsiteX18" fmla="*/ 8230 w 8815"/>
              <a:gd name="connsiteY18" fmla="*/ 5000 h 10011"/>
              <a:gd name="connsiteX19" fmla="*/ 8163 w 8815"/>
              <a:gd name="connsiteY19" fmla="*/ 5099 h 10011"/>
              <a:gd name="connsiteX20" fmla="*/ 8103 w 8815"/>
              <a:gd name="connsiteY20" fmla="*/ 5197 h 10011"/>
              <a:gd name="connsiteX21" fmla="*/ 8031 w 8815"/>
              <a:gd name="connsiteY21" fmla="*/ 5230 h 10011"/>
              <a:gd name="connsiteX22" fmla="*/ 8031 w 8815"/>
              <a:gd name="connsiteY22" fmla="*/ 5230 h 10011"/>
              <a:gd name="connsiteX23" fmla="*/ 5 w 8815"/>
              <a:gd name="connsiteY23" fmla="*/ 9414 h 10011"/>
              <a:gd name="connsiteX24" fmla="*/ 0 w 8815"/>
              <a:gd name="connsiteY24" fmla="*/ 10011 h 10011"/>
              <a:gd name="connsiteX25" fmla="*/ 8815 w 8815"/>
              <a:gd name="connsiteY25" fmla="*/ 10000 h 10011"/>
              <a:gd name="connsiteX0" fmla="*/ 9996 w 9996"/>
              <a:gd name="connsiteY0" fmla="*/ 9989 h 10000"/>
              <a:gd name="connsiteX1" fmla="*/ 9996 w 9996"/>
              <a:gd name="connsiteY1" fmla="*/ 0 h 10000"/>
              <a:gd name="connsiteX2" fmla="*/ 9996 w 9996"/>
              <a:gd name="connsiteY2" fmla="*/ 0 h 10000"/>
              <a:gd name="connsiteX3" fmla="*/ 9996 w 9996"/>
              <a:gd name="connsiteY3" fmla="*/ 230 h 10000"/>
              <a:gd name="connsiteX4" fmla="*/ 9977 w 9996"/>
              <a:gd name="connsiteY4" fmla="*/ 756 h 10000"/>
              <a:gd name="connsiteX5" fmla="*/ 9964 w 9996"/>
              <a:gd name="connsiteY5" fmla="*/ 1117 h 10000"/>
              <a:gd name="connsiteX6" fmla="*/ 9939 w 9996"/>
              <a:gd name="connsiteY6" fmla="*/ 1544 h 10000"/>
              <a:gd name="connsiteX7" fmla="*/ 9914 w 9996"/>
              <a:gd name="connsiteY7" fmla="*/ 2005 h 10000"/>
              <a:gd name="connsiteX8" fmla="*/ 9877 w 9996"/>
              <a:gd name="connsiteY8" fmla="*/ 2464 h 10000"/>
              <a:gd name="connsiteX9" fmla="*/ 9827 w 9996"/>
              <a:gd name="connsiteY9" fmla="*/ 2925 h 10000"/>
              <a:gd name="connsiteX10" fmla="*/ 9770 w 9996"/>
              <a:gd name="connsiteY10" fmla="*/ 3384 h 10000"/>
              <a:gd name="connsiteX11" fmla="*/ 9695 w 9996"/>
              <a:gd name="connsiteY11" fmla="*/ 3812 h 10000"/>
              <a:gd name="connsiteX12" fmla="*/ 9658 w 9996"/>
              <a:gd name="connsiteY12" fmla="*/ 4042 h 10000"/>
              <a:gd name="connsiteX13" fmla="*/ 9608 w 9996"/>
              <a:gd name="connsiteY13" fmla="*/ 4238 h 10000"/>
              <a:gd name="connsiteX14" fmla="*/ 9564 w 9996"/>
              <a:gd name="connsiteY14" fmla="*/ 4403 h 10000"/>
              <a:gd name="connsiteX15" fmla="*/ 9507 w 9996"/>
              <a:gd name="connsiteY15" fmla="*/ 4600 h 10000"/>
              <a:gd name="connsiteX16" fmla="*/ 9451 w 9996"/>
              <a:gd name="connsiteY16" fmla="*/ 4732 h 10000"/>
              <a:gd name="connsiteX17" fmla="*/ 9395 w 9996"/>
              <a:gd name="connsiteY17" fmla="*/ 4896 h 10000"/>
              <a:gd name="connsiteX18" fmla="*/ 9332 w 9996"/>
              <a:gd name="connsiteY18" fmla="*/ 4995 h 10000"/>
              <a:gd name="connsiteX19" fmla="*/ 9256 w 9996"/>
              <a:gd name="connsiteY19" fmla="*/ 5093 h 10000"/>
              <a:gd name="connsiteX20" fmla="*/ 9188 w 9996"/>
              <a:gd name="connsiteY20" fmla="*/ 5191 h 10000"/>
              <a:gd name="connsiteX21" fmla="*/ 9107 w 9996"/>
              <a:gd name="connsiteY21" fmla="*/ 5224 h 10000"/>
              <a:gd name="connsiteX22" fmla="*/ 9107 w 9996"/>
              <a:gd name="connsiteY22" fmla="*/ 5224 h 10000"/>
              <a:gd name="connsiteX23" fmla="*/ 2 w 9996"/>
              <a:gd name="connsiteY23" fmla="*/ 9404 h 10000"/>
              <a:gd name="connsiteX24" fmla="*/ 0 w 9996"/>
              <a:gd name="connsiteY24" fmla="*/ 10000 h 10000"/>
              <a:gd name="connsiteX25" fmla="*/ 9996 w 9996"/>
              <a:gd name="connsiteY25" fmla="*/ 9989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9996" h="10000">
                <a:moveTo>
                  <a:pt x="9996" y="9989"/>
                </a:moveTo>
                <a:lnTo>
                  <a:pt x="9996" y="0"/>
                </a:lnTo>
                <a:lnTo>
                  <a:pt x="9996" y="0"/>
                </a:lnTo>
                <a:lnTo>
                  <a:pt x="9996" y="230"/>
                </a:lnTo>
                <a:cubicBezTo>
                  <a:pt x="9989" y="406"/>
                  <a:pt x="9984" y="580"/>
                  <a:pt x="9977" y="756"/>
                </a:cubicBezTo>
                <a:cubicBezTo>
                  <a:pt x="9972" y="876"/>
                  <a:pt x="9969" y="997"/>
                  <a:pt x="9964" y="1117"/>
                </a:cubicBezTo>
                <a:cubicBezTo>
                  <a:pt x="9956" y="1260"/>
                  <a:pt x="9947" y="1401"/>
                  <a:pt x="9939" y="1544"/>
                </a:cubicBezTo>
                <a:cubicBezTo>
                  <a:pt x="9931" y="1698"/>
                  <a:pt x="9922" y="1851"/>
                  <a:pt x="9914" y="2005"/>
                </a:cubicBezTo>
                <a:cubicBezTo>
                  <a:pt x="9902" y="2158"/>
                  <a:pt x="9889" y="2311"/>
                  <a:pt x="9877" y="2464"/>
                </a:cubicBezTo>
                <a:cubicBezTo>
                  <a:pt x="9860" y="2618"/>
                  <a:pt x="9844" y="2771"/>
                  <a:pt x="9827" y="2925"/>
                </a:cubicBezTo>
                <a:cubicBezTo>
                  <a:pt x="9808" y="3078"/>
                  <a:pt x="9790" y="3231"/>
                  <a:pt x="9770" y="3384"/>
                </a:cubicBezTo>
                <a:cubicBezTo>
                  <a:pt x="9745" y="3527"/>
                  <a:pt x="9720" y="3669"/>
                  <a:pt x="9695" y="3812"/>
                </a:cubicBezTo>
                <a:cubicBezTo>
                  <a:pt x="9683" y="3889"/>
                  <a:pt x="9670" y="3965"/>
                  <a:pt x="9658" y="4042"/>
                </a:cubicBezTo>
                <a:cubicBezTo>
                  <a:pt x="9641" y="4107"/>
                  <a:pt x="9625" y="4172"/>
                  <a:pt x="9608" y="4238"/>
                </a:cubicBezTo>
                <a:cubicBezTo>
                  <a:pt x="9593" y="4293"/>
                  <a:pt x="9579" y="4348"/>
                  <a:pt x="9564" y="4403"/>
                </a:cubicBezTo>
                <a:cubicBezTo>
                  <a:pt x="9544" y="4469"/>
                  <a:pt x="9526" y="4534"/>
                  <a:pt x="9507" y="4600"/>
                </a:cubicBezTo>
                <a:cubicBezTo>
                  <a:pt x="9489" y="4644"/>
                  <a:pt x="9470" y="4688"/>
                  <a:pt x="9451" y="4732"/>
                </a:cubicBezTo>
                <a:cubicBezTo>
                  <a:pt x="9432" y="4787"/>
                  <a:pt x="9414" y="4841"/>
                  <a:pt x="9395" y="4896"/>
                </a:cubicBezTo>
                <a:lnTo>
                  <a:pt x="9332" y="4995"/>
                </a:lnTo>
                <a:cubicBezTo>
                  <a:pt x="9307" y="5027"/>
                  <a:pt x="9281" y="5060"/>
                  <a:pt x="9256" y="5093"/>
                </a:cubicBezTo>
                <a:cubicBezTo>
                  <a:pt x="9234" y="5126"/>
                  <a:pt x="9211" y="5158"/>
                  <a:pt x="9188" y="5191"/>
                </a:cubicBezTo>
                <a:lnTo>
                  <a:pt x="9107" y="5224"/>
                </a:lnTo>
                <a:lnTo>
                  <a:pt x="9107" y="5224"/>
                </a:lnTo>
                <a:lnTo>
                  <a:pt x="2" y="9404"/>
                </a:lnTo>
                <a:cubicBezTo>
                  <a:pt x="-1" y="9602"/>
                  <a:pt x="2" y="9801"/>
                  <a:pt x="0" y="10000"/>
                </a:cubicBezTo>
                <a:lnTo>
                  <a:pt x="9996" y="9989"/>
                </a:lnTo>
                <a:close/>
              </a:path>
            </a:pathLst>
          </a:custGeom>
          <a:solidFill>
            <a:schemeClr val="accent6"/>
          </a:solidFill>
          <a:ln>
            <a:noFill/>
          </a:ln>
        </p:spPr>
        <p:txBody>
          <a:bodyPr vert="horz" wrap="square" lIns="133428" tIns="66715" rIns="133428" bIns="66715" numCol="1" anchor="t" anchorCtr="0" compatLnSpc="1">
            <a:prstTxWarp prst="textNoShape">
              <a:avLst/>
            </a:prstTxWarp>
          </a:bodyPr>
          <a:lstStyle/>
          <a:p>
            <a:endParaRPr lang="ja-JP" altLang="en-US" sz="2533"/>
          </a:p>
        </p:txBody>
      </p:sp>
      <p:sp>
        <p:nvSpPr>
          <p:cNvPr id="2" name="タイトル 1"/>
          <p:cNvSpPr>
            <a:spLocks noGrp="1"/>
          </p:cNvSpPr>
          <p:nvPr>
            <p:ph type="title"/>
          </p:nvPr>
        </p:nvSpPr>
        <p:spPr>
          <a:xfrm>
            <a:off x="368549" y="194236"/>
            <a:ext cx="9791452" cy="540000"/>
          </a:xfrm>
          <a:prstGeom prst="rect">
            <a:avLst/>
          </a:prstGeom>
        </p:spPr>
        <p:txBody>
          <a:bodyPr lIns="95767" tIns="47884" rIns="95767" bIns="47884"/>
          <a:lstStyle/>
          <a:p>
            <a:r>
              <a:rPr kumimoji="1" lang="ja-JP" altLang="en-US"/>
              <a:t>マスター タイトルの書式設定</a:t>
            </a:r>
          </a:p>
        </p:txBody>
      </p:sp>
      <p:sp>
        <p:nvSpPr>
          <p:cNvPr id="3" name="コンテンツ プレースホルダー 2"/>
          <p:cNvSpPr>
            <a:spLocks noGrp="1"/>
          </p:cNvSpPr>
          <p:nvPr>
            <p:ph idx="1"/>
          </p:nvPr>
        </p:nvSpPr>
        <p:spPr>
          <a:xfrm>
            <a:off x="368551" y="903600"/>
            <a:ext cx="11583452" cy="5540400"/>
          </a:xfrm>
          <a:prstGeom prst="rect">
            <a:avLst/>
          </a:prstGeom>
        </p:spPr>
        <p:txBody>
          <a:bodyPr lIns="95767" tIns="47884" rIns="95767" bIns="47884"/>
          <a:lstStyle>
            <a:lvl2pPr indent="-236233">
              <a:defRPr/>
            </a:lvl2pPr>
            <a:lvl3pPr indent="-236233">
              <a:defRPr/>
            </a:lvl3pPr>
            <a:lvl4pPr indent="-236233">
              <a:defRPr/>
            </a:lvl4pPr>
            <a:lvl5pPr indent="-236233">
              <a:defRPr/>
            </a:lvl5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6" name="スライド番号プレースホルダー 5"/>
          <p:cNvSpPr>
            <a:spLocks noGrp="1"/>
          </p:cNvSpPr>
          <p:nvPr>
            <p:ph type="sldNum" sz="quarter" idx="12"/>
          </p:nvPr>
        </p:nvSpPr>
        <p:spPr>
          <a:xfrm>
            <a:off x="11524630" y="6468878"/>
            <a:ext cx="555811" cy="289299"/>
          </a:xfrm>
          <a:prstGeom prst="rect">
            <a:avLst/>
          </a:prstGeom>
        </p:spPr>
        <p:txBody>
          <a:bodyPr lIns="95767" tIns="47884" rIns="95767" bIns="47884"/>
          <a:lstStyle>
            <a:lvl1pPr>
              <a:defRPr sz="1333"/>
            </a:lvl1pPr>
          </a:lstStyle>
          <a:p>
            <a:fld id="{2FF5E1DE-7B95-8A44-8552-65323269AE41}" type="slidenum">
              <a:rPr lang="ja-JP" altLang="en-US" smtClean="0"/>
              <a:pPr/>
              <a:t>‹#›</a:t>
            </a:fld>
            <a:endParaRPr lang="ja-JP" altLang="en-US"/>
          </a:p>
        </p:txBody>
      </p:sp>
      <p:cxnSp>
        <p:nvCxnSpPr>
          <p:cNvPr id="8" name="直線コネクタ 7"/>
          <p:cNvCxnSpPr/>
          <p:nvPr userDrawn="1"/>
        </p:nvCxnSpPr>
        <p:spPr>
          <a:xfrm>
            <a:off x="239959" y="817200"/>
            <a:ext cx="11709966" cy="0"/>
          </a:xfrm>
          <a:prstGeom prst="line">
            <a:avLst/>
          </a:prstGeom>
          <a:ln>
            <a:solidFill>
              <a:srgbClr val="92846E"/>
            </a:solidFill>
          </a:ln>
          <a:effectLst/>
        </p:spPr>
        <p:style>
          <a:lnRef idx="2">
            <a:schemeClr val="accent1"/>
          </a:lnRef>
          <a:fillRef idx="0">
            <a:schemeClr val="accent1"/>
          </a:fillRef>
          <a:effectRef idx="1">
            <a:schemeClr val="accent1"/>
          </a:effectRef>
          <a:fontRef idx="minor">
            <a:schemeClr val="tx1"/>
          </a:fontRef>
        </p:style>
      </p:cxnSp>
      <p:pic>
        <p:nvPicPr>
          <p:cNvPr id="10" name="Picture 2" descr="K:\新ロゴ（データ一式）\DLH_3_EN.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1038066" y="-34312"/>
            <a:ext cx="973128" cy="90043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11249304"/>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showMasterSp="0" preserve="1" userDrawn="1">
  <p:cSld name="タイトル（社内限定　背景色より色変更可）">
    <p:bg>
      <p:bgPr>
        <a:solidFill>
          <a:schemeClr val="accent5">
            <a:lumMod val="20000"/>
            <a:lumOff val="80000"/>
          </a:schemeClr>
        </a:solidFill>
        <a:effectLst/>
      </p:bgPr>
    </p:bg>
    <p:spTree>
      <p:nvGrpSpPr>
        <p:cNvPr id="1" name=""/>
        <p:cNvGrpSpPr/>
        <p:nvPr/>
      </p:nvGrpSpPr>
      <p:grpSpPr>
        <a:xfrm>
          <a:off x="0" y="0"/>
          <a:ext cx="0" cy="0"/>
          <a:chOff x="0" y="0"/>
          <a:chExt cx="0" cy="0"/>
        </a:xfrm>
      </p:grpSpPr>
      <p:graphicFrame>
        <p:nvGraphicFramePr>
          <p:cNvPr id="3" name="オブジェクト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63" imgH="565" progId="TCLayout.ActiveDocument.1">
                  <p:embed/>
                </p:oleObj>
              </mc:Choice>
              <mc:Fallback>
                <p:oleObj name="think-cell スライド" r:id="rId4" imgW="563" imgH="565" progId="TCLayout.ActiveDocument.1">
                  <p:embed/>
                  <p:pic>
                    <p:nvPicPr>
                      <p:cNvPr id="3" name="オブジェクト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正方形/長方形 1" hidden="1"/>
          <p:cNvSpPr/>
          <p:nvPr userDrawn="1">
            <p:custDataLst>
              <p:tags r:id="rId2"/>
            </p:custDataLst>
          </p:nvPr>
        </p:nvSpPr>
        <p:spPr>
          <a:xfrm>
            <a:off x="0" y="0"/>
            <a:ext cx="158750" cy="158750"/>
          </a:xfrm>
          <a:prstGeom prst="rect">
            <a:avLst/>
          </a:prstGeom>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marL="0" marR="0" lvl="0" indent="0" algn="ctr" defTabSz="371475" rtl="0" eaLnBrk="1" fontAlgn="auto" latinLnBrk="0" hangingPunct="1">
              <a:lnSpc>
                <a:spcPct val="100000"/>
              </a:lnSpc>
              <a:spcBef>
                <a:spcPts val="0"/>
              </a:spcBef>
              <a:spcAft>
                <a:spcPts val="0"/>
              </a:spcAft>
              <a:buClrTx/>
              <a:buSzTx/>
              <a:buFontTx/>
              <a:buNone/>
              <a:tabLst/>
              <a:defRPr/>
            </a:pPr>
            <a:endParaRPr kumimoji="1" lang="ja-JP" altLang="en-US" sz="3088" b="0" i="0" u="none" strike="noStrike" kern="1200" cap="none" spc="0" normalizeH="0" baseline="0" noProof="0">
              <a:ln>
                <a:noFill/>
              </a:ln>
              <a:solidFill>
                <a:prstClr val="white"/>
              </a:solidFill>
              <a:effectLst/>
              <a:uLnTx/>
              <a:uFillTx/>
              <a:latin typeface="ＭＳ Ｐゴシック" panose="020B0600070205080204" pitchFamily="50" charset="-128"/>
              <a:ea typeface="Meiryo UI" panose="020B0604030504040204" pitchFamily="50" charset="-128"/>
              <a:cs typeface="+mn-cs"/>
              <a:sym typeface="ＭＳ Ｐゴシック" panose="020B0600070205080204" pitchFamily="50" charset="-128"/>
            </a:endParaRPr>
          </a:p>
        </p:txBody>
      </p:sp>
      <p:sp>
        <p:nvSpPr>
          <p:cNvPr id="10" name="タイトル 1"/>
          <p:cNvSpPr>
            <a:spLocks noGrp="1"/>
          </p:cNvSpPr>
          <p:nvPr>
            <p:ph type="ctrTitle"/>
          </p:nvPr>
        </p:nvSpPr>
        <p:spPr>
          <a:xfrm>
            <a:off x="914400" y="1416803"/>
            <a:ext cx="10363200" cy="1470025"/>
          </a:xfrm>
          <a:prstGeom prst="rect">
            <a:avLst/>
          </a:prstGeom>
        </p:spPr>
        <p:txBody>
          <a:bodyPr anchor="b">
            <a:normAutofit/>
          </a:bodyPr>
          <a:lstStyle>
            <a:lvl1pPr algn="l">
              <a:defRPr sz="3088" kern="1200">
                <a:solidFill>
                  <a:schemeClr val="tx1"/>
                </a:solidFill>
                <a:latin typeface="+mj-lt"/>
              </a:defRPr>
            </a:lvl1pPr>
          </a:lstStyle>
          <a:p>
            <a:r>
              <a:rPr kumimoji="1" lang="ja-JP" altLang="en-US"/>
              <a:t>マスター タイトルの書式設定</a:t>
            </a:r>
          </a:p>
        </p:txBody>
      </p:sp>
      <p:sp>
        <p:nvSpPr>
          <p:cNvPr id="12" name="サブタイトル 2"/>
          <p:cNvSpPr>
            <a:spLocks noGrp="1"/>
          </p:cNvSpPr>
          <p:nvPr>
            <p:ph type="subTitle" idx="1"/>
          </p:nvPr>
        </p:nvSpPr>
        <p:spPr>
          <a:xfrm>
            <a:off x="916801" y="3420000"/>
            <a:ext cx="9691435" cy="977153"/>
          </a:xfrm>
          <a:prstGeom prst="rect">
            <a:avLst/>
          </a:prstGeom>
        </p:spPr>
        <p:txBody>
          <a:bodyPr>
            <a:normAutofit/>
          </a:bodyPr>
          <a:lstStyle>
            <a:lvl1pPr marL="0" indent="0" algn="l">
              <a:buNone/>
              <a:defRPr sz="1950">
                <a:solidFill>
                  <a:schemeClr val="tx1"/>
                </a:solidFill>
                <a:latin typeface="+mj-lt"/>
              </a:defRPr>
            </a:lvl1pPr>
            <a:lvl2pPr marL="371475" indent="0" algn="ctr">
              <a:buNone/>
              <a:defRPr>
                <a:solidFill>
                  <a:schemeClr val="tx1">
                    <a:tint val="75000"/>
                  </a:schemeClr>
                </a:solidFill>
              </a:defRPr>
            </a:lvl2pPr>
            <a:lvl3pPr marL="742950" indent="0" algn="ctr">
              <a:buNone/>
              <a:defRPr>
                <a:solidFill>
                  <a:schemeClr val="tx1">
                    <a:tint val="75000"/>
                  </a:schemeClr>
                </a:solidFill>
              </a:defRPr>
            </a:lvl3pPr>
            <a:lvl4pPr marL="1114425" indent="0" algn="ctr">
              <a:buNone/>
              <a:defRPr>
                <a:solidFill>
                  <a:schemeClr val="tx1">
                    <a:tint val="75000"/>
                  </a:schemeClr>
                </a:solidFill>
              </a:defRPr>
            </a:lvl4pPr>
            <a:lvl5pPr marL="1485900" indent="0" algn="ctr">
              <a:buNone/>
              <a:defRPr>
                <a:solidFill>
                  <a:schemeClr val="tx1">
                    <a:tint val="75000"/>
                  </a:schemeClr>
                </a:solidFill>
              </a:defRPr>
            </a:lvl5pPr>
            <a:lvl6pPr marL="1857375" indent="0" algn="ctr">
              <a:buNone/>
              <a:defRPr>
                <a:solidFill>
                  <a:schemeClr val="tx1">
                    <a:tint val="75000"/>
                  </a:schemeClr>
                </a:solidFill>
              </a:defRPr>
            </a:lvl6pPr>
            <a:lvl7pPr marL="2228850" indent="0" algn="ctr">
              <a:buNone/>
              <a:defRPr>
                <a:solidFill>
                  <a:schemeClr val="tx1">
                    <a:tint val="75000"/>
                  </a:schemeClr>
                </a:solidFill>
              </a:defRPr>
            </a:lvl7pPr>
            <a:lvl8pPr marL="2600325" indent="0" algn="ctr">
              <a:buNone/>
              <a:defRPr>
                <a:solidFill>
                  <a:schemeClr val="tx1">
                    <a:tint val="75000"/>
                  </a:schemeClr>
                </a:solidFill>
              </a:defRPr>
            </a:lvl8pPr>
            <a:lvl9pPr marL="2971800" indent="0" algn="ctr">
              <a:buNone/>
              <a:defRPr>
                <a:solidFill>
                  <a:schemeClr val="tx1">
                    <a:tint val="75000"/>
                  </a:schemeClr>
                </a:solidFill>
              </a:defRPr>
            </a:lvl9pPr>
          </a:lstStyle>
          <a:p>
            <a:r>
              <a:rPr kumimoji="1" lang="ja-JP" altLang="en-US"/>
              <a:t>マスター サブタイトルの書式設定</a:t>
            </a:r>
          </a:p>
        </p:txBody>
      </p:sp>
      <p:pic>
        <p:nvPicPr>
          <p:cNvPr id="14" name="図 13"/>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15" name="フッター プレースホルダー 12"/>
          <p:cNvSpPr>
            <a:spLocks noGrp="1"/>
          </p:cNvSpPr>
          <p:nvPr>
            <p:ph type="ftr" sz="quarter" idx="11"/>
          </p:nvPr>
        </p:nvSpPr>
        <p:spPr>
          <a:xfrm>
            <a:off x="609600" y="6084288"/>
            <a:ext cx="3860800" cy="365125"/>
          </a:xfrm>
          <a:prstGeom prst="rect">
            <a:avLst/>
          </a:prstGeom>
        </p:spPr>
        <p:txBody>
          <a:bodyPr/>
          <a:lstStyle>
            <a:lvl1pPr algn="l">
              <a:defRPr sz="1300">
                <a:latin typeface="+mj-lt"/>
              </a:defRPr>
            </a:lvl1pPr>
          </a:lstStyle>
          <a:p>
            <a:pPr defTabSz="371475">
              <a:defRPr/>
            </a:pPr>
            <a:endParaRPr lang="ja-JP" altLang="en-US">
              <a:solidFill>
                <a:srgbClr val="000000"/>
              </a:solidFill>
            </a:endParaRPr>
          </a:p>
        </p:txBody>
      </p:sp>
      <p:sp>
        <p:nvSpPr>
          <p:cNvPr id="16" name="日付プレースホルダー 11"/>
          <p:cNvSpPr>
            <a:spLocks noGrp="1"/>
          </p:cNvSpPr>
          <p:nvPr>
            <p:ph type="dt" sz="half" idx="10"/>
          </p:nvPr>
        </p:nvSpPr>
        <p:spPr>
          <a:xfrm>
            <a:off x="609600" y="5676527"/>
            <a:ext cx="3860800" cy="365125"/>
          </a:xfrm>
          <a:prstGeom prst="rect">
            <a:avLst/>
          </a:prstGeom>
        </p:spPr>
        <p:txBody>
          <a:bodyPr/>
          <a:lstStyle>
            <a:lvl1pPr algn="l">
              <a:defRPr sz="1300">
                <a:solidFill>
                  <a:schemeClr val="tx1"/>
                </a:solidFill>
                <a:latin typeface="+mj-lt"/>
              </a:defRPr>
            </a:lvl1pPr>
          </a:lstStyle>
          <a:p>
            <a:pPr defTabSz="371475">
              <a:defRPr/>
            </a:pPr>
            <a:endParaRPr lang="ja-JP" altLang="en-US">
              <a:solidFill>
                <a:srgbClr val="000000"/>
              </a:solidFill>
            </a:endParaRPr>
          </a:p>
        </p:txBody>
      </p:sp>
      <p:pic>
        <p:nvPicPr>
          <p:cNvPr id="9" name="Picture 2" descr="K:\新ロゴ（データ一式）\★logo_3_jn.png"/>
          <p:cNvPicPr>
            <a:picLocks noChangeAspect="1" noChangeArrowheads="1"/>
          </p:cNvPicPr>
          <p:nvPr userDrawn="1"/>
        </p:nvPicPr>
        <p:blipFill>
          <a:blip r:embed="rId7" cstate="print">
            <a:extLst>
              <a:ext uri="{28A0092B-C50C-407E-A947-70E740481C1C}">
                <a14:useLocalDpi xmlns:a14="http://schemas.microsoft.com/office/drawing/2010/main" val="0"/>
              </a:ext>
            </a:extLst>
          </a:blip>
          <a:srcRect/>
          <a:stretch>
            <a:fillRect/>
          </a:stretch>
        </p:blipFill>
        <p:spPr bwMode="auto">
          <a:xfrm>
            <a:off x="9666456" y="5364015"/>
            <a:ext cx="2519177" cy="150723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28459020"/>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graphicFrame>
        <p:nvGraphicFramePr>
          <p:cNvPr id="5" name="オブジェクト 4"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63" imgH="565" progId="TCLayout.ActiveDocument.1">
                  <p:embed/>
                </p:oleObj>
              </mc:Choice>
              <mc:Fallback>
                <p:oleObj name="think-cell スライド" r:id="rId4" imgW="563" imgH="565" progId="TCLayout.ActiveDocument.1">
                  <p:embed/>
                  <p:pic>
                    <p:nvPicPr>
                      <p:cNvPr id="5" name="オブジェクト 4"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正方形/長方形 3" hidden="1"/>
          <p:cNvSpPr/>
          <p:nvPr userDrawn="1">
            <p:custDataLst>
              <p:tags r:id="rId2"/>
            </p:custDataLst>
          </p:nvPr>
        </p:nvSpPr>
        <p:spPr>
          <a:xfrm>
            <a:off x="0" y="0"/>
            <a:ext cx="158750" cy="158750"/>
          </a:xfrm>
          <a:prstGeom prst="rect">
            <a:avLst/>
          </a:prstGeom>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marL="0" marR="0" lvl="0" indent="0" algn="ctr" defTabSz="371475" rtl="0" eaLnBrk="1" fontAlgn="auto" latinLnBrk="0" hangingPunct="1">
              <a:lnSpc>
                <a:spcPct val="100000"/>
              </a:lnSpc>
              <a:spcBef>
                <a:spcPts val="0"/>
              </a:spcBef>
              <a:spcAft>
                <a:spcPts val="0"/>
              </a:spcAft>
              <a:buClrTx/>
              <a:buSzTx/>
              <a:buFontTx/>
              <a:buNone/>
              <a:tabLst/>
              <a:defRPr/>
            </a:pPr>
            <a:endParaRPr kumimoji="1" lang="ja-JP" altLang="en-US" sz="1950" b="0" i="0" u="none" strike="noStrike" kern="1200" cap="none" spc="0" normalizeH="0" baseline="0" noProof="0">
              <a:ln>
                <a:noFill/>
              </a:ln>
              <a:solidFill>
                <a:prstClr val="white"/>
              </a:solidFill>
              <a:effectLst/>
              <a:uLnTx/>
              <a:uFillTx/>
              <a:latin typeface="ＭＳ Ｐゴシック" panose="020B0600070205080204" pitchFamily="50" charset="-128"/>
              <a:ea typeface="Meiryo UI" panose="020B0604030504040204" pitchFamily="50" charset="-128"/>
              <a:cs typeface="+mn-cs"/>
              <a:sym typeface="ＭＳ Ｐゴシック" panose="020B0600070205080204" pitchFamily="50" charset="-128"/>
            </a:endParaRPr>
          </a:p>
        </p:txBody>
      </p:sp>
      <p:sp>
        <p:nvSpPr>
          <p:cNvPr id="2" name="タイトル 1"/>
          <p:cNvSpPr>
            <a:spLocks noGrp="1"/>
          </p:cNvSpPr>
          <p:nvPr>
            <p:ph type="title"/>
          </p:nvPr>
        </p:nvSpPr>
        <p:spPr/>
        <p:txBody>
          <a:bodyPr/>
          <a:lstStyle>
            <a:lvl1pPr>
              <a:defRPr>
                <a:latin typeface="+mj-lt"/>
              </a:defRPr>
            </a:lvl1pPr>
          </a:lstStyle>
          <a:p>
            <a:r>
              <a:rPr kumimoji="1" lang="ja-JP" altLang="en-US"/>
              <a:t>マスター タイトルの書式設定</a:t>
            </a:r>
          </a:p>
        </p:txBody>
      </p:sp>
      <p:sp>
        <p:nvSpPr>
          <p:cNvPr id="3" name="コンテンツ プレースホルダー 2"/>
          <p:cNvSpPr>
            <a:spLocks noGrp="1"/>
          </p:cNvSpPr>
          <p:nvPr>
            <p:ph idx="1"/>
          </p:nvPr>
        </p:nvSpPr>
        <p:spPr>
          <a:xfrm>
            <a:off x="368550" y="903600"/>
            <a:ext cx="11583452" cy="5540400"/>
          </a:xfrm>
        </p:spPr>
        <p:txBody>
          <a:bodyPr/>
          <a:lstStyle>
            <a:lvl1pPr>
              <a:defRPr>
                <a:latin typeface="+mj-lt"/>
              </a:defRPr>
            </a:lvl1pPr>
            <a:lvl2pPr indent="-137475">
              <a:defRPr>
                <a:latin typeface="+mj-lt"/>
              </a:defRPr>
            </a:lvl2pPr>
            <a:lvl3pPr indent="-137475">
              <a:defRPr>
                <a:latin typeface="+mj-lt"/>
              </a:defRPr>
            </a:lvl3pPr>
            <a:lvl4pPr indent="-137475">
              <a:defRPr>
                <a:latin typeface="+mj-lt"/>
              </a:defRPr>
            </a:lvl4pPr>
            <a:lvl5pPr indent="-137475">
              <a:defRPr>
                <a:latin typeface="+mj-lt"/>
              </a:defRPr>
            </a:lvl5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6" name="スライド番号プレースホルダー 5"/>
          <p:cNvSpPr>
            <a:spLocks noGrp="1"/>
          </p:cNvSpPr>
          <p:nvPr>
            <p:ph type="sldNum" sz="quarter" idx="12"/>
          </p:nvPr>
        </p:nvSpPr>
        <p:spPr/>
        <p:txBody>
          <a:bodyPr/>
          <a:lstStyle>
            <a:lvl1pPr>
              <a:defRPr>
                <a:latin typeface="+mj-lt"/>
              </a:defRPr>
            </a:lvl1pPr>
          </a:lstStyle>
          <a:p>
            <a:pPr defTabSz="371475">
              <a:defRPr/>
            </a:pPr>
            <a:fld id="{2FF5E1DE-7B95-8A44-8552-65323269AE41}" type="slidenum">
              <a:rPr lang="ja-JP" altLang="en-US" smtClean="0"/>
              <a:pPr defTabSz="371475">
                <a:defRPr/>
              </a:pPr>
              <a:t>‹#›</a:t>
            </a:fld>
            <a:endParaRPr lang="ja-JP" altLang="en-US"/>
          </a:p>
        </p:txBody>
      </p:sp>
    </p:spTree>
    <p:extLst>
      <p:ext uri="{BB962C8B-B14F-4D97-AF65-F5344CB8AC3E}">
        <p14:creationId xmlns:p14="http://schemas.microsoft.com/office/powerpoint/2010/main" val="2363722866"/>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type="titleOnly" preserve="1">
  <p:cSld name="タイトルのみ">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63" imgH="565" progId="TCLayout.ActiveDocument.1">
                  <p:embed/>
                </p:oleObj>
              </mc:Choice>
              <mc:Fallback>
                <p:oleObj name="think-cell スライド" r:id="rId4" imgW="563" imgH="565" progId="TCLayout.ActiveDocument.1">
                  <p:embed/>
                  <p:pic>
                    <p:nvPicPr>
                      <p:cNvPr id="4" name="オブジェクト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正方形/長方形 2" hidden="1"/>
          <p:cNvSpPr/>
          <p:nvPr userDrawn="1">
            <p:custDataLst>
              <p:tags r:id="rId2"/>
            </p:custDataLst>
          </p:nvPr>
        </p:nvSpPr>
        <p:spPr>
          <a:xfrm>
            <a:off x="0" y="0"/>
            <a:ext cx="158750" cy="158750"/>
          </a:xfrm>
          <a:prstGeom prst="rect">
            <a:avLst/>
          </a:prstGeom>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marL="0" marR="0" lvl="0" indent="0" algn="ctr" defTabSz="371475" rtl="0" eaLnBrk="1" fontAlgn="auto" latinLnBrk="0" hangingPunct="1">
              <a:lnSpc>
                <a:spcPct val="100000"/>
              </a:lnSpc>
              <a:spcBef>
                <a:spcPts val="0"/>
              </a:spcBef>
              <a:spcAft>
                <a:spcPts val="0"/>
              </a:spcAft>
              <a:buClrTx/>
              <a:buSzTx/>
              <a:buFontTx/>
              <a:buNone/>
              <a:tabLst/>
              <a:defRPr/>
            </a:pPr>
            <a:endParaRPr kumimoji="1" lang="ja-JP" altLang="en-US" sz="1950" b="0" i="0" u="none" strike="noStrike" kern="1200" cap="none" spc="0" normalizeH="0" baseline="0" noProof="0">
              <a:ln>
                <a:noFill/>
              </a:ln>
              <a:solidFill>
                <a:prstClr val="white"/>
              </a:solidFill>
              <a:effectLst/>
              <a:uLnTx/>
              <a:uFillTx/>
              <a:latin typeface="ＭＳ Ｐゴシック" panose="020B0600070205080204" pitchFamily="50" charset="-128"/>
              <a:ea typeface="Meiryo UI" panose="020B0604030504040204" pitchFamily="50" charset="-128"/>
              <a:cs typeface="+mn-cs"/>
              <a:sym typeface="ＭＳ Ｐゴシック" panose="020B0600070205080204" pitchFamily="50" charset="-128"/>
            </a:endParaRPr>
          </a:p>
        </p:txBody>
      </p:sp>
      <p:sp>
        <p:nvSpPr>
          <p:cNvPr id="2" name="タイトル 1"/>
          <p:cNvSpPr>
            <a:spLocks noGrp="1"/>
          </p:cNvSpPr>
          <p:nvPr>
            <p:ph type="title"/>
          </p:nvPr>
        </p:nvSpPr>
        <p:spPr/>
        <p:txBody>
          <a:bodyPr/>
          <a:lstStyle/>
          <a:p>
            <a:r>
              <a:rPr kumimoji="1" lang="ja-JP" altLang="en-US"/>
              <a:t>マスター タイトルの書式設定</a:t>
            </a:r>
          </a:p>
        </p:txBody>
      </p:sp>
      <p:sp>
        <p:nvSpPr>
          <p:cNvPr id="5" name="スライド番号プレースホルダー 4"/>
          <p:cNvSpPr>
            <a:spLocks noGrp="1"/>
          </p:cNvSpPr>
          <p:nvPr>
            <p:ph type="sldNum" sz="quarter" idx="12"/>
          </p:nvPr>
        </p:nvSpPr>
        <p:spPr/>
        <p:txBody>
          <a:bodyPr/>
          <a:lstStyle/>
          <a:p>
            <a:pPr defTabSz="371475">
              <a:defRPr/>
            </a:pPr>
            <a:fld id="{2FF5E1DE-7B95-8A44-8552-65323269AE41}" type="slidenum">
              <a:rPr lang="ja-JP" altLang="en-US" smtClean="0">
                <a:latin typeface="Meiryo UI"/>
              </a:rPr>
              <a:pPr defTabSz="371475">
                <a:defRPr/>
              </a:pPr>
              <a:t>‹#›</a:t>
            </a:fld>
            <a:endParaRPr lang="ja-JP" altLang="en-US">
              <a:latin typeface="Meiryo UI"/>
            </a:endParaRPr>
          </a:p>
        </p:txBody>
      </p:sp>
    </p:spTree>
    <p:extLst>
      <p:ext uri="{BB962C8B-B14F-4D97-AF65-F5344CB8AC3E}">
        <p14:creationId xmlns:p14="http://schemas.microsoft.com/office/powerpoint/2010/main" val="3354747783"/>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type="title">
  <p:cSld name="タイトル スライド">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6D3322F3-E59A-2119-705A-5D2FEA182F63}"/>
              </a:ext>
            </a:extLst>
          </p:cNvPr>
          <p:cNvSpPr>
            <a:spLocks noGrp="1"/>
          </p:cNvSpPr>
          <p:nvPr>
            <p:ph type="ctrTitle"/>
          </p:nvPr>
        </p:nvSpPr>
        <p:spPr>
          <a:xfrm>
            <a:off x="1524000" y="1122363"/>
            <a:ext cx="9144000" cy="2387600"/>
          </a:xfrm>
        </p:spPr>
        <p:txBody>
          <a:bodyPr anchor="b"/>
          <a:lstStyle>
            <a:lvl1pPr algn="ctr">
              <a:defRPr sz="6000"/>
            </a:lvl1pPr>
          </a:lstStyle>
          <a:p>
            <a:r>
              <a:rPr kumimoji="1" lang="ja-JP" altLang="en-US"/>
              <a:t>マスター タイトルの書式設定</a:t>
            </a:r>
          </a:p>
        </p:txBody>
      </p:sp>
      <p:sp>
        <p:nvSpPr>
          <p:cNvPr id="3" name="字幕 2">
            <a:extLst>
              <a:ext uri="{FF2B5EF4-FFF2-40B4-BE49-F238E27FC236}">
                <a16:creationId xmlns:a16="http://schemas.microsoft.com/office/drawing/2014/main" id="{398AFBA2-7A82-791C-CD43-CD45DEEDC126}"/>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kumimoji="1" lang="ja-JP" altLang="en-US"/>
              <a:t>マスター サブタイトルの書式設定</a:t>
            </a:r>
          </a:p>
        </p:txBody>
      </p:sp>
      <p:sp>
        <p:nvSpPr>
          <p:cNvPr id="4" name="日付プレースホルダー 3">
            <a:extLst>
              <a:ext uri="{FF2B5EF4-FFF2-40B4-BE49-F238E27FC236}">
                <a16:creationId xmlns:a16="http://schemas.microsoft.com/office/drawing/2014/main" id="{FC6C0BB8-D7B6-6559-D4A2-0407927959A7}"/>
              </a:ext>
            </a:extLst>
          </p:cNvPr>
          <p:cNvSpPr>
            <a:spLocks noGrp="1"/>
          </p:cNvSpPr>
          <p:nvPr>
            <p:ph type="dt" sz="half" idx="10"/>
          </p:nvPr>
        </p:nvSpPr>
        <p:spPr/>
        <p:txBody>
          <a:bodyPr/>
          <a:lstStyle/>
          <a:p>
            <a:fld id="{E9A97B55-CD51-427A-B242-8D2AB8A5CFF6}" type="datetimeFigureOut">
              <a:rPr kumimoji="1" lang="ja-JP" altLang="en-US" smtClean="0"/>
              <a:t>2025/4/30</a:t>
            </a:fld>
            <a:endParaRPr kumimoji="1" lang="ja-JP" altLang="en-US"/>
          </a:p>
        </p:txBody>
      </p:sp>
      <p:sp>
        <p:nvSpPr>
          <p:cNvPr id="5" name="フッター プレースホルダー 4">
            <a:extLst>
              <a:ext uri="{FF2B5EF4-FFF2-40B4-BE49-F238E27FC236}">
                <a16:creationId xmlns:a16="http://schemas.microsoft.com/office/drawing/2014/main" id="{3D86B9D2-7845-34FE-3F60-0312DD5847D7}"/>
              </a:ext>
            </a:extLst>
          </p:cNvPr>
          <p:cNvSpPr>
            <a:spLocks noGrp="1"/>
          </p:cNvSpPr>
          <p:nvPr>
            <p:ph type="ftr" sz="quarter" idx="11"/>
          </p:nvPr>
        </p:nvSpPr>
        <p:spPr/>
        <p:txBody>
          <a:bodyPr/>
          <a:lstStyle/>
          <a:p>
            <a:endParaRPr kumimoji="1" lang="ja-JP" altLang="en-US"/>
          </a:p>
        </p:txBody>
      </p:sp>
      <p:sp>
        <p:nvSpPr>
          <p:cNvPr id="6" name="スライド番号プレースホルダー 5">
            <a:extLst>
              <a:ext uri="{FF2B5EF4-FFF2-40B4-BE49-F238E27FC236}">
                <a16:creationId xmlns:a16="http://schemas.microsoft.com/office/drawing/2014/main" id="{F49C51E6-4270-2A67-B2FC-7AE7E2D580A3}"/>
              </a:ext>
            </a:extLst>
          </p:cNvPr>
          <p:cNvSpPr>
            <a:spLocks noGrp="1"/>
          </p:cNvSpPr>
          <p:nvPr>
            <p:ph type="sldNum" sz="quarter" idx="12"/>
          </p:nvPr>
        </p:nvSpPr>
        <p:spPr/>
        <p:txBody>
          <a:bodyPr/>
          <a:lstStyle/>
          <a:p>
            <a:fld id="{D2C77774-2E1B-4BD8-A0C9-3D544E1CFF11}" type="slidenum">
              <a:rPr kumimoji="1" lang="ja-JP" altLang="en-US" smtClean="0"/>
              <a:t>‹#›</a:t>
            </a:fld>
            <a:endParaRPr kumimoji="1" lang="ja-JP" altLang="en-US"/>
          </a:p>
        </p:txBody>
      </p:sp>
    </p:spTree>
    <p:extLst>
      <p:ext uri="{BB962C8B-B14F-4D97-AF65-F5344CB8AC3E}">
        <p14:creationId xmlns:p14="http://schemas.microsoft.com/office/powerpoint/2010/main" val="1555602037"/>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userDrawn="1">
  <p:cSld name="7_タイトルとコンテンツ">
    <p:spTree>
      <p:nvGrpSpPr>
        <p:cNvPr id="1" name=""/>
        <p:cNvGrpSpPr/>
        <p:nvPr/>
      </p:nvGrpSpPr>
      <p:grpSpPr>
        <a:xfrm>
          <a:off x="0" y="0"/>
          <a:ext cx="0" cy="0"/>
          <a:chOff x="0" y="0"/>
          <a:chExt cx="0" cy="0"/>
        </a:xfrm>
      </p:grpSpPr>
      <p:sp>
        <p:nvSpPr>
          <p:cNvPr id="2" name="タイトル 1"/>
          <p:cNvSpPr>
            <a:spLocks noGrp="1"/>
          </p:cNvSpPr>
          <p:nvPr>
            <p:ph type="title"/>
          </p:nvPr>
        </p:nvSpPr>
        <p:spPr>
          <a:xfrm>
            <a:off x="368549" y="194236"/>
            <a:ext cx="9791452" cy="540000"/>
          </a:xfrm>
          <a:prstGeom prst="rect">
            <a:avLst/>
          </a:prstGeom>
        </p:spPr>
        <p:txBody>
          <a:bodyPr lIns="95767" tIns="47884" rIns="95767" bIns="47884"/>
          <a:lstStyle>
            <a:lvl1pPr>
              <a:defRPr sz="2800">
                <a:latin typeface="Meiryo UI" panose="020B0604030504040204" pitchFamily="50" charset="-128"/>
                <a:ea typeface="Meiryo UI" panose="020B0604030504040204" pitchFamily="50" charset="-128"/>
              </a:defRPr>
            </a:lvl1pPr>
          </a:lstStyle>
          <a:p>
            <a:r>
              <a:rPr kumimoji="1" lang="ja-JP" altLang="en-US"/>
              <a:t>マスター タイトルの書式設定</a:t>
            </a:r>
          </a:p>
        </p:txBody>
      </p:sp>
      <p:cxnSp>
        <p:nvCxnSpPr>
          <p:cNvPr id="8" name="直線コネクタ 7"/>
          <p:cNvCxnSpPr/>
          <p:nvPr userDrawn="1"/>
        </p:nvCxnSpPr>
        <p:spPr>
          <a:xfrm>
            <a:off x="239959" y="817200"/>
            <a:ext cx="11709966" cy="0"/>
          </a:xfrm>
          <a:prstGeom prst="line">
            <a:avLst/>
          </a:prstGeom>
          <a:ln>
            <a:solidFill>
              <a:srgbClr val="C7000D"/>
            </a:solidFill>
          </a:ln>
          <a:effectLst/>
        </p:spPr>
        <p:style>
          <a:lnRef idx="2">
            <a:schemeClr val="accent1"/>
          </a:lnRef>
          <a:fillRef idx="0">
            <a:schemeClr val="accent1"/>
          </a:fillRef>
          <a:effectRef idx="1">
            <a:schemeClr val="accent1"/>
          </a:effectRef>
          <a:fontRef idx="minor">
            <a:schemeClr val="tx1"/>
          </a:fontRef>
        </p:style>
      </p:cxnSp>
      <p:sp>
        <p:nvSpPr>
          <p:cNvPr id="5" name="テキスト ボックス 4">
            <a:extLst>
              <a:ext uri="{FF2B5EF4-FFF2-40B4-BE49-F238E27FC236}">
                <a16:creationId xmlns:a16="http://schemas.microsoft.com/office/drawing/2014/main" id="{AADF97E1-4CA8-DAAC-A11E-B2D3C144F3E0}"/>
              </a:ext>
            </a:extLst>
          </p:cNvPr>
          <p:cNvSpPr txBox="1"/>
          <p:nvPr userDrawn="1"/>
        </p:nvSpPr>
        <p:spPr>
          <a:xfrm>
            <a:off x="11479075" y="6454381"/>
            <a:ext cx="648000" cy="276999"/>
          </a:xfrm>
          <a:prstGeom prst="rect">
            <a:avLst/>
          </a:prstGeom>
          <a:noFill/>
        </p:spPr>
        <p:txBody>
          <a:bodyPr wrap="square" rtlCol="0">
            <a:spAutoFit/>
          </a:bodyPr>
          <a:lstStyle/>
          <a:p>
            <a:pPr algn="ctr"/>
            <a:fld id="{D85E7518-D2CA-4B2B-B71C-37504A82BA18}" type="slidenum">
              <a:rPr kumimoji="1" lang="en-US" altLang="ja-JP" sz="1200" smtClean="0">
                <a:latin typeface="Meiryo UI" panose="020B0604030504040204" pitchFamily="50" charset="-128"/>
                <a:ea typeface="Meiryo UI" panose="020B0604030504040204" pitchFamily="50" charset="-128"/>
              </a:rPr>
              <a:t>‹#›</a:t>
            </a:fld>
            <a:endParaRPr kumimoji="1" lang="ja-JP" altLang="en-US" sz="1200">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350730270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10.xml.rels><?xml version="1.0" encoding="UTF-8" standalone="yes"?>
<Relationships xmlns="http://schemas.openxmlformats.org/package/2006/relationships"><Relationship Id="rId8" Type="http://schemas.openxmlformats.org/officeDocument/2006/relationships/oleObject" Target="../embeddings/oleObject3.bin"/><Relationship Id="rId3" Type="http://schemas.openxmlformats.org/officeDocument/2006/relationships/slideLayout" Target="../slideLayouts/slideLayout92.xml"/><Relationship Id="rId7" Type="http://schemas.openxmlformats.org/officeDocument/2006/relationships/tags" Target="../tags/tag4.xml"/><Relationship Id="rId2" Type="http://schemas.openxmlformats.org/officeDocument/2006/relationships/slideLayout" Target="../slideLayouts/slideLayout91.xml"/><Relationship Id="rId1" Type="http://schemas.openxmlformats.org/officeDocument/2006/relationships/slideLayout" Target="../slideLayouts/slideLayout90.xml"/><Relationship Id="rId6" Type="http://schemas.openxmlformats.org/officeDocument/2006/relationships/theme" Target="../theme/theme10.xml"/><Relationship Id="rId11" Type="http://schemas.openxmlformats.org/officeDocument/2006/relationships/image" Target="../media/image17.png"/><Relationship Id="rId5" Type="http://schemas.openxmlformats.org/officeDocument/2006/relationships/slideLayout" Target="../slideLayouts/slideLayout94.xml"/><Relationship Id="rId10" Type="http://schemas.openxmlformats.org/officeDocument/2006/relationships/image" Target="../media/image2.gif"/><Relationship Id="rId4" Type="http://schemas.openxmlformats.org/officeDocument/2006/relationships/slideLayout" Target="../slideLayouts/slideLayout93.xml"/><Relationship Id="rId9" Type="http://schemas.openxmlformats.org/officeDocument/2006/relationships/image" Target="../media/image13.emf"/></Relationships>
</file>

<file path=ppt/slideMasters/_rels/slideMaster2.xml.rels><?xml version="1.0" encoding="UTF-8" standalone="yes"?>
<Relationships xmlns="http://schemas.openxmlformats.org/package/2006/relationships"><Relationship Id="rId8" Type="http://schemas.openxmlformats.org/officeDocument/2006/relationships/theme" Target="../theme/theme2.xml"/><Relationship Id="rId3" Type="http://schemas.openxmlformats.org/officeDocument/2006/relationships/slideLayout" Target="../slideLayouts/slideLayout12.xml"/><Relationship Id="rId7" Type="http://schemas.openxmlformats.org/officeDocument/2006/relationships/slideLayout" Target="../slideLayouts/slideLayout16.xml"/><Relationship Id="rId2" Type="http://schemas.openxmlformats.org/officeDocument/2006/relationships/slideLayout" Target="../slideLayouts/slideLayout11.xml"/><Relationship Id="rId1" Type="http://schemas.openxmlformats.org/officeDocument/2006/relationships/slideLayout" Target="../slideLayouts/slideLayout10.xml"/><Relationship Id="rId6" Type="http://schemas.openxmlformats.org/officeDocument/2006/relationships/slideLayout" Target="../slideLayouts/slideLayout15.xml"/><Relationship Id="rId5" Type="http://schemas.openxmlformats.org/officeDocument/2006/relationships/slideLayout" Target="../slideLayouts/slideLayout14.xml"/><Relationship Id="rId4" Type="http://schemas.openxmlformats.org/officeDocument/2006/relationships/slideLayout" Target="../slideLayouts/slideLayout13.xml"/><Relationship Id="rId9" Type="http://schemas.openxmlformats.org/officeDocument/2006/relationships/image" Target="../media/image2.gif"/></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image" Target="../media/image6.emf"/><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oleObject" Target="../embeddings/oleObject1.bin"/><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tags" Target="../tags/tag1.xml"/><Relationship Id="rId5" Type="http://schemas.openxmlformats.org/officeDocument/2006/relationships/slideLayout" Target="../slideLayouts/slideLayout21.xml"/><Relationship Id="rId10" Type="http://schemas.openxmlformats.org/officeDocument/2006/relationships/theme" Target="../theme/theme3.xml"/><Relationship Id="rId4" Type="http://schemas.openxmlformats.org/officeDocument/2006/relationships/slideLayout" Target="../slideLayouts/slideLayout20.xml"/><Relationship Id="rId9" Type="http://schemas.openxmlformats.org/officeDocument/2006/relationships/slideLayout" Target="../slideLayouts/slideLayout25.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33.xml"/><Relationship Id="rId13" Type="http://schemas.openxmlformats.org/officeDocument/2006/relationships/slideLayout" Target="../slideLayouts/slideLayout38.xml"/><Relationship Id="rId18" Type="http://schemas.openxmlformats.org/officeDocument/2006/relationships/slideLayout" Target="../slideLayouts/slideLayout43.xml"/><Relationship Id="rId3" Type="http://schemas.openxmlformats.org/officeDocument/2006/relationships/slideLayout" Target="../slideLayouts/slideLayout28.xml"/><Relationship Id="rId21" Type="http://schemas.openxmlformats.org/officeDocument/2006/relationships/slideLayout" Target="../slideLayouts/slideLayout46.xml"/><Relationship Id="rId7" Type="http://schemas.openxmlformats.org/officeDocument/2006/relationships/slideLayout" Target="../slideLayouts/slideLayout32.xml"/><Relationship Id="rId12" Type="http://schemas.openxmlformats.org/officeDocument/2006/relationships/slideLayout" Target="../slideLayouts/slideLayout37.xml"/><Relationship Id="rId17" Type="http://schemas.openxmlformats.org/officeDocument/2006/relationships/slideLayout" Target="../slideLayouts/slideLayout42.xml"/><Relationship Id="rId2" Type="http://schemas.openxmlformats.org/officeDocument/2006/relationships/slideLayout" Target="../slideLayouts/slideLayout27.xml"/><Relationship Id="rId16" Type="http://schemas.openxmlformats.org/officeDocument/2006/relationships/slideLayout" Target="../slideLayouts/slideLayout41.xml"/><Relationship Id="rId20" Type="http://schemas.openxmlformats.org/officeDocument/2006/relationships/slideLayout" Target="../slideLayouts/slideLayout45.xml"/><Relationship Id="rId1" Type="http://schemas.openxmlformats.org/officeDocument/2006/relationships/slideLayout" Target="../slideLayouts/slideLayout26.xml"/><Relationship Id="rId6" Type="http://schemas.openxmlformats.org/officeDocument/2006/relationships/slideLayout" Target="../slideLayouts/slideLayout31.xml"/><Relationship Id="rId11" Type="http://schemas.openxmlformats.org/officeDocument/2006/relationships/slideLayout" Target="../slideLayouts/slideLayout36.xml"/><Relationship Id="rId5" Type="http://schemas.openxmlformats.org/officeDocument/2006/relationships/slideLayout" Target="../slideLayouts/slideLayout30.xml"/><Relationship Id="rId15" Type="http://schemas.openxmlformats.org/officeDocument/2006/relationships/slideLayout" Target="../slideLayouts/slideLayout40.xml"/><Relationship Id="rId23" Type="http://schemas.openxmlformats.org/officeDocument/2006/relationships/theme" Target="../theme/theme4.xml"/><Relationship Id="rId10" Type="http://schemas.openxmlformats.org/officeDocument/2006/relationships/slideLayout" Target="../slideLayouts/slideLayout35.xml"/><Relationship Id="rId19" Type="http://schemas.openxmlformats.org/officeDocument/2006/relationships/slideLayout" Target="../slideLayouts/slideLayout44.xml"/><Relationship Id="rId4" Type="http://schemas.openxmlformats.org/officeDocument/2006/relationships/slideLayout" Target="../slideLayouts/slideLayout29.xml"/><Relationship Id="rId9" Type="http://schemas.openxmlformats.org/officeDocument/2006/relationships/slideLayout" Target="../slideLayouts/slideLayout34.xml"/><Relationship Id="rId14" Type="http://schemas.openxmlformats.org/officeDocument/2006/relationships/slideLayout" Target="../slideLayouts/slideLayout39.xml"/><Relationship Id="rId22" Type="http://schemas.openxmlformats.org/officeDocument/2006/relationships/slideLayout" Target="../slideLayouts/slideLayout47.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55.xml"/><Relationship Id="rId13" Type="http://schemas.openxmlformats.org/officeDocument/2006/relationships/image" Target="../media/image6.emf"/><Relationship Id="rId3" Type="http://schemas.openxmlformats.org/officeDocument/2006/relationships/slideLayout" Target="../slideLayouts/slideLayout50.xml"/><Relationship Id="rId7" Type="http://schemas.openxmlformats.org/officeDocument/2006/relationships/slideLayout" Target="../slideLayouts/slideLayout54.xml"/><Relationship Id="rId12" Type="http://schemas.openxmlformats.org/officeDocument/2006/relationships/oleObject" Target="../embeddings/oleObject2.bin"/><Relationship Id="rId2" Type="http://schemas.openxmlformats.org/officeDocument/2006/relationships/slideLayout" Target="../slideLayouts/slideLayout49.xml"/><Relationship Id="rId1" Type="http://schemas.openxmlformats.org/officeDocument/2006/relationships/slideLayout" Target="../slideLayouts/slideLayout48.xml"/><Relationship Id="rId6" Type="http://schemas.openxmlformats.org/officeDocument/2006/relationships/slideLayout" Target="../slideLayouts/slideLayout53.xml"/><Relationship Id="rId11" Type="http://schemas.openxmlformats.org/officeDocument/2006/relationships/tags" Target="../tags/tag2.xml"/><Relationship Id="rId5" Type="http://schemas.openxmlformats.org/officeDocument/2006/relationships/slideLayout" Target="../slideLayouts/slideLayout52.xml"/><Relationship Id="rId10" Type="http://schemas.openxmlformats.org/officeDocument/2006/relationships/theme" Target="../theme/theme5.xml"/><Relationship Id="rId4" Type="http://schemas.openxmlformats.org/officeDocument/2006/relationships/slideLayout" Target="../slideLayouts/slideLayout51.xml"/><Relationship Id="rId9" Type="http://schemas.openxmlformats.org/officeDocument/2006/relationships/slideLayout" Target="../slideLayouts/slideLayout56.xml"/></Relationships>
</file>

<file path=ppt/slideMasters/_rels/slideMaster6.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slideLayout" Target="../slideLayouts/slideLayout59.xml"/><Relationship Id="rId7" Type="http://schemas.openxmlformats.org/officeDocument/2006/relationships/image" Target="../media/image2.gif"/><Relationship Id="rId2" Type="http://schemas.openxmlformats.org/officeDocument/2006/relationships/slideLayout" Target="../slideLayouts/slideLayout58.xml"/><Relationship Id="rId1" Type="http://schemas.openxmlformats.org/officeDocument/2006/relationships/slideLayout" Target="../slideLayouts/slideLayout57.xml"/><Relationship Id="rId6" Type="http://schemas.openxmlformats.org/officeDocument/2006/relationships/theme" Target="../theme/theme6.xml"/><Relationship Id="rId5" Type="http://schemas.openxmlformats.org/officeDocument/2006/relationships/slideLayout" Target="../slideLayouts/slideLayout61.xml"/><Relationship Id="rId4" Type="http://schemas.openxmlformats.org/officeDocument/2006/relationships/slideLayout" Target="../slideLayouts/slideLayout60.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69.xml"/><Relationship Id="rId13" Type="http://schemas.openxmlformats.org/officeDocument/2006/relationships/slideLayout" Target="../slideLayouts/slideLayout74.xml"/><Relationship Id="rId3" Type="http://schemas.openxmlformats.org/officeDocument/2006/relationships/slideLayout" Target="../slideLayouts/slideLayout64.xml"/><Relationship Id="rId7" Type="http://schemas.openxmlformats.org/officeDocument/2006/relationships/slideLayout" Target="../slideLayouts/slideLayout68.xml"/><Relationship Id="rId12" Type="http://schemas.openxmlformats.org/officeDocument/2006/relationships/slideLayout" Target="../slideLayouts/slideLayout73.xml"/><Relationship Id="rId17" Type="http://schemas.openxmlformats.org/officeDocument/2006/relationships/theme" Target="../theme/theme7.xml"/><Relationship Id="rId2" Type="http://schemas.openxmlformats.org/officeDocument/2006/relationships/slideLayout" Target="../slideLayouts/slideLayout63.xml"/><Relationship Id="rId16" Type="http://schemas.openxmlformats.org/officeDocument/2006/relationships/slideLayout" Target="../slideLayouts/slideLayout77.xml"/><Relationship Id="rId1" Type="http://schemas.openxmlformats.org/officeDocument/2006/relationships/slideLayout" Target="../slideLayouts/slideLayout62.xml"/><Relationship Id="rId6" Type="http://schemas.openxmlformats.org/officeDocument/2006/relationships/slideLayout" Target="../slideLayouts/slideLayout67.xml"/><Relationship Id="rId11" Type="http://schemas.openxmlformats.org/officeDocument/2006/relationships/slideLayout" Target="../slideLayouts/slideLayout72.xml"/><Relationship Id="rId5" Type="http://schemas.openxmlformats.org/officeDocument/2006/relationships/slideLayout" Target="../slideLayouts/slideLayout66.xml"/><Relationship Id="rId15" Type="http://schemas.openxmlformats.org/officeDocument/2006/relationships/slideLayout" Target="../slideLayouts/slideLayout76.xml"/><Relationship Id="rId10" Type="http://schemas.openxmlformats.org/officeDocument/2006/relationships/slideLayout" Target="../slideLayouts/slideLayout71.xml"/><Relationship Id="rId4" Type="http://schemas.openxmlformats.org/officeDocument/2006/relationships/slideLayout" Target="../slideLayouts/slideLayout65.xml"/><Relationship Id="rId9" Type="http://schemas.openxmlformats.org/officeDocument/2006/relationships/slideLayout" Target="../slideLayouts/slideLayout70.xml"/><Relationship Id="rId14" Type="http://schemas.openxmlformats.org/officeDocument/2006/relationships/slideLayout" Target="../slideLayouts/slideLayout75.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85.xml"/><Relationship Id="rId13" Type="http://schemas.openxmlformats.org/officeDocument/2006/relationships/oleObject" Target="../embeddings/oleObject1.bin"/><Relationship Id="rId3" Type="http://schemas.openxmlformats.org/officeDocument/2006/relationships/slideLayout" Target="../slideLayouts/slideLayout80.xml"/><Relationship Id="rId7" Type="http://schemas.openxmlformats.org/officeDocument/2006/relationships/slideLayout" Target="../slideLayouts/slideLayout84.xml"/><Relationship Id="rId12" Type="http://schemas.openxmlformats.org/officeDocument/2006/relationships/tags" Target="../tags/tag3.xml"/><Relationship Id="rId2" Type="http://schemas.openxmlformats.org/officeDocument/2006/relationships/slideLayout" Target="../slideLayouts/slideLayout79.xml"/><Relationship Id="rId1" Type="http://schemas.openxmlformats.org/officeDocument/2006/relationships/slideLayout" Target="../slideLayouts/slideLayout78.xml"/><Relationship Id="rId6" Type="http://schemas.openxmlformats.org/officeDocument/2006/relationships/slideLayout" Target="../slideLayouts/slideLayout83.xml"/><Relationship Id="rId11" Type="http://schemas.openxmlformats.org/officeDocument/2006/relationships/theme" Target="../theme/theme8.xml"/><Relationship Id="rId5" Type="http://schemas.openxmlformats.org/officeDocument/2006/relationships/slideLayout" Target="../slideLayouts/slideLayout82.xml"/><Relationship Id="rId15" Type="http://schemas.openxmlformats.org/officeDocument/2006/relationships/image" Target="../media/image2.gif"/><Relationship Id="rId10" Type="http://schemas.openxmlformats.org/officeDocument/2006/relationships/slideLayout" Target="../slideLayouts/slideLayout87.xml"/><Relationship Id="rId4" Type="http://schemas.openxmlformats.org/officeDocument/2006/relationships/slideLayout" Target="../slideLayouts/slideLayout81.xml"/><Relationship Id="rId9" Type="http://schemas.openxmlformats.org/officeDocument/2006/relationships/slideLayout" Target="../slideLayouts/slideLayout86.xml"/><Relationship Id="rId14" Type="http://schemas.openxmlformats.org/officeDocument/2006/relationships/image" Target="../media/image13.emf"/></Relationships>
</file>

<file path=ppt/slideMasters/_rels/slideMaster9.xml.rels><?xml version="1.0" encoding="UTF-8" standalone="yes"?>
<Relationships xmlns="http://schemas.openxmlformats.org/package/2006/relationships"><Relationship Id="rId3" Type="http://schemas.openxmlformats.org/officeDocument/2006/relationships/theme" Target="../theme/theme9.xml"/><Relationship Id="rId2" Type="http://schemas.openxmlformats.org/officeDocument/2006/relationships/slideLayout" Target="../slideLayouts/slideLayout89.xml"/><Relationship Id="rId1" Type="http://schemas.openxmlformats.org/officeDocument/2006/relationships/slideLayout" Target="../slideLayouts/slideLayout88.xml"/><Relationship Id="rId4" Type="http://schemas.openxmlformats.org/officeDocument/2006/relationships/image" Target="../media/image2.gi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08511196"/>
      </p:ext>
    </p:extLst>
  </p:cSld>
  <p:clrMap bg1="lt1" tx1="dk1" bg2="lt2" tx2="dk2" accent1="accent1" accent2="accent2" accent3="accent3" accent4="accent4" accent5="accent5" accent6="accent6" hlink="hlink" folHlink="folHlink"/>
  <p:sldLayoutIdLst>
    <p:sldLayoutId id="2147483673" r:id="rId1"/>
    <p:sldLayoutId id="2147483675" r:id="rId2"/>
    <p:sldLayoutId id="2147483676" r:id="rId3"/>
    <p:sldLayoutId id="2147483679" r:id="rId4"/>
    <p:sldLayoutId id="2147483681" r:id="rId5"/>
    <p:sldLayoutId id="2147483682" r:id="rId6"/>
    <p:sldLayoutId id="2147483690" r:id="rId7"/>
    <p:sldLayoutId id="2147483692" r:id="rId8"/>
    <p:sldLayoutId id="2147483693" r:id="rId9"/>
  </p:sldLayoutIdLst>
  <p:hf hdr="0"/>
  <p:txStyles>
    <p:titleStyle>
      <a:lvl1pPr algn="l" defTabSz="638335" rtl="0" eaLnBrk="1" latinLnBrk="0" hangingPunct="1">
        <a:spcBef>
          <a:spcPct val="0"/>
        </a:spcBef>
        <a:buNone/>
        <a:defRPr kumimoji="1" sz="3333" kern="1200">
          <a:solidFill>
            <a:schemeClr val="tx1"/>
          </a:solidFill>
          <a:latin typeface="ＭＳ Ｐゴシック"/>
          <a:ea typeface="+mj-ea"/>
          <a:cs typeface="+mj-cs"/>
        </a:defRPr>
      </a:lvl1pPr>
    </p:titleStyle>
    <p:bodyStyle>
      <a:lvl1pPr marL="0" indent="0" algn="l" defTabSz="638335" rtl="0" eaLnBrk="1" latinLnBrk="0" hangingPunct="1">
        <a:spcBef>
          <a:spcPct val="20000"/>
        </a:spcBef>
        <a:buFont typeface="Arial"/>
        <a:buNone/>
        <a:defRPr kumimoji="1" sz="2533" kern="1200">
          <a:solidFill>
            <a:schemeClr val="tx1"/>
          </a:solidFill>
          <a:latin typeface="ＭＳ Ｐゴシック"/>
          <a:ea typeface="+mn-ea"/>
          <a:cs typeface="+mn-cs"/>
        </a:defRPr>
      </a:lvl1pPr>
      <a:lvl2pPr marL="801060" marR="0" indent="0" algn="l" defTabSz="638335" rtl="0" eaLnBrk="1" fontAlgn="auto" latinLnBrk="0" hangingPunct="1">
        <a:lnSpc>
          <a:spcPct val="100000"/>
        </a:lnSpc>
        <a:spcBef>
          <a:spcPct val="20000"/>
        </a:spcBef>
        <a:spcAft>
          <a:spcPts val="0"/>
        </a:spcAft>
        <a:buClrTx/>
        <a:buSzTx/>
        <a:buFont typeface="Arial"/>
        <a:buNone/>
        <a:tabLst/>
        <a:defRPr kumimoji="1" sz="2266" kern="1200">
          <a:solidFill>
            <a:schemeClr val="tx1"/>
          </a:solidFill>
          <a:latin typeface="ＭＳ Ｐゴシック"/>
          <a:ea typeface="+mn-ea"/>
          <a:cs typeface="+mn-cs"/>
        </a:defRPr>
      </a:lvl2pPr>
      <a:lvl3pPr marL="1595837" indent="-236233" algn="l" defTabSz="638335" rtl="0" eaLnBrk="1" latinLnBrk="0" hangingPunct="1">
        <a:spcBef>
          <a:spcPct val="20000"/>
        </a:spcBef>
        <a:buFont typeface="Arial"/>
        <a:buChar char="•"/>
        <a:defRPr kumimoji="1" sz="2266" kern="1200">
          <a:solidFill>
            <a:schemeClr val="tx1"/>
          </a:solidFill>
          <a:latin typeface="ＭＳ Ｐゴシック"/>
          <a:ea typeface="+mn-ea"/>
          <a:cs typeface="+mn-cs"/>
        </a:defRPr>
      </a:lvl3pPr>
      <a:lvl4pPr marL="2234170" indent="-236233" algn="l" defTabSz="638335" rtl="0" eaLnBrk="1" latinLnBrk="0" hangingPunct="1">
        <a:spcBef>
          <a:spcPct val="20000"/>
        </a:spcBef>
        <a:buFont typeface="Arial"/>
        <a:buChar char="•"/>
        <a:defRPr kumimoji="1" sz="2266" kern="1200">
          <a:solidFill>
            <a:schemeClr val="tx1"/>
          </a:solidFill>
          <a:latin typeface="ＭＳ Ｐゴシック"/>
          <a:ea typeface="+mn-ea"/>
          <a:cs typeface="+mn-cs"/>
        </a:defRPr>
      </a:lvl4pPr>
      <a:lvl5pPr marL="2872505" indent="-236233" algn="l" defTabSz="638335" rtl="0" eaLnBrk="1" latinLnBrk="0" hangingPunct="1">
        <a:spcBef>
          <a:spcPct val="20000"/>
        </a:spcBef>
        <a:buFont typeface="Arial"/>
        <a:buChar char="•"/>
        <a:defRPr kumimoji="1" sz="2266" kern="1200">
          <a:solidFill>
            <a:schemeClr val="tx1"/>
          </a:solidFill>
          <a:latin typeface="ＭＳ Ｐゴシック"/>
          <a:ea typeface="+mn-ea"/>
          <a:cs typeface="+mn-cs"/>
        </a:defRPr>
      </a:lvl5pPr>
      <a:lvl6pPr marL="3510840" indent="-319167" algn="l" defTabSz="638335" rtl="0" eaLnBrk="1" latinLnBrk="0" hangingPunct="1">
        <a:spcBef>
          <a:spcPct val="20000"/>
        </a:spcBef>
        <a:buFont typeface="Arial"/>
        <a:buChar char="•"/>
        <a:defRPr kumimoji="1" sz="2800" kern="1200">
          <a:solidFill>
            <a:schemeClr val="tx1"/>
          </a:solidFill>
          <a:latin typeface="+mn-lt"/>
          <a:ea typeface="+mn-ea"/>
          <a:cs typeface="+mn-cs"/>
        </a:defRPr>
      </a:lvl6pPr>
      <a:lvl7pPr marL="4149172" indent="-319167" algn="l" defTabSz="638335" rtl="0" eaLnBrk="1" latinLnBrk="0" hangingPunct="1">
        <a:spcBef>
          <a:spcPct val="20000"/>
        </a:spcBef>
        <a:buFont typeface="Arial"/>
        <a:buChar char="•"/>
        <a:defRPr kumimoji="1" sz="2800" kern="1200">
          <a:solidFill>
            <a:schemeClr val="tx1"/>
          </a:solidFill>
          <a:latin typeface="+mn-lt"/>
          <a:ea typeface="+mn-ea"/>
          <a:cs typeface="+mn-cs"/>
        </a:defRPr>
      </a:lvl7pPr>
      <a:lvl8pPr marL="4787509" indent="-319167" algn="l" defTabSz="638335" rtl="0" eaLnBrk="1" latinLnBrk="0" hangingPunct="1">
        <a:spcBef>
          <a:spcPct val="20000"/>
        </a:spcBef>
        <a:buFont typeface="Arial"/>
        <a:buChar char="•"/>
        <a:defRPr kumimoji="1" sz="2800" kern="1200">
          <a:solidFill>
            <a:schemeClr val="tx1"/>
          </a:solidFill>
          <a:latin typeface="+mn-lt"/>
          <a:ea typeface="+mn-ea"/>
          <a:cs typeface="+mn-cs"/>
        </a:defRPr>
      </a:lvl8pPr>
      <a:lvl9pPr marL="5425844" indent="-319167" algn="l" defTabSz="638335" rtl="0" eaLnBrk="1" latinLnBrk="0" hangingPunct="1">
        <a:spcBef>
          <a:spcPct val="20000"/>
        </a:spcBef>
        <a:buFont typeface="Arial"/>
        <a:buChar char="•"/>
        <a:defRPr kumimoji="1" sz="2800" kern="1200">
          <a:solidFill>
            <a:schemeClr val="tx1"/>
          </a:solidFill>
          <a:latin typeface="+mn-lt"/>
          <a:ea typeface="+mn-ea"/>
          <a:cs typeface="+mn-cs"/>
        </a:defRPr>
      </a:lvl9pPr>
    </p:bodyStyle>
    <p:otherStyle>
      <a:defPPr>
        <a:defRPr lang="ja-JP"/>
      </a:defPPr>
      <a:lvl1pPr marL="0" algn="l" defTabSz="638335" rtl="0" eaLnBrk="1" latinLnBrk="0" hangingPunct="1">
        <a:defRPr kumimoji="1" sz="2533" kern="1200">
          <a:solidFill>
            <a:schemeClr val="tx1"/>
          </a:solidFill>
          <a:latin typeface="+mn-lt"/>
          <a:ea typeface="+mn-ea"/>
          <a:cs typeface="+mn-cs"/>
        </a:defRPr>
      </a:lvl1pPr>
      <a:lvl2pPr marL="638335" algn="l" defTabSz="638335" rtl="0" eaLnBrk="1" latinLnBrk="0" hangingPunct="1">
        <a:defRPr kumimoji="1" sz="2533" kern="1200">
          <a:solidFill>
            <a:schemeClr val="tx1"/>
          </a:solidFill>
          <a:latin typeface="+mn-lt"/>
          <a:ea typeface="+mn-ea"/>
          <a:cs typeface="+mn-cs"/>
        </a:defRPr>
      </a:lvl2pPr>
      <a:lvl3pPr marL="1276669" algn="l" defTabSz="638335" rtl="0" eaLnBrk="1" latinLnBrk="0" hangingPunct="1">
        <a:defRPr kumimoji="1" sz="2533" kern="1200">
          <a:solidFill>
            <a:schemeClr val="tx1"/>
          </a:solidFill>
          <a:latin typeface="+mn-lt"/>
          <a:ea typeface="+mn-ea"/>
          <a:cs typeface="+mn-cs"/>
        </a:defRPr>
      </a:lvl3pPr>
      <a:lvl4pPr marL="1915003" algn="l" defTabSz="638335" rtl="0" eaLnBrk="1" latinLnBrk="0" hangingPunct="1">
        <a:defRPr kumimoji="1" sz="2533" kern="1200">
          <a:solidFill>
            <a:schemeClr val="tx1"/>
          </a:solidFill>
          <a:latin typeface="+mn-lt"/>
          <a:ea typeface="+mn-ea"/>
          <a:cs typeface="+mn-cs"/>
        </a:defRPr>
      </a:lvl4pPr>
      <a:lvl5pPr marL="2553338" algn="l" defTabSz="638335" rtl="0" eaLnBrk="1" latinLnBrk="0" hangingPunct="1">
        <a:defRPr kumimoji="1" sz="2533" kern="1200">
          <a:solidFill>
            <a:schemeClr val="tx1"/>
          </a:solidFill>
          <a:latin typeface="+mn-lt"/>
          <a:ea typeface="+mn-ea"/>
          <a:cs typeface="+mn-cs"/>
        </a:defRPr>
      </a:lvl5pPr>
      <a:lvl6pPr marL="3191671" algn="l" defTabSz="638335" rtl="0" eaLnBrk="1" latinLnBrk="0" hangingPunct="1">
        <a:defRPr kumimoji="1" sz="2533" kern="1200">
          <a:solidFill>
            <a:schemeClr val="tx1"/>
          </a:solidFill>
          <a:latin typeface="+mn-lt"/>
          <a:ea typeface="+mn-ea"/>
          <a:cs typeface="+mn-cs"/>
        </a:defRPr>
      </a:lvl6pPr>
      <a:lvl7pPr marL="3830007" algn="l" defTabSz="638335" rtl="0" eaLnBrk="1" latinLnBrk="0" hangingPunct="1">
        <a:defRPr kumimoji="1" sz="2533" kern="1200">
          <a:solidFill>
            <a:schemeClr val="tx1"/>
          </a:solidFill>
          <a:latin typeface="+mn-lt"/>
          <a:ea typeface="+mn-ea"/>
          <a:cs typeface="+mn-cs"/>
        </a:defRPr>
      </a:lvl7pPr>
      <a:lvl8pPr marL="4468342" algn="l" defTabSz="638335" rtl="0" eaLnBrk="1" latinLnBrk="0" hangingPunct="1">
        <a:defRPr kumimoji="1" sz="2533" kern="1200">
          <a:solidFill>
            <a:schemeClr val="tx1"/>
          </a:solidFill>
          <a:latin typeface="+mn-lt"/>
          <a:ea typeface="+mn-ea"/>
          <a:cs typeface="+mn-cs"/>
        </a:defRPr>
      </a:lvl8pPr>
      <a:lvl9pPr marL="5106676" algn="l" defTabSz="638335" rtl="0" eaLnBrk="1" latinLnBrk="0" hangingPunct="1">
        <a:defRPr kumimoji="1" sz="2533"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7"/>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8" imgW="563" imgH="565" progId="TCLayout.ActiveDocument.1">
                  <p:embed/>
                </p:oleObj>
              </mc:Choice>
              <mc:Fallback>
                <p:oleObj name="think-cell スライド" r:id="rId8" imgW="563" imgH="565" progId="TCLayout.ActiveDocument.1">
                  <p:embed/>
                  <p:pic>
                    <p:nvPicPr>
                      <p:cNvPr id="4" name="オブジェクト 3" hidden="1"/>
                      <p:cNvPicPr/>
                      <p:nvPr/>
                    </p:nvPicPr>
                    <p:blipFill>
                      <a:blip r:embed="rId9"/>
                      <a:stretch>
                        <a:fillRect/>
                      </a:stretch>
                    </p:blipFill>
                    <p:spPr>
                      <a:xfrm>
                        <a:off x="1588" y="1588"/>
                        <a:ext cx="1588" cy="1588"/>
                      </a:xfrm>
                      <a:prstGeom prst="rect">
                        <a:avLst/>
                      </a:prstGeom>
                    </p:spPr>
                  </p:pic>
                </p:oleObj>
              </mc:Fallback>
            </mc:AlternateContent>
          </a:graphicData>
        </a:graphic>
      </p:graphicFrame>
      <p:pic>
        <p:nvPicPr>
          <p:cNvPr id="14" name="図 13"/>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タイトル プレースホルダー 1"/>
          <p:cNvSpPr>
            <a:spLocks noGrp="1"/>
          </p:cNvSpPr>
          <p:nvPr>
            <p:ph type="title"/>
          </p:nvPr>
        </p:nvSpPr>
        <p:spPr>
          <a:xfrm>
            <a:off x="368550" y="194236"/>
            <a:ext cx="9791452" cy="540000"/>
          </a:xfrm>
          <a:prstGeom prst="rect">
            <a:avLst/>
          </a:prstGeom>
        </p:spPr>
        <p:txBody>
          <a:bodyPr vert="horz" lIns="91440" tIns="45720" rIns="91440" bIns="45720" rtlCol="0" anchor="t">
            <a:normAutofit/>
          </a:bodyPr>
          <a:lstStyle/>
          <a:p>
            <a:endParaRPr kumimoji="1" lang="ja-JP" altLang="en-US"/>
          </a:p>
        </p:txBody>
      </p:sp>
      <p:sp>
        <p:nvSpPr>
          <p:cNvPr id="3" name="テキスト プレースホルダー 2"/>
          <p:cNvSpPr>
            <a:spLocks noGrp="1"/>
          </p:cNvSpPr>
          <p:nvPr>
            <p:ph type="body" idx="1"/>
          </p:nvPr>
        </p:nvSpPr>
        <p:spPr>
          <a:xfrm>
            <a:off x="368550" y="903600"/>
            <a:ext cx="11583452" cy="5540400"/>
          </a:xfrm>
          <a:prstGeom prst="rect">
            <a:avLst/>
          </a:prstGeom>
        </p:spPr>
        <p:txBody>
          <a:bodyPr vert="horz" lIns="91440" tIns="45720" rIns="91440" bIns="45720" rtlCol="0">
            <a:normAutofit/>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6" name="スライド番号プレースホルダー 5"/>
          <p:cNvSpPr>
            <a:spLocks noGrp="1"/>
          </p:cNvSpPr>
          <p:nvPr>
            <p:ph type="sldNum" sz="quarter" idx="4"/>
          </p:nvPr>
        </p:nvSpPr>
        <p:spPr>
          <a:xfrm>
            <a:off x="11524627" y="6468879"/>
            <a:ext cx="555812" cy="289299"/>
          </a:xfrm>
          <a:prstGeom prst="rect">
            <a:avLst/>
          </a:prstGeom>
        </p:spPr>
        <p:txBody>
          <a:bodyPr vert="horz" lIns="91440" tIns="45720" rIns="91440" bIns="45720" rtlCol="0" anchor="ctr"/>
          <a:lstStyle>
            <a:lvl1pPr algn="r">
              <a:defRPr sz="894">
                <a:solidFill>
                  <a:srgbClr val="000000"/>
                </a:solidFill>
                <a:latin typeface="+mj-lt"/>
              </a:defRPr>
            </a:lvl1pPr>
          </a:lstStyle>
          <a:p>
            <a:pPr defTabSz="371475">
              <a:defRPr/>
            </a:pPr>
            <a:fld id="{2FF5E1DE-7B95-8A44-8552-65323269AE41}" type="slidenum">
              <a:rPr lang="ja-JP" altLang="en-US" smtClean="0">
                <a:latin typeface="Meiryo UI"/>
              </a:rPr>
              <a:pPr defTabSz="371475">
                <a:defRPr/>
              </a:pPr>
              <a:t>‹#›</a:t>
            </a:fld>
            <a:endParaRPr lang="ja-JP" altLang="en-US">
              <a:latin typeface="Meiryo UI"/>
            </a:endParaRPr>
          </a:p>
        </p:txBody>
      </p:sp>
      <p:cxnSp>
        <p:nvCxnSpPr>
          <p:cNvPr id="9" name="直線コネクタ 8"/>
          <p:cNvCxnSpPr/>
          <p:nvPr/>
        </p:nvCxnSpPr>
        <p:spPr>
          <a:xfrm>
            <a:off x="240000" y="817200"/>
            <a:ext cx="11712000" cy="0"/>
          </a:xfrm>
          <a:prstGeom prst="line">
            <a:avLst/>
          </a:prstGeom>
          <a:ln>
            <a:solidFill>
              <a:srgbClr val="C7000D"/>
            </a:solidFill>
          </a:ln>
          <a:effectLst/>
        </p:spPr>
        <p:style>
          <a:lnRef idx="2">
            <a:schemeClr val="accent1"/>
          </a:lnRef>
          <a:fillRef idx="0">
            <a:schemeClr val="accent1"/>
          </a:fillRef>
          <a:effectRef idx="1">
            <a:schemeClr val="accent1"/>
          </a:effectRef>
          <a:fontRef idx="minor">
            <a:schemeClr val="tx1"/>
          </a:fontRef>
        </p:style>
      </p:cxnSp>
      <p:pic>
        <p:nvPicPr>
          <p:cNvPr id="10" name="Picture 2" descr="K:\新ロゴ（データ一式）\★logo_3_jn.png"/>
          <p:cNvPicPr>
            <a:picLocks noChangeAspect="1" noChangeArrowheads="1"/>
          </p:cNvPicPr>
          <p:nvPr userDrawn="1"/>
        </p:nvPicPr>
        <p:blipFill>
          <a:blip r:embed="rId11" cstate="print">
            <a:extLst>
              <a:ext uri="{28A0092B-C50C-407E-A947-70E740481C1C}">
                <a14:useLocalDpi xmlns:a14="http://schemas.microsoft.com/office/drawing/2010/main" val="0"/>
              </a:ext>
            </a:extLst>
          </a:blip>
          <a:srcRect/>
          <a:stretch>
            <a:fillRect/>
          </a:stretch>
        </p:blipFill>
        <p:spPr bwMode="auto">
          <a:xfrm>
            <a:off x="10765707" y="73455"/>
            <a:ext cx="1306295" cy="78156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812695986"/>
      </p:ext>
    </p:extLst>
  </p:cSld>
  <p:clrMap bg1="lt1" tx1="dk1" bg2="lt2" tx2="dk2" accent1="accent1" accent2="accent2" accent3="accent3" accent4="accent4" accent5="accent5" accent6="accent6" hlink="hlink" folHlink="folHlink"/>
  <p:sldLayoutIdLst>
    <p:sldLayoutId id="2147483791" r:id="rId1"/>
    <p:sldLayoutId id="2147483792" r:id="rId2"/>
    <p:sldLayoutId id="2147483793" r:id="rId3"/>
    <p:sldLayoutId id="2147483794" r:id="rId4"/>
    <p:sldLayoutId id="2147483795" r:id="rId5"/>
  </p:sldLayoutIdLst>
  <p:hf hdr="0" ftr="0" dt="0"/>
  <p:txStyles>
    <p:titleStyle>
      <a:lvl1pPr algn="l" defTabSz="371475" rtl="0" eaLnBrk="1" latinLnBrk="0" hangingPunct="1">
        <a:spcBef>
          <a:spcPct val="0"/>
        </a:spcBef>
        <a:buNone/>
        <a:defRPr kumimoji="1" sz="1950" kern="1200">
          <a:solidFill>
            <a:schemeClr val="tx1"/>
          </a:solidFill>
          <a:latin typeface="+mj-lt"/>
          <a:ea typeface="+mj-ea"/>
          <a:cs typeface="+mj-cs"/>
        </a:defRPr>
      </a:lvl1pPr>
    </p:titleStyle>
    <p:bodyStyle>
      <a:lvl1pPr marL="0" indent="0" algn="l" defTabSz="371475" rtl="0" eaLnBrk="1" latinLnBrk="0" hangingPunct="1">
        <a:spcBef>
          <a:spcPct val="20000"/>
        </a:spcBef>
        <a:buFont typeface="Arial"/>
        <a:buNone/>
        <a:defRPr kumimoji="1" sz="1463" kern="1200">
          <a:solidFill>
            <a:schemeClr val="tx1"/>
          </a:solidFill>
          <a:latin typeface="+mj-lt"/>
          <a:ea typeface="+mn-ea"/>
          <a:cs typeface="+mn-cs"/>
        </a:defRPr>
      </a:lvl1pPr>
      <a:lvl2pPr marL="466172" marR="0" indent="0" algn="l" defTabSz="371475" rtl="0" eaLnBrk="1" fontAlgn="auto" latinLnBrk="0" hangingPunct="1">
        <a:lnSpc>
          <a:spcPct val="100000"/>
        </a:lnSpc>
        <a:spcBef>
          <a:spcPct val="20000"/>
        </a:spcBef>
        <a:spcAft>
          <a:spcPts val="0"/>
        </a:spcAft>
        <a:buClrTx/>
        <a:buSzTx/>
        <a:buFont typeface="Arial"/>
        <a:buNone/>
        <a:tabLst/>
        <a:defRPr kumimoji="1" sz="1300" kern="1200">
          <a:solidFill>
            <a:schemeClr val="tx1"/>
          </a:solidFill>
          <a:latin typeface="+mj-lt"/>
          <a:ea typeface="+mn-ea"/>
          <a:cs typeface="+mn-cs"/>
        </a:defRPr>
      </a:lvl2pPr>
      <a:lvl3pPr marL="928688" indent="-137475" algn="l" defTabSz="371475" rtl="0" eaLnBrk="1" latinLnBrk="0" hangingPunct="1">
        <a:spcBef>
          <a:spcPct val="20000"/>
        </a:spcBef>
        <a:buFont typeface="Arial"/>
        <a:buChar char="•"/>
        <a:defRPr kumimoji="1" sz="1300" kern="1200">
          <a:solidFill>
            <a:schemeClr val="tx1"/>
          </a:solidFill>
          <a:latin typeface="+mj-lt"/>
          <a:ea typeface="+mn-ea"/>
          <a:cs typeface="+mn-cs"/>
        </a:defRPr>
      </a:lvl3pPr>
      <a:lvl4pPr marL="1300163" indent="-137475" algn="l" defTabSz="371475" rtl="0" eaLnBrk="1" latinLnBrk="0" hangingPunct="1">
        <a:spcBef>
          <a:spcPct val="20000"/>
        </a:spcBef>
        <a:buFont typeface="Arial"/>
        <a:buChar char="•"/>
        <a:defRPr kumimoji="1" sz="1300" kern="1200">
          <a:solidFill>
            <a:schemeClr val="tx1"/>
          </a:solidFill>
          <a:latin typeface="+mj-lt"/>
          <a:ea typeface="+mn-ea"/>
          <a:cs typeface="+mn-cs"/>
        </a:defRPr>
      </a:lvl4pPr>
      <a:lvl5pPr marL="1671638" indent="-137475" algn="l" defTabSz="371475" rtl="0" eaLnBrk="1" latinLnBrk="0" hangingPunct="1">
        <a:spcBef>
          <a:spcPct val="20000"/>
        </a:spcBef>
        <a:buFont typeface="Arial"/>
        <a:buChar char="•"/>
        <a:defRPr kumimoji="1" sz="1300" kern="1200">
          <a:solidFill>
            <a:schemeClr val="tx1"/>
          </a:solidFill>
          <a:latin typeface="+mj-lt"/>
          <a:ea typeface="+mn-ea"/>
          <a:cs typeface="+mn-cs"/>
        </a:defRPr>
      </a:lvl5pPr>
      <a:lvl6pPr marL="2043113" indent="-185738" algn="l" defTabSz="371475" rtl="0" eaLnBrk="1" latinLnBrk="0" hangingPunct="1">
        <a:spcBef>
          <a:spcPct val="20000"/>
        </a:spcBef>
        <a:buFont typeface="Arial"/>
        <a:buChar char="•"/>
        <a:defRPr kumimoji="1" sz="1625" kern="1200">
          <a:solidFill>
            <a:schemeClr val="tx1"/>
          </a:solidFill>
          <a:latin typeface="+mn-lt"/>
          <a:ea typeface="+mn-ea"/>
          <a:cs typeface="+mn-cs"/>
        </a:defRPr>
      </a:lvl6pPr>
      <a:lvl7pPr marL="2414588" indent="-185738" algn="l" defTabSz="371475" rtl="0" eaLnBrk="1" latinLnBrk="0" hangingPunct="1">
        <a:spcBef>
          <a:spcPct val="20000"/>
        </a:spcBef>
        <a:buFont typeface="Arial"/>
        <a:buChar char="•"/>
        <a:defRPr kumimoji="1" sz="1625" kern="1200">
          <a:solidFill>
            <a:schemeClr val="tx1"/>
          </a:solidFill>
          <a:latin typeface="+mn-lt"/>
          <a:ea typeface="+mn-ea"/>
          <a:cs typeface="+mn-cs"/>
        </a:defRPr>
      </a:lvl7pPr>
      <a:lvl8pPr marL="2786063" indent="-185738" algn="l" defTabSz="371475" rtl="0" eaLnBrk="1" latinLnBrk="0" hangingPunct="1">
        <a:spcBef>
          <a:spcPct val="20000"/>
        </a:spcBef>
        <a:buFont typeface="Arial"/>
        <a:buChar char="•"/>
        <a:defRPr kumimoji="1" sz="1625" kern="1200">
          <a:solidFill>
            <a:schemeClr val="tx1"/>
          </a:solidFill>
          <a:latin typeface="+mn-lt"/>
          <a:ea typeface="+mn-ea"/>
          <a:cs typeface="+mn-cs"/>
        </a:defRPr>
      </a:lvl8pPr>
      <a:lvl9pPr marL="3157538" indent="-185738" algn="l" defTabSz="371475" rtl="0" eaLnBrk="1" latinLnBrk="0" hangingPunct="1">
        <a:spcBef>
          <a:spcPct val="20000"/>
        </a:spcBef>
        <a:buFont typeface="Arial"/>
        <a:buChar char="•"/>
        <a:defRPr kumimoji="1" sz="1625" kern="1200">
          <a:solidFill>
            <a:schemeClr val="tx1"/>
          </a:solidFill>
          <a:latin typeface="+mn-lt"/>
          <a:ea typeface="+mn-ea"/>
          <a:cs typeface="+mn-cs"/>
        </a:defRPr>
      </a:lvl9pPr>
    </p:bodyStyle>
    <p:otherStyle>
      <a:defPPr>
        <a:defRPr lang="ja-JP"/>
      </a:defPPr>
      <a:lvl1pPr marL="0" algn="l" defTabSz="371475" rtl="0" eaLnBrk="1" latinLnBrk="0" hangingPunct="1">
        <a:defRPr kumimoji="1" sz="1463" kern="1200">
          <a:solidFill>
            <a:schemeClr val="tx1"/>
          </a:solidFill>
          <a:latin typeface="+mn-lt"/>
          <a:ea typeface="+mn-ea"/>
          <a:cs typeface="+mn-cs"/>
        </a:defRPr>
      </a:lvl1pPr>
      <a:lvl2pPr marL="371475" algn="l" defTabSz="371475" rtl="0" eaLnBrk="1" latinLnBrk="0" hangingPunct="1">
        <a:defRPr kumimoji="1" sz="1463" kern="1200">
          <a:solidFill>
            <a:schemeClr val="tx1"/>
          </a:solidFill>
          <a:latin typeface="+mn-lt"/>
          <a:ea typeface="+mn-ea"/>
          <a:cs typeface="+mn-cs"/>
        </a:defRPr>
      </a:lvl2pPr>
      <a:lvl3pPr marL="742950" algn="l" defTabSz="371475" rtl="0" eaLnBrk="1" latinLnBrk="0" hangingPunct="1">
        <a:defRPr kumimoji="1" sz="1463" kern="1200">
          <a:solidFill>
            <a:schemeClr val="tx1"/>
          </a:solidFill>
          <a:latin typeface="+mn-lt"/>
          <a:ea typeface="+mn-ea"/>
          <a:cs typeface="+mn-cs"/>
        </a:defRPr>
      </a:lvl3pPr>
      <a:lvl4pPr marL="1114425" algn="l" defTabSz="371475" rtl="0" eaLnBrk="1" latinLnBrk="0" hangingPunct="1">
        <a:defRPr kumimoji="1" sz="1463" kern="1200">
          <a:solidFill>
            <a:schemeClr val="tx1"/>
          </a:solidFill>
          <a:latin typeface="+mn-lt"/>
          <a:ea typeface="+mn-ea"/>
          <a:cs typeface="+mn-cs"/>
        </a:defRPr>
      </a:lvl4pPr>
      <a:lvl5pPr marL="1485900" algn="l" defTabSz="371475" rtl="0" eaLnBrk="1" latinLnBrk="0" hangingPunct="1">
        <a:defRPr kumimoji="1" sz="1463" kern="1200">
          <a:solidFill>
            <a:schemeClr val="tx1"/>
          </a:solidFill>
          <a:latin typeface="+mn-lt"/>
          <a:ea typeface="+mn-ea"/>
          <a:cs typeface="+mn-cs"/>
        </a:defRPr>
      </a:lvl5pPr>
      <a:lvl6pPr marL="1857375" algn="l" defTabSz="371475" rtl="0" eaLnBrk="1" latinLnBrk="0" hangingPunct="1">
        <a:defRPr kumimoji="1" sz="1463" kern="1200">
          <a:solidFill>
            <a:schemeClr val="tx1"/>
          </a:solidFill>
          <a:latin typeface="+mn-lt"/>
          <a:ea typeface="+mn-ea"/>
          <a:cs typeface="+mn-cs"/>
        </a:defRPr>
      </a:lvl6pPr>
      <a:lvl7pPr marL="2228850" algn="l" defTabSz="371475" rtl="0" eaLnBrk="1" latinLnBrk="0" hangingPunct="1">
        <a:defRPr kumimoji="1" sz="1463" kern="1200">
          <a:solidFill>
            <a:schemeClr val="tx1"/>
          </a:solidFill>
          <a:latin typeface="+mn-lt"/>
          <a:ea typeface="+mn-ea"/>
          <a:cs typeface="+mn-cs"/>
        </a:defRPr>
      </a:lvl7pPr>
      <a:lvl8pPr marL="2600325" algn="l" defTabSz="371475" rtl="0" eaLnBrk="1" latinLnBrk="0" hangingPunct="1">
        <a:defRPr kumimoji="1" sz="1463" kern="1200">
          <a:solidFill>
            <a:schemeClr val="tx1"/>
          </a:solidFill>
          <a:latin typeface="+mn-lt"/>
          <a:ea typeface="+mn-ea"/>
          <a:cs typeface="+mn-cs"/>
        </a:defRPr>
      </a:lvl8pPr>
      <a:lvl9pPr marL="2971800" algn="l" defTabSz="371475" rtl="0" eaLnBrk="1" latinLnBrk="0" hangingPunct="1">
        <a:defRPr kumimoji="1" sz="1463"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14" name="図 13"/>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タイトル プレースホルダー 1"/>
          <p:cNvSpPr>
            <a:spLocks noGrp="1"/>
          </p:cNvSpPr>
          <p:nvPr>
            <p:ph type="title"/>
          </p:nvPr>
        </p:nvSpPr>
        <p:spPr>
          <a:xfrm>
            <a:off x="368549" y="194236"/>
            <a:ext cx="9791452" cy="540000"/>
          </a:xfrm>
          <a:prstGeom prst="rect">
            <a:avLst/>
          </a:prstGeom>
        </p:spPr>
        <p:txBody>
          <a:bodyPr vert="horz" lIns="91440" tIns="45720" rIns="91440" bIns="45720" rtlCol="0" anchor="t">
            <a:normAutofit/>
          </a:bodyPr>
          <a:lstStyle/>
          <a:p>
            <a:endParaRPr kumimoji="1" lang="ja-JP" altLang="en-US"/>
          </a:p>
        </p:txBody>
      </p:sp>
      <p:sp>
        <p:nvSpPr>
          <p:cNvPr id="3" name="テキスト プレースホルダー 2"/>
          <p:cNvSpPr>
            <a:spLocks noGrp="1"/>
          </p:cNvSpPr>
          <p:nvPr>
            <p:ph type="body" idx="1"/>
          </p:nvPr>
        </p:nvSpPr>
        <p:spPr>
          <a:xfrm>
            <a:off x="368549" y="903600"/>
            <a:ext cx="11583452" cy="5540400"/>
          </a:xfrm>
          <a:prstGeom prst="rect">
            <a:avLst/>
          </a:prstGeom>
        </p:spPr>
        <p:txBody>
          <a:bodyPr vert="horz" lIns="91440" tIns="45720" rIns="91440" bIns="45720" rtlCol="0">
            <a:normAutofit/>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6" name="スライド番号プレースホルダー 5"/>
          <p:cNvSpPr>
            <a:spLocks noGrp="1"/>
          </p:cNvSpPr>
          <p:nvPr>
            <p:ph type="sldNum" sz="quarter" idx="4"/>
          </p:nvPr>
        </p:nvSpPr>
        <p:spPr>
          <a:xfrm>
            <a:off x="11524626" y="6468877"/>
            <a:ext cx="555812" cy="289299"/>
          </a:xfrm>
          <a:prstGeom prst="rect">
            <a:avLst/>
          </a:prstGeom>
        </p:spPr>
        <p:txBody>
          <a:bodyPr vert="horz" lIns="91440" tIns="45720" rIns="91440" bIns="45720" rtlCol="0" anchor="ctr"/>
          <a:lstStyle>
            <a:lvl1pPr algn="r">
              <a:defRPr sz="1100">
                <a:solidFill>
                  <a:srgbClr val="000000"/>
                </a:solidFill>
                <a:latin typeface="ＭＳ Ｐゴシック"/>
              </a:defRPr>
            </a:lvl1pPr>
          </a:lstStyle>
          <a:p>
            <a:pPr defTabSz="457200"/>
            <a:fld id="{2FF5E1DE-7B95-8A44-8552-65323269AE41}" type="slidenum">
              <a:rPr lang="ja-JP" altLang="en-US" smtClean="0"/>
              <a:pPr defTabSz="457200"/>
              <a:t>‹#›</a:t>
            </a:fld>
            <a:endParaRPr lang="ja-JP" altLang="en-US"/>
          </a:p>
        </p:txBody>
      </p:sp>
      <p:cxnSp>
        <p:nvCxnSpPr>
          <p:cNvPr id="9" name="直線コネクタ 8"/>
          <p:cNvCxnSpPr/>
          <p:nvPr/>
        </p:nvCxnSpPr>
        <p:spPr>
          <a:xfrm>
            <a:off x="240000" y="817200"/>
            <a:ext cx="11712000" cy="0"/>
          </a:xfrm>
          <a:prstGeom prst="line">
            <a:avLst/>
          </a:prstGeom>
          <a:ln>
            <a:solidFill>
              <a:srgbClr val="C7000D"/>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042367646"/>
      </p:ext>
    </p:extLst>
  </p:cSld>
  <p:clrMap bg1="lt1" tx1="dk1" bg2="lt2" tx2="dk2" accent1="accent1" accent2="accent2" accent3="accent3" accent4="accent4" accent5="accent5" accent6="accent6" hlink="hlink" folHlink="folHlink"/>
  <p:sldLayoutIdLst>
    <p:sldLayoutId id="2147483695" r:id="rId1"/>
    <p:sldLayoutId id="2147483696" r:id="rId2"/>
    <p:sldLayoutId id="2147483697" r:id="rId3"/>
    <p:sldLayoutId id="2147483698" r:id="rId4"/>
    <p:sldLayoutId id="2147483699" r:id="rId5"/>
    <p:sldLayoutId id="2147483700" r:id="rId6"/>
    <p:sldLayoutId id="2147483701" r:id="rId7"/>
  </p:sldLayoutIdLst>
  <p:hf hdr="0"/>
  <p:txStyles>
    <p:titleStyle>
      <a:lvl1pPr algn="l" defTabSz="457200" rtl="0" eaLnBrk="1" latinLnBrk="0" hangingPunct="1">
        <a:spcBef>
          <a:spcPct val="0"/>
        </a:spcBef>
        <a:buNone/>
        <a:defRPr kumimoji="1" sz="2400" kern="1200">
          <a:solidFill>
            <a:schemeClr val="tx1"/>
          </a:solidFill>
          <a:latin typeface="ＭＳ Ｐゴシック"/>
          <a:ea typeface="+mj-ea"/>
          <a:cs typeface="+mj-cs"/>
        </a:defRPr>
      </a:lvl1pPr>
    </p:titleStyle>
    <p:bodyStyle>
      <a:lvl1pPr marL="0" indent="0" algn="l" defTabSz="457200" rtl="0" eaLnBrk="1" latinLnBrk="0" hangingPunct="1">
        <a:spcBef>
          <a:spcPct val="20000"/>
        </a:spcBef>
        <a:buFont typeface="Arial"/>
        <a:buNone/>
        <a:defRPr kumimoji="1" sz="1800" kern="1200">
          <a:solidFill>
            <a:schemeClr val="tx1"/>
          </a:solidFill>
          <a:latin typeface="ＭＳ Ｐゴシック"/>
          <a:ea typeface="+mn-ea"/>
          <a:cs typeface="+mn-cs"/>
        </a:defRPr>
      </a:lvl1pPr>
      <a:lvl2pPr marL="573750" marR="0" indent="0" algn="l" defTabSz="457200" rtl="0" eaLnBrk="1" fontAlgn="auto" latinLnBrk="0" hangingPunct="1">
        <a:lnSpc>
          <a:spcPct val="100000"/>
        </a:lnSpc>
        <a:spcBef>
          <a:spcPct val="20000"/>
        </a:spcBef>
        <a:spcAft>
          <a:spcPts val="0"/>
        </a:spcAft>
        <a:buClrTx/>
        <a:buSzTx/>
        <a:buFont typeface="Arial"/>
        <a:buNone/>
        <a:tabLst/>
        <a:defRPr kumimoji="1" sz="1600" kern="1200">
          <a:solidFill>
            <a:schemeClr val="tx1"/>
          </a:solidFill>
          <a:latin typeface="ＭＳ Ｐゴシック"/>
          <a:ea typeface="+mn-ea"/>
          <a:cs typeface="+mn-cs"/>
        </a:defRPr>
      </a:lvl2pPr>
      <a:lvl3pPr marL="1143000" indent="-169200" algn="l" defTabSz="457200" rtl="0" eaLnBrk="1" latinLnBrk="0" hangingPunct="1">
        <a:spcBef>
          <a:spcPct val="20000"/>
        </a:spcBef>
        <a:buFont typeface="Arial"/>
        <a:buChar char="•"/>
        <a:defRPr kumimoji="1" sz="1600" kern="1200">
          <a:solidFill>
            <a:schemeClr val="tx1"/>
          </a:solidFill>
          <a:latin typeface="ＭＳ Ｐゴシック"/>
          <a:ea typeface="+mn-ea"/>
          <a:cs typeface="+mn-cs"/>
        </a:defRPr>
      </a:lvl3pPr>
      <a:lvl4pPr marL="1600200" indent="-169200" algn="l" defTabSz="457200" rtl="0" eaLnBrk="1" latinLnBrk="0" hangingPunct="1">
        <a:spcBef>
          <a:spcPct val="20000"/>
        </a:spcBef>
        <a:buFont typeface="Arial"/>
        <a:buChar char="•"/>
        <a:defRPr kumimoji="1" sz="1600" kern="1200">
          <a:solidFill>
            <a:schemeClr val="tx1"/>
          </a:solidFill>
          <a:latin typeface="ＭＳ Ｐゴシック"/>
          <a:ea typeface="+mn-ea"/>
          <a:cs typeface="+mn-cs"/>
        </a:defRPr>
      </a:lvl4pPr>
      <a:lvl5pPr marL="2057400" indent="-169200" algn="l" defTabSz="457200" rtl="0" eaLnBrk="1" latinLnBrk="0" hangingPunct="1">
        <a:spcBef>
          <a:spcPct val="20000"/>
        </a:spcBef>
        <a:buFont typeface="Arial"/>
        <a:buChar char="•"/>
        <a:defRPr kumimoji="1" sz="1600" kern="1200">
          <a:solidFill>
            <a:schemeClr val="tx1"/>
          </a:solidFill>
          <a:latin typeface="ＭＳ Ｐゴシック"/>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p:bodyStyle>
    <p:otherStyle>
      <a:defPPr>
        <a:defRPr lang="ja-JP"/>
      </a:defPPr>
      <a:lvl1pPr marL="0" algn="l" defTabSz="457200" rtl="0" eaLnBrk="1" latinLnBrk="0" hangingPunct="1">
        <a:defRPr kumimoji="1" sz="1800" kern="1200">
          <a:solidFill>
            <a:schemeClr val="tx1"/>
          </a:solidFill>
          <a:latin typeface="+mn-lt"/>
          <a:ea typeface="+mn-ea"/>
          <a:cs typeface="+mn-cs"/>
        </a:defRPr>
      </a:lvl1pPr>
      <a:lvl2pPr marL="457200" algn="l" defTabSz="457200" rtl="0" eaLnBrk="1" latinLnBrk="0" hangingPunct="1">
        <a:defRPr kumimoji="1" sz="1800" kern="1200">
          <a:solidFill>
            <a:schemeClr val="tx1"/>
          </a:solidFill>
          <a:latin typeface="+mn-lt"/>
          <a:ea typeface="+mn-ea"/>
          <a:cs typeface="+mn-cs"/>
        </a:defRPr>
      </a:lvl2pPr>
      <a:lvl3pPr marL="914400" algn="l" defTabSz="457200" rtl="0" eaLnBrk="1" latinLnBrk="0" hangingPunct="1">
        <a:defRPr kumimoji="1" sz="1800" kern="1200">
          <a:solidFill>
            <a:schemeClr val="tx1"/>
          </a:solidFill>
          <a:latin typeface="+mn-lt"/>
          <a:ea typeface="+mn-ea"/>
          <a:cs typeface="+mn-cs"/>
        </a:defRPr>
      </a:lvl3pPr>
      <a:lvl4pPr marL="1371600" algn="l" defTabSz="457200" rtl="0" eaLnBrk="1" latinLnBrk="0" hangingPunct="1">
        <a:defRPr kumimoji="1" sz="1800" kern="1200">
          <a:solidFill>
            <a:schemeClr val="tx1"/>
          </a:solidFill>
          <a:latin typeface="+mn-lt"/>
          <a:ea typeface="+mn-ea"/>
          <a:cs typeface="+mn-cs"/>
        </a:defRPr>
      </a:lvl4pPr>
      <a:lvl5pPr marL="1828800" algn="l" defTabSz="457200" rtl="0" eaLnBrk="1" latinLnBrk="0" hangingPunct="1">
        <a:defRPr kumimoji="1" sz="1800" kern="1200">
          <a:solidFill>
            <a:schemeClr val="tx1"/>
          </a:solidFill>
          <a:latin typeface="+mn-lt"/>
          <a:ea typeface="+mn-ea"/>
          <a:cs typeface="+mn-cs"/>
        </a:defRPr>
      </a:lvl5pPr>
      <a:lvl6pPr marL="2286000" algn="l" defTabSz="457200" rtl="0" eaLnBrk="1" latinLnBrk="0" hangingPunct="1">
        <a:defRPr kumimoji="1" sz="1800" kern="1200">
          <a:solidFill>
            <a:schemeClr val="tx1"/>
          </a:solidFill>
          <a:latin typeface="+mn-lt"/>
          <a:ea typeface="+mn-ea"/>
          <a:cs typeface="+mn-cs"/>
        </a:defRPr>
      </a:lvl6pPr>
      <a:lvl7pPr marL="2743200" algn="l" defTabSz="457200" rtl="0" eaLnBrk="1" latinLnBrk="0" hangingPunct="1">
        <a:defRPr kumimoji="1" sz="1800" kern="1200">
          <a:solidFill>
            <a:schemeClr val="tx1"/>
          </a:solidFill>
          <a:latin typeface="+mn-lt"/>
          <a:ea typeface="+mn-ea"/>
          <a:cs typeface="+mn-cs"/>
        </a:defRPr>
      </a:lvl7pPr>
      <a:lvl8pPr marL="3200400" algn="l" defTabSz="457200" rtl="0" eaLnBrk="1" latinLnBrk="0" hangingPunct="1">
        <a:defRPr kumimoji="1" sz="1800" kern="1200">
          <a:solidFill>
            <a:schemeClr val="tx1"/>
          </a:solidFill>
          <a:latin typeface="+mn-lt"/>
          <a:ea typeface="+mn-ea"/>
          <a:cs typeface="+mn-cs"/>
        </a:defRPr>
      </a:lvl8pPr>
      <a:lvl9pPr marL="3657600" algn="l" defTabSz="457200" rtl="0" eaLnBrk="1" latinLnBrk="0" hangingPunct="1">
        <a:defRPr kumimoji="1"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12" imgW="406" imgH="403" progId="TCLayout.ActiveDocument.1">
                  <p:embed/>
                </p:oleObj>
              </mc:Choice>
              <mc:Fallback>
                <p:oleObj name="think-cell スライド" r:id="rId12" imgW="406" imgH="403" progId="TCLayout.ActiveDocument.1">
                  <p:embed/>
                  <p:pic>
                    <p:nvPicPr>
                      <p:cNvPr id="2" name="オブジェクト 1" hidden="1"/>
                      <p:cNvPicPr/>
                      <p:nvPr/>
                    </p:nvPicPr>
                    <p:blipFill>
                      <a:blip r:embed="rId13"/>
                      <a:stretch>
                        <a:fillRect/>
                      </a:stretch>
                    </p:blipFill>
                    <p:spPr>
                      <a:xfrm>
                        <a:off x="1588"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2623159201"/>
      </p:ext>
    </p:extLst>
  </p:cSld>
  <p:clrMap bg1="lt1" tx1="dk1" bg2="lt2" tx2="dk2" accent1="accent1" accent2="accent2" accent3="accent3" accent4="accent4" accent5="accent5" accent6="accent6" hlink="hlink" folHlink="folHlink"/>
  <p:sldLayoutIdLst>
    <p:sldLayoutId id="2147483703" r:id="rId1"/>
    <p:sldLayoutId id="2147483704" r:id="rId2"/>
    <p:sldLayoutId id="2147483705" r:id="rId3"/>
    <p:sldLayoutId id="2147483706" r:id="rId4"/>
    <p:sldLayoutId id="2147483707" r:id="rId5"/>
    <p:sldLayoutId id="2147483708" r:id="rId6"/>
    <p:sldLayoutId id="2147483709" r:id="rId7"/>
    <p:sldLayoutId id="2147483710" r:id="rId8"/>
    <p:sldLayoutId id="2147483711" r:id="rId9"/>
  </p:sldLayoutIdLst>
  <p:hf hdr="0"/>
  <p:txStyles>
    <p:titleStyle>
      <a:lvl1pPr algn="l" defTabSz="638335" rtl="0" eaLnBrk="1" latinLnBrk="0" hangingPunct="1">
        <a:spcBef>
          <a:spcPct val="0"/>
        </a:spcBef>
        <a:buNone/>
        <a:defRPr kumimoji="1" sz="3333" kern="1200">
          <a:solidFill>
            <a:schemeClr val="tx1"/>
          </a:solidFill>
          <a:latin typeface="ＭＳ Ｐゴシック"/>
          <a:ea typeface="+mj-ea"/>
          <a:cs typeface="+mj-cs"/>
        </a:defRPr>
      </a:lvl1pPr>
    </p:titleStyle>
    <p:bodyStyle>
      <a:lvl1pPr marL="0" indent="0" algn="l" defTabSz="638335" rtl="0" eaLnBrk="1" latinLnBrk="0" hangingPunct="1">
        <a:spcBef>
          <a:spcPct val="20000"/>
        </a:spcBef>
        <a:buFont typeface="Arial"/>
        <a:buNone/>
        <a:defRPr kumimoji="1" sz="2533" kern="1200">
          <a:solidFill>
            <a:schemeClr val="tx1"/>
          </a:solidFill>
          <a:latin typeface="ＭＳ Ｐゴシック"/>
          <a:ea typeface="+mn-ea"/>
          <a:cs typeface="+mn-cs"/>
        </a:defRPr>
      </a:lvl1pPr>
      <a:lvl2pPr marL="801060" marR="0" indent="0" algn="l" defTabSz="638335" rtl="0" eaLnBrk="1" fontAlgn="auto" latinLnBrk="0" hangingPunct="1">
        <a:lnSpc>
          <a:spcPct val="100000"/>
        </a:lnSpc>
        <a:spcBef>
          <a:spcPct val="20000"/>
        </a:spcBef>
        <a:spcAft>
          <a:spcPts val="0"/>
        </a:spcAft>
        <a:buClrTx/>
        <a:buSzTx/>
        <a:buFont typeface="Arial"/>
        <a:buNone/>
        <a:tabLst/>
        <a:defRPr kumimoji="1" sz="2266" kern="1200">
          <a:solidFill>
            <a:schemeClr val="tx1"/>
          </a:solidFill>
          <a:latin typeface="ＭＳ Ｐゴシック"/>
          <a:ea typeface="+mn-ea"/>
          <a:cs typeface="+mn-cs"/>
        </a:defRPr>
      </a:lvl2pPr>
      <a:lvl3pPr marL="1595837" indent="-236233" algn="l" defTabSz="638335" rtl="0" eaLnBrk="1" latinLnBrk="0" hangingPunct="1">
        <a:spcBef>
          <a:spcPct val="20000"/>
        </a:spcBef>
        <a:buFont typeface="Arial"/>
        <a:buChar char="•"/>
        <a:defRPr kumimoji="1" sz="2266" kern="1200">
          <a:solidFill>
            <a:schemeClr val="tx1"/>
          </a:solidFill>
          <a:latin typeface="ＭＳ Ｐゴシック"/>
          <a:ea typeface="+mn-ea"/>
          <a:cs typeface="+mn-cs"/>
        </a:defRPr>
      </a:lvl3pPr>
      <a:lvl4pPr marL="2234170" indent="-236233" algn="l" defTabSz="638335" rtl="0" eaLnBrk="1" latinLnBrk="0" hangingPunct="1">
        <a:spcBef>
          <a:spcPct val="20000"/>
        </a:spcBef>
        <a:buFont typeface="Arial"/>
        <a:buChar char="•"/>
        <a:defRPr kumimoji="1" sz="2266" kern="1200">
          <a:solidFill>
            <a:schemeClr val="tx1"/>
          </a:solidFill>
          <a:latin typeface="ＭＳ Ｐゴシック"/>
          <a:ea typeface="+mn-ea"/>
          <a:cs typeface="+mn-cs"/>
        </a:defRPr>
      </a:lvl4pPr>
      <a:lvl5pPr marL="2872505" indent="-236233" algn="l" defTabSz="638335" rtl="0" eaLnBrk="1" latinLnBrk="0" hangingPunct="1">
        <a:spcBef>
          <a:spcPct val="20000"/>
        </a:spcBef>
        <a:buFont typeface="Arial"/>
        <a:buChar char="•"/>
        <a:defRPr kumimoji="1" sz="2266" kern="1200">
          <a:solidFill>
            <a:schemeClr val="tx1"/>
          </a:solidFill>
          <a:latin typeface="ＭＳ Ｐゴシック"/>
          <a:ea typeface="+mn-ea"/>
          <a:cs typeface="+mn-cs"/>
        </a:defRPr>
      </a:lvl5pPr>
      <a:lvl6pPr marL="3510840" indent="-319167" algn="l" defTabSz="638335" rtl="0" eaLnBrk="1" latinLnBrk="0" hangingPunct="1">
        <a:spcBef>
          <a:spcPct val="20000"/>
        </a:spcBef>
        <a:buFont typeface="Arial"/>
        <a:buChar char="•"/>
        <a:defRPr kumimoji="1" sz="2800" kern="1200">
          <a:solidFill>
            <a:schemeClr val="tx1"/>
          </a:solidFill>
          <a:latin typeface="+mn-lt"/>
          <a:ea typeface="+mn-ea"/>
          <a:cs typeface="+mn-cs"/>
        </a:defRPr>
      </a:lvl6pPr>
      <a:lvl7pPr marL="4149172" indent="-319167" algn="l" defTabSz="638335" rtl="0" eaLnBrk="1" latinLnBrk="0" hangingPunct="1">
        <a:spcBef>
          <a:spcPct val="20000"/>
        </a:spcBef>
        <a:buFont typeface="Arial"/>
        <a:buChar char="•"/>
        <a:defRPr kumimoji="1" sz="2800" kern="1200">
          <a:solidFill>
            <a:schemeClr val="tx1"/>
          </a:solidFill>
          <a:latin typeface="+mn-lt"/>
          <a:ea typeface="+mn-ea"/>
          <a:cs typeface="+mn-cs"/>
        </a:defRPr>
      </a:lvl7pPr>
      <a:lvl8pPr marL="4787509" indent="-319167" algn="l" defTabSz="638335" rtl="0" eaLnBrk="1" latinLnBrk="0" hangingPunct="1">
        <a:spcBef>
          <a:spcPct val="20000"/>
        </a:spcBef>
        <a:buFont typeface="Arial"/>
        <a:buChar char="•"/>
        <a:defRPr kumimoji="1" sz="2800" kern="1200">
          <a:solidFill>
            <a:schemeClr val="tx1"/>
          </a:solidFill>
          <a:latin typeface="+mn-lt"/>
          <a:ea typeface="+mn-ea"/>
          <a:cs typeface="+mn-cs"/>
        </a:defRPr>
      </a:lvl8pPr>
      <a:lvl9pPr marL="5425844" indent="-319167" algn="l" defTabSz="638335" rtl="0" eaLnBrk="1" latinLnBrk="0" hangingPunct="1">
        <a:spcBef>
          <a:spcPct val="20000"/>
        </a:spcBef>
        <a:buFont typeface="Arial"/>
        <a:buChar char="•"/>
        <a:defRPr kumimoji="1" sz="2800" kern="1200">
          <a:solidFill>
            <a:schemeClr val="tx1"/>
          </a:solidFill>
          <a:latin typeface="+mn-lt"/>
          <a:ea typeface="+mn-ea"/>
          <a:cs typeface="+mn-cs"/>
        </a:defRPr>
      </a:lvl9pPr>
    </p:bodyStyle>
    <p:otherStyle>
      <a:defPPr>
        <a:defRPr lang="ja-JP"/>
      </a:defPPr>
      <a:lvl1pPr marL="0" algn="l" defTabSz="638335" rtl="0" eaLnBrk="1" latinLnBrk="0" hangingPunct="1">
        <a:defRPr kumimoji="1" sz="2533" kern="1200">
          <a:solidFill>
            <a:schemeClr val="tx1"/>
          </a:solidFill>
          <a:latin typeface="+mn-lt"/>
          <a:ea typeface="+mn-ea"/>
          <a:cs typeface="+mn-cs"/>
        </a:defRPr>
      </a:lvl1pPr>
      <a:lvl2pPr marL="638335" algn="l" defTabSz="638335" rtl="0" eaLnBrk="1" latinLnBrk="0" hangingPunct="1">
        <a:defRPr kumimoji="1" sz="2533" kern="1200">
          <a:solidFill>
            <a:schemeClr val="tx1"/>
          </a:solidFill>
          <a:latin typeface="+mn-lt"/>
          <a:ea typeface="+mn-ea"/>
          <a:cs typeface="+mn-cs"/>
        </a:defRPr>
      </a:lvl2pPr>
      <a:lvl3pPr marL="1276669" algn="l" defTabSz="638335" rtl="0" eaLnBrk="1" latinLnBrk="0" hangingPunct="1">
        <a:defRPr kumimoji="1" sz="2533" kern="1200">
          <a:solidFill>
            <a:schemeClr val="tx1"/>
          </a:solidFill>
          <a:latin typeface="+mn-lt"/>
          <a:ea typeface="+mn-ea"/>
          <a:cs typeface="+mn-cs"/>
        </a:defRPr>
      </a:lvl3pPr>
      <a:lvl4pPr marL="1915003" algn="l" defTabSz="638335" rtl="0" eaLnBrk="1" latinLnBrk="0" hangingPunct="1">
        <a:defRPr kumimoji="1" sz="2533" kern="1200">
          <a:solidFill>
            <a:schemeClr val="tx1"/>
          </a:solidFill>
          <a:latin typeface="+mn-lt"/>
          <a:ea typeface="+mn-ea"/>
          <a:cs typeface="+mn-cs"/>
        </a:defRPr>
      </a:lvl4pPr>
      <a:lvl5pPr marL="2553338" algn="l" defTabSz="638335" rtl="0" eaLnBrk="1" latinLnBrk="0" hangingPunct="1">
        <a:defRPr kumimoji="1" sz="2533" kern="1200">
          <a:solidFill>
            <a:schemeClr val="tx1"/>
          </a:solidFill>
          <a:latin typeface="+mn-lt"/>
          <a:ea typeface="+mn-ea"/>
          <a:cs typeface="+mn-cs"/>
        </a:defRPr>
      </a:lvl5pPr>
      <a:lvl6pPr marL="3191671" algn="l" defTabSz="638335" rtl="0" eaLnBrk="1" latinLnBrk="0" hangingPunct="1">
        <a:defRPr kumimoji="1" sz="2533" kern="1200">
          <a:solidFill>
            <a:schemeClr val="tx1"/>
          </a:solidFill>
          <a:latin typeface="+mn-lt"/>
          <a:ea typeface="+mn-ea"/>
          <a:cs typeface="+mn-cs"/>
        </a:defRPr>
      </a:lvl6pPr>
      <a:lvl7pPr marL="3830007" algn="l" defTabSz="638335" rtl="0" eaLnBrk="1" latinLnBrk="0" hangingPunct="1">
        <a:defRPr kumimoji="1" sz="2533" kern="1200">
          <a:solidFill>
            <a:schemeClr val="tx1"/>
          </a:solidFill>
          <a:latin typeface="+mn-lt"/>
          <a:ea typeface="+mn-ea"/>
          <a:cs typeface="+mn-cs"/>
        </a:defRPr>
      </a:lvl7pPr>
      <a:lvl8pPr marL="4468342" algn="l" defTabSz="638335" rtl="0" eaLnBrk="1" latinLnBrk="0" hangingPunct="1">
        <a:defRPr kumimoji="1" sz="2533" kern="1200">
          <a:solidFill>
            <a:schemeClr val="tx1"/>
          </a:solidFill>
          <a:latin typeface="+mn-lt"/>
          <a:ea typeface="+mn-ea"/>
          <a:cs typeface="+mn-cs"/>
        </a:defRPr>
      </a:lvl8pPr>
      <a:lvl9pPr marL="5106676" algn="l" defTabSz="638335" rtl="0" eaLnBrk="1" latinLnBrk="0" hangingPunct="1">
        <a:defRPr kumimoji="1" sz="2533"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スライド番号プレースホルダー 5">
            <a:extLst>
              <a:ext uri="{FF2B5EF4-FFF2-40B4-BE49-F238E27FC236}">
                <a16:creationId xmlns:a16="http://schemas.microsoft.com/office/drawing/2014/main" id="{3AE059AC-5036-1703-19AD-C50CDBC3A36A}"/>
              </a:ext>
            </a:extLst>
          </p:cNvPr>
          <p:cNvSpPr>
            <a:spLocks noGrp="1"/>
          </p:cNvSpPr>
          <p:nvPr>
            <p:ph type="sldNum" sz="quarter" idx="4"/>
          </p:nvPr>
        </p:nvSpPr>
        <p:spPr>
          <a:xfrm>
            <a:off x="11524630" y="6468878"/>
            <a:ext cx="555811" cy="289299"/>
          </a:xfrm>
          <a:prstGeom prst="rect">
            <a:avLst/>
          </a:prstGeom>
        </p:spPr>
        <p:txBody>
          <a:bodyPr lIns="95767" tIns="47884" rIns="95767" bIns="47884"/>
          <a:lstStyle>
            <a:lvl1pPr>
              <a:defRPr sz="1333"/>
            </a:lvl1pPr>
          </a:lstStyle>
          <a:p>
            <a:fld id="{2FF5E1DE-7B95-8A44-8552-65323269AE41}" type="slidenum">
              <a:rPr lang="ja-JP" altLang="en-US" smtClean="0"/>
              <a:pPr/>
              <a:t>‹#›</a:t>
            </a:fld>
            <a:endParaRPr lang="ja-JP" altLang="en-US"/>
          </a:p>
        </p:txBody>
      </p:sp>
    </p:spTree>
    <p:extLst>
      <p:ext uri="{BB962C8B-B14F-4D97-AF65-F5344CB8AC3E}">
        <p14:creationId xmlns:p14="http://schemas.microsoft.com/office/powerpoint/2010/main" val="3330292150"/>
      </p:ext>
    </p:extLst>
  </p:cSld>
  <p:clrMap bg1="lt1" tx1="dk1" bg2="lt2" tx2="dk2" accent1="accent1" accent2="accent2" accent3="accent3" accent4="accent4" accent5="accent5" accent6="accent6" hlink="hlink" folHlink="folHlink"/>
  <p:sldLayoutIdLst>
    <p:sldLayoutId id="2147483655" r:id="rId1"/>
    <p:sldLayoutId id="2147483657" r:id="rId2"/>
    <p:sldLayoutId id="2147483658" r:id="rId3"/>
    <p:sldLayoutId id="2147483667" r:id="rId4"/>
    <p:sldLayoutId id="2147483669" r:id="rId5"/>
    <p:sldLayoutId id="2147483670" r:id="rId6"/>
    <p:sldLayoutId id="2147483765" r:id="rId7"/>
    <p:sldLayoutId id="2147483766" r:id="rId8"/>
    <p:sldLayoutId id="2147483767" r:id="rId9"/>
    <p:sldLayoutId id="2147483770" r:id="rId10"/>
    <p:sldLayoutId id="2147483771" r:id="rId11"/>
    <p:sldLayoutId id="2147483768" r:id="rId12"/>
    <p:sldLayoutId id="2147483769" r:id="rId13"/>
    <p:sldLayoutId id="2147483713" r:id="rId14"/>
    <p:sldLayoutId id="2147483714" r:id="rId15"/>
    <p:sldLayoutId id="2147483715" r:id="rId16"/>
    <p:sldLayoutId id="2147483716" r:id="rId17"/>
    <p:sldLayoutId id="2147483717" r:id="rId18"/>
    <p:sldLayoutId id="2147483718" r:id="rId19"/>
    <p:sldLayoutId id="2147483719" r:id="rId20"/>
    <p:sldLayoutId id="2147483720" r:id="rId21"/>
    <p:sldLayoutId id="2147483721" r:id="rId22"/>
  </p:sldLayoutIdLst>
  <p:hf hdr="0"/>
  <p:txStyles>
    <p:titleStyle>
      <a:lvl1pPr algn="l" defTabSz="638335" rtl="0" eaLnBrk="1" latinLnBrk="0" hangingPunct="1">
        <a:spcBef>
          <a:spcPct val="0"/>
        </a:spcBef>
        <a:buNone/>
        <a:defRPr kumimoji="1" sz="3333" kern="1200">
          <a:solidFill>
            <a:schemeClr val="tx1"/>
          </a:solidFill>
          <a:latin typeface="ＭＳ Ｐゴシック"/>
          <a:ea typeface="+mj-ea"/>
          <a:cs typeface="+mj-cs"/>
        </a:defRPr>
      </a:lvl1pPr>
    </p:titleStyle>
    <p:bodyStyle>
      <a:lvl1pPr marL="0" indent="0" algn="l" defTabSz="638335" rtl="0" eaLnBrk="1" latinLnBrk="0" hangingPunct="1">
        <a:spcBef>
          <a:spcPct val="20000"/>
        </a:spcBef>
        <a:buFont typeface="Arial"/>
        <a:buNone/>
        <a:defRPr kumimoji="1" sz="2533" kern="1200">
          <a:solidFill>
            <a:schemeClr val="tx1"/>
          </a:solidFill>
          <a:latin typeface="ＭＳ Ｐゴシック"/>
          <a:ea typeface="+mn-ea"/>
          <a:cs typeface="+mn-cs"/>
        </a:defRPr>
      </a:lvl1pPr>
      <a:lvl2pPr marL="801060" marR="0" indent="0" algn="l" defTabSz="638335" rtl="0" eaLnBrk="1" fontAlgn="auto" latinLnBrk="0" hangingPunct="1">
        <a:lnSpc>
          <a:spcPct val="100000"/>
        </a:lnSpc>
        <a:spcBef>
          <a:spcPct val="20000"/>
        </a:spcBef>
        <a:spcAft>
          <a:spcPts val="0"/>
        </a:spcAft>
        <a:buClrTx/>
        <a:buSzTx/>
        <a:buFont typeface="Arial"/>
        <a:buNone/>
        <a:tabLst/>
        <a:defRPr kumimoji="1" sz="2266" kern="1200">
          <a:solidFill>
            <a:schemeClr val="tx1"/>
          </a:solidFill>
          <a:latin typeface="ＭＳ Ｐゴシック"/>
          <a:ea typeface="+mn-ea"/>
          <a:cs typeface="+mn-cs"/>
        </a:defRPr>
      </a:lvl2pPr>
      <a:lvl3pPr marL="1595837" indent="-236233" algn="l" defTabSz="638335" rtl="0" eaLnBrk="1" latinLnBrk="0" hangingPunct="1">
        <a:spcBef>
          <a:spcPct val="20000"/>
        </a:spcBef>
        <a:buFont typeface="Arial"/>
        <a:buChar char="•"/>
        <a:defRPr kumimoji="1" sz="2266" kern="1200">
          <a:solidFill>
            <a:schemeClr val="tx1"/>
          </a:solidFill>
          <a:latin typeface="ＭＳ Ｐゴシック"/>
          <a:ea typeface="+mn-ea"/>
          <a:cs typeface="+mn-cs"/>
        </a:defRPr>
      </a:lvl3pPr>
      <a:lvl4pPr marL="2234170" indent="-236233" algn="l" defTabSz="638335" rtl="0" eaLnBrk="1" latinLnBrk="0" hangingPunct="1">
        <a:spcBef>
          <a:spcPct val="20000"/>
        </a:spcBef>
        <a:buFont typeface="Arial"/>
        <a:buChar char="•"/>
        <a:defRPr kumimoji="1" sz="2266" kern="1200">
          <a:solidFill>
            <a:schemeClr val="tx1"/>
          </a:solidFill>
          <a:latin typeface="ＭＳ Ｐゴシック"/>
          <a:ea typeface="+mn-ea"/>
          <a:cs typeface="+mn-cs"/>
        </a:defRPr>
      </a:lvl4pPr>
      <a:lvl5pPr marL="2872505" indent="-236233" algn="l" defTabSz="638335" rtl="0" eaLnBrk="1" latinLnBrk="0" hangingPunct="1">
        <a:spcBef>
          <a:spcPct val="20000"/>
        </a:spcBef>
        <a:buFont typeface="Arial"/>
        <a:buChar char="•"/>
        <a:defRPr kumimoji="1" sz="2266" kern="1200">
          <a:solidFill>
            <a:schemeClr val="tx1"/>
          </a:solidFill>
          <a:latin typeface="ＭＳ Ｐゴシック"/>
          <a:ea typeface="+mn-ea"/>
          <a:cs typeface="+mn-cs"/>
        </a:defRPr>
      </a:lvl5pPr>
      <a:lvl6pPr marL="3510840" indent="-319167" algn="l" defTabSz="638335" rtl="0" eaLnBrk="1" latinLnBrk="0" hangingPunct="1">
        <a:spcBef>
          <a:spcPct val="20000"/>
        </a:spcBef>
        <a:buFont typeface="Arial"/>
        <a:buChar char="•"/>
        <a:defRPr kumimoji="1" sz="2800" kern="1200">
          <a:solidFill>
            <a:schemeClr val="tx1"/>
          </a:solidFill>
          <a:latin typeface="+mn-lt"/>
          <a:ea typeface="+mn-ea"/>
          <a:cs typeface="+mn-cs"/>
        </a:defRPr>
      </a:lvl6pPr>
      <a:lvl7pPr marL="4149172" indent="-319167" algn="l" defTabSz="638335" rtl="0" eaLnBrk="1" latinLnBrk="0" hangingPunct="1">
        <a:spcBef>
          <a:spcPct val="20000"/>
        </a:spcBef>
        <a:buFont typeface="Arial"/>
        <a:buChar char="•"/>
        <a:defRPr kumimoji="1" sz="2800" kern="1200">
          <a:solidFill>
            <a:schemeClr val="tx1"/>
          </a:solidFill>
          <a:latin typeface="+mn-lt"/>
          <a:ea typeface="+mn-ea"/>
          <a:cs typeface="+mn-cs"/>
        </a:defRPr>
      </a:lvl7pPr>
      <a:lvl8pPr marL="4787509" indent="-319167" algn="l" defTabSz="638335" rtl="0" eaLnBrk="1" latinLnBrk="0" hangingPunct="1">
        <a:spcBef>
          <a:spcPct val="20000"/>
        </a:spcBef>
        <a:buFont typeface="Arial"/>
        <a:buChar char="•"/>
        <a:defRPr kumimoji="1" sz="2800" kern="1200">
          <a:solidFill>
            <a:schemeClr val="tx1"/>
          </a:solidFill>
          <a:latin typeface="+mn-lt"/>
          <a:ea typeface="+mn-ea"/>
          <a:cs typeface="+mn-cs"/>
        </a:defRPr>
      </a:lvl8pPr>
      <a:lvl9pPr marL="5425844" indent="-319167" algn="l" defTabSz="638335" rtl="0" eaLnBrk="1" latinLnBrk="0" hangingPunct="1">
        <a:spcBef>
          <a:spcPct val="20000"/>
        </a:spcBef>
        <a:buFont typeface="Arial"/>
        <a:buChar char="•"/>
        <a:defRPr kumimoji="1" sz="2800" kern="1200">
          <a:solidFill>
            <a:schemeClr val="tx1"/>
          </a:solidFill>
          <a:latin typeface="+mn-lt"/>
          <a:ea typeface="+mn-ea"/>
          <a:cs typeface="+mn-cs"/>
        </a:defRPr>
      </a:lvl9pPr>
    </p:bodyStyle>
    <p:otherStyle>
      <a:defPPr>
        <a:defRPr lang="ja-JP"/>
      </a:defPPr>
      <a:lvl1pPr marL="0" algn="l" defTabSz="638335" rtl="0" eaLnBrk="1" latinLnBrk="0" hangingPunct="1">
        <a:defRPr kumimoji="1" sz="2533" kern="1200">
          <a:solidFill>
            <a:schemeClr val="tx1"/>
          </a:solidFill>
          <a:latin typeface="+mn-lt"/>
          <a:ea typeface="+mn-ea"/>
          <a:cs typeface="+mn-cs"/>
        </a:defRPr>
      </a:lvl1pPr>
      <a:lvl2pPr marL="638335" algn="l" defTabSz="638335" rtl="0" eaLnBrk="1" latinLnBrk="0" hangingPunct="1">
        <a:defRPr kumimoji="1" sz="2533" kern="1200">
          <a:solidFill>
            <a:schemeClr val="tx1"/>
          </a:solidFill>
          <a:latin typeface="+mn-lt"/>
          <a:ea typeface="+mn-ea"/>
          <a:cs typeface="+mn-cs"/>
        </a:defRPr>
      </a:lvl2pPr>
      <a:lvl3pPr marL="1276669" algn="l" defTabSz="638335" rtl="0" eaLnBrk="1" latinLnBrk="0" hangingPunct="1">
        <a:defRPr kumimoji="1" sz="2533" kern="1200">
          <a:solidFill>
            <a:schemeClr val="tx1"/>
          </a:solidFill>
          <a:latin typeface="+mn-lt"/>
          <a:ea typeface="+mn-ea"/>
          <a:cs typeface="+mn-cs"/>
        </a:defRPr>
      </a:lvl3pPr>
      <a:lvl4pPr marL="1915003" algn="l" defTabSz="638335" rtl="0" eaLnBrk="1" latinLnBrk="0" hangingPunct="1">
        <a:defRPr kumimoji="1" sz="2533" kern="1200">
          <a:solidFill>
            <a:schemeClr val="tx1"/>
          </a:solidFill>
          <a:latin typeface="+mn-lt"/>
          <a:ea typeface="+mn-ea"/>
          <a:cs typeface="+mn-cs"/>
        </a:defRPr>
      </a:lvl4pPr>
      <a:lvl5pPr marL="2553338" algn="l" defTabSz="638335" rtl="0" eaLnBrk="1" latinLnBrk="0" hangingPunct="1">
        <a:defRPr kumimoji="1" sz="2533" kern="1200">
          <a:solidFill>
            <a:schemeClr val="tx1"/>
          </a:solidFill>
          <a:latin typeface="+mn-lt"/>
          <a:ea typeface="+mn-ea"/>
          <a:cs typeface="+mn-cs"/>
        </a:defRPr>
      </a:lvl5pPr>
      <a:lvl6pPr marL="3191671" algn="l" defTabSz="638335" rtl="0" eaLnBrk="1" latinLnBrk="0" hangingPunct="1">
        <a:defRPr kumimoji="1" sz="2533" kern="1200">
          <a:solidFill>
            <a:schemeClr val="tx1"/>
          </a:solidFill>
          <a:latin typeface="+mn-lt"/>
          <a:ea typeface="+mn-ea"/>
          <a:cs typeface="+mn-cs"/>
        </a:defRPr>
      </a:lvl6pPr>
      <a:lvl7pPr marL="3830007" algn="l" defTabSz="638335" rtl="0" eaLnBrk="1" latinLnBrk="0" hangingPunct="1">
        <a:defRPr kumimoji="1" sz="2533" kern="1200">
          <a:solidFill>
            <a:schemeClr val="tx1"/>
          </a:solidFill>
          <a:latin typeface="+mn-lt"/>
          <a:ea typeface="+mn-ea"/>
          <a:cs typeface="+mn-cs"/>
        </a:defRPr>
      </a:lvl7pPr>
      <a:lvl8pPr marL="4468342" algn="l" defTabSz="638335" rtl="0" eaLnBrk="1" latinLnBrk="0" hangingPunct="1">
        <a:defRPr kumimoji="1" sz="2533" kern="1200">
          <a:solidFill>
            <a:schemeClr val="tx1"/>
          </a:solidFill>
          <a:latin typeface="+mn-lt"/>
          <a:ea typeface="+mn-ea"/>
          <a:cs typeface="+mn-cs"/>
        </a:defRPr>
      </a:lvl8pPr>
      <a:lvl9pPr marL="5106676" algn="l" defTabSz="638335" rtl="0" eaLnBrk="1" latinLnBrk="0" hangingPunct="1">
        <a:defRPr kumimoji="1" sz="2533"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12" imgW="406" imgH="403" progId="TCLayout.ActiveDocument.1">
                  <p:embed/>
                </p:oleObj>
              </mc:Choice>
              <mc:Fallback>
                <p:oleObj name="think-cell スライド" r:id="rId12" imgW="406" imgH="403" progId="TCLayout.ActiveDocument.1">
                  <p:embed/>
                  <p:pic>
                    <p:nvPicPr>
                      <p:cNvPr id="2" name="オブジェクト 1" hidden="1"/>
                      <p:cNvPicPr/>
                      <p:nvPr/>
                    </p:nvPicPr>
                    <p:blipFill>
                      <a:blip r:embed="rId13"/>
                      <a:stretch>
                        <a:fillRect/>
                      </a:stretch>
                    </p:blipFill>
                    <p:spPr>
                      <a:xfrm>
                        <a:off x="1588"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3899625110"/>
      </p:ext>
    </p:extLst>
  </p:cSld>
  <p:clrMap bg1="lt1" tx1="dk1" bg2="lt2" tx2="dk2" accent1="accent1" accent2="accent2" accent3="accent3" accent4="accent4" accent5="accent5" accent6="accent6" hlink="hlink" folHlink="folHlink"/>
  <p:sldLayoutIdLst>
    <p:sldLayoutId id="2147483723" r:id="rId1"/>
    <p:sldLayoutId id="2147483724" r:id="rId2"/>
    <p:sldLayoutId id="2147483725" r:id="rId3"/>
    <p:sldLayoutId id="2147483726" r:id="rId4"/>
    <p:sldLayoutId id="2147483727" r:id="rId5"/>
    <p:sldLayoutId id="2147483728" r:id="rId6"/>
    <p:sldLayoutId id="2147483729" r:id="rId7"/>
    <p:sldLayoutId id="2147483730" r:id="rId8"/>
    <p:sldLayoutId id="2147483731" r:id="rId9"/>
  </p:sldLayoutIdLst>
  <p:hf hdr="0"/>
  <p:txStyles>
    <p:titleStyle>
      <a:lvl1pPr algn="l" defTabSz="638335" rtl="0" eaLnBrk="1" latinLnBrk="0" hangingPunct="1">
        <a:spcBef>
          <a:spcPct val="0"/>
        </a:spcBef>
        <a:buNone/>
        <a:defRPr kumimoji="1" sz="3333" kern="1200">
          <a:solidFill>
            <a:schemeClr val="tx1"/>
          </a:solidFill>
          <a:latin typeface="ＭＳ Ｐゴシック"/>
          <a:ea typeface="+mj-ea"/>
          <a:cs typeface="+mj-cs"/>
        </a:defRPr>
      </a:lvl1pPr>
    </p:titleStyle>
    <p:bodyStyle>
      <a:lvl1pPr marL="0" indent="0" algn="l" defTabSz="638335" rtl="0" eaLnBrk="1" latinLnBrk="0" hangingPunct="1">
        <a:spcBef>
          <a:spcPct val="20000"/>
        </a:spcBef>
        <a:buFont typeface="Arial"/>
        <a:buNone/>
        <a:defRPr kumimoji="1" sz="2533" kern="1200">
          <a:solidFill>
            <a:schemeClr val="tx1"/>
          </a:solidFill>
          <a:latin typeface="ＭＳ Ｐゴシック"/>
          <a:ea typeface="+mn-ea"/>
          <a:cs typeface="+mn-cs"/>
        </a:defRPr>
      </a:lvl1pPr>
      <a:lvl2pPr marL="801060" marR="0" indent="0" algn="l" defTabSz="638335" rtl="0" eaLnBrk="1" fontAlgn="auto" latinLnBrk="0" hangingPunct="1">
        <a:lnSpc>
          <a:spcPct val="100000"/>
        </a:lnSpc>
        <a:spcBef>
          <a:spcPct val="20000"/>
        </a:spcBef>
        <a:spcAft>
          <a:spcPts val="0"/>
        </a:spcAft>
        <a:buClrTx/>
        <a:buSzTx/>
        <a:buFont typeface="Arial"/>
        <a:buNone/>
        <a:tabLst/>
        <a:defRPr kumimoji="1" sz="2266" kern="1200">
          <a:solidFill>
            <a:schemeClr val="tx1"/>
          </a:solidFill>
          <a:latin typeface="ＭＳ Ｐゴシック"/>
          <a:ea typeface="+mn-ea"/>
          <a:cs typeface="+mn-cs"/>
        </a:defRPr>
      </a:lvl2pPr>
      <a:lvl3pPr marL="1595837" indent="-236233" algn="l" defTabSz="638335" rtl="0" eaLnBrk="1" latinLnBrk="0" hangingPunct="1">
        <a:spcBef>
          <a:spcPct val="20000"/>
        </a:spcBef>
        <a:buFont typeface="Arial"/>
        <a:buChar char="•"/>
        <a:defRPr kumimoji="1" sz="2266" kern="1200">
          <a:solidFill>
            <a:schemeClr val="tx1"/>
          </a:solidFill>
          <a:latin typeface="ＭＳ Ｐゴシック"/>
          <a:ea typeface="+mn-ea"/>
          <a:cs typeface="+mn-cs"/>
        </a:defRPr>
      </a:lvl3pPr>
      <a:lvl4pPr marL="2234170" indent="-236233" algn="l" defTabSz="638335" rtl="0" eaLnBrk="1" latinLnBrk="0" hangingPunct="1">
        <a:spcBef>
          <a:spcPct val="20000"/>
        </a:spcBef>
        <a:buFont typeface="Arial"/>
        <a:buChar char="•"/>
        <a:defRPr kumimoji="1" sz="2266" kern="1200">
          <a:solidFill>
            <a:schemeClr val="tx1"/>
          </a:solidFill>
          <a:latin typeface="ＭＳ Ｐゴシック"/>
          <a:ea typeface="+mn-ea"/>
          <a:cs typeface="+mn-cs"/>
        </a:defRPr>
      </a:lvl4pPr>
      <a:lvl5pPr marL="2872505" indent="-236233" algn="l" defTabSz="638335" rtl="0" eaLnBrk="1" latinLnBrk="0" hangingPunct="1">
        <a:spcBef>
          <a:spcPct val="20000"/>
        </a:spcBef>
        <a:buFont typeface="Arial"/>
        <a:buChar char="•"/>
        <a:defRPr kumimoji="1" sz="2266" kern="1200">
          <a:solidFill>
            <a:schemeClr val="tx1"/>
          </a:solidFill>
          <a:latin typeface="ＭＳ Ｐゴシック"/>
          <a:ea typeface="+mn-ea"/>
          <a:cs typeface="+mn-cs"/>
        </a:defRPr>
      </a:lvl5pPr>
      <a:lvl6pPr marL="3510840" indent="-319167" algn="l" defTabSz="638335" rtl="0" eaLnBrk="1" latinLnBrk="0" hangingPunct="1">
        <a:spcBef>
          <a:spcPct val="20000"/>
        </a:spcBef>
        <a:buFont typeface="Arial"/>
        <a:buChar char="•"/>
        <a:defRPr kumimoji="1" sz="2800" kern="1200">
          <a:solidFill>
            <a:schemeClr val="tx1"/>
          </a:solidFill>
          <a:latin typeface="+mn-lt"/>
          <a:ea typeface="+mn-ea"/>
          <a:cs typeface="+mn-cs"/>
        </a:defRPr>
      </a:lvl6pPr>
      <a:lvl7pPr marL="4149172" indent="-319167" algn="l" defTabSz="638335" rtl="0" eaLnBrk="1" latinLnBrk="0" hangingPunct="1">
        <a:spcBef>
          <a:spcPct val="20000"/>
        </a:spcBef>
        <a:buFont typeface="Arial"/>
        <a:buChar char="•"/>
        <a:defRPr kumimoji="1" sz="2800" kern="1200">
          <a:solidFill>
            <a:schemeClr val="tx1"/>
          </a:solidFill>
          <a:latin typeface="+mn-lt"/>
          <a:ea typeface="+mn-ea"/>
          <a:cs typeface="+mn-cs"/>
        </a:defRPr>
      </a:lvl7pPr>
      <a:lvl8pPr marL="4787509" indent="-319167" algn="l" defTabSz="638335" rtl="0" eaLnBrk="1" latinLnBrk="0" hangingPunct="1">
        <a:spcBef>
          <a:spcPct val="20000"/>
        </a:spcBef>
        <a:buFont typeface="Arial"/>
        <a:buChar char="•"/>
        <a:defRPr kumimoji="1" sz="2800" kern="1200">
          <a:solidFill>
            <a:schemeClr val="tx1"/>
          </a:solidFill>
          <a:latin typeface="+mn-lt"/>
          <a:ea typeface="+mn-ea"/>
          <a:cs typeface="+mn-cs"/>
        </a:defRPr>
      </a:lvl8pPr>
      <a:lvl9pPr marL="5425844" indent="-319167" algn="l" defTabSz="638335" rtl="0" eaLnBrk="1" latinLnBrk="0" hangingPunct="1">
        <a:spcBef>
          <a:spcPct val="20000"/>
        </a:spcBef>
        <a:buFont typeface="Arial"/>
        <a:buChar char="•"/>
        <a:defRPr kumimoji="1" sz="2800" kern="1200">
          <a:solidFill>
            <a:schemeClr val="tx1"/>
          </a:solidFill>
          <a:latin typeface="+mn-lt"/>
          <a:ea typeface="+mn-ea"/>
          <a:cs typeface="+mn-cs"/>
        </a:defRPr>
      </a:lvl9pPr>
    </p:bodyStyle>
    <p:otherStyle>
      <a:defPPr>
        <a:defRPr lang="ja-JP"/>
      </a:defPPr>
      <a:lvl1pPr marL="0" algn="l" defTabSz="638335" rtl="0" eaLnBrk="1" latinLnBrk="0" hangingPunct="1">
        <a:defRPr kumimoji="1" sz="2533" kern="1200">
          <a:solidFill>
            <a:schemeClr val="tx1"/>
          </a:solidFill>
          <a:latin typeface="+mn-lt"/>
          <a:ea typeface="+mn-ea"/>
          <a:cs typeface="+mn-cs"/>
        </a:defRPr>
      </a:lvl1pPr>
      <a:lvl2pPr marL="638335" algn="l" defTabSz="638335" rtl="0" eaLnBrk="1" latinLnBrk="0" hangingPunct="1">
        <a:defRPr kumimoji="1" sz="2533" kern="1200">
          <a:solidFill>
            <a:schemeClr val="tx1"/>
          </a:solidFill>
          <a:latin typeface="+mn-lt"/>
          <a:ea typeface="+mn-ea"/>
          <a:cs typeface="+mn-cs"/>
        </a:defRPr>
      </a:lvl2pPr>
      <a:lvl3pPr marL="1276669" algn="l" defTabSz="638335" rtl="0" eaLnBrk="1" latinLnBrk="0" hangingPunct="1">
        <a:defRPr kumimoji="1" sz="2533" kern="1200">
          <a:solidFill>
            <a:schemeClr val="tx1"/>
          </a:solidFill>
          <a:latin typeface="+mn-lt"/>
          <a:ea typeface="+mn-ea"/>
          <a:cs typeface="+mn-cs"/>
        </a:defRPr>
      </a:lvl3pPr>
      <a:lvl4pPr marL="1915003" algn="l" defTabSz="638335" rtl="0" eaLnBrk="1" latinLnBrk="0" hangingPunct="1">
        <a:defRPr kumimoji="1" sz="2533" kern="1200">
          <a:solidFill>
            <a:schemeClr val="tx1"/>
          </a:solidFill>
          <a:latin typeface="+mn-lt"/>
          <a:ea typeface="+mn-ea"/>
          <a:cs typeface="+mn-cs"/>
        </a:defRPr>
      </a:lvl4pPr>
      <a:lvl5pPr marL="2553338" algn="l" defTabSz="638335" rtl="0" eaLnBrk="1" latinLnBrk="0" hangingPunct="1">
        <a:defRPr kumimoji="1" sz="2533" kern="1200">
          <a:solidFill>
            <a:schemeClr val="tx1"/>
          </a:solidFill>
          <a:latin typeface="+mn-lt"/>
          <a:ea typeface="+mn-ea"/>
          <a:cs typeface="+mn-cs"/>
        </a:defRPr>
      </a:lvl5pPr>
      <a:lvl6pPr marL="3191671" algn="l" defTabSz="638335" rtl="0" eaLnBrk="1" latinLnBrk="0" hangingPunct="1">
        <a:defRPr kumimoji="1" sz="2533" kern="1200">
          <a:solidFill>
            <a:schemeClr val="tx1"/>
          </a:solidFill>
          <a:latin typeface="+mn-lt"/>
          <a:ea typeface="+mn-ea"/>
          <a:cs typeface="+mn-cs"/>
        </a:defRPr>
      </a:lvl6pPr>
      <a:lvl7pPr marL="3830007" algn="l" defTabSz="638335" rtl="0" eaLnBrk="1" latinLnBrk="0" hangingPunct="1">
        <a:defRPr kumimoji="1" sz="2533" kern="1200">
          <a:solidFill>
            <a:schemeClr val="tx1"/>
          </a:solidFill>
          <a:latin typeface="+mn-lt"/>
          <a:ea typeface="+mn-ea"/>
          <a:cs typeface="+mn-cs"/>
        </a:defRPr>
      </a:lvl7pPr>
      <a:lvl8pPr marL="4468342" algn="l" defTabSz="638335" rtl="0" eaLnBrk="1" latinLnBrk="0" hangingPunct="1">
        <a:defRPr kumimoji="1" sz="2533" kern="1200">
          <a:solidFill>
            <a:schemeClr val="tx1"/>
          </a:solidFill>
          <a:latin typeface="+mn-lt"/>
          <a:ea typeface="+mn-ea"/>
          <a:cs typeface="+mn-cs"/>
        </a:defRPr>
      </a:lvl8pPr>
      <a:lvl9pPr marL="5106676" algn="l" defTabSz="638335" rtl="0" eaLnBrk="1" latinLnBrk="0" hangingPunct="1">
        <a:defRPr kumimoji="1" sz="2533"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14" name="図 13"/>
          <p:cNvPicPr>
            <a:picLocks noChangeAspect="1"/>
          </p:cNvPicPr>
          <p:nvPr/>
        </p:nvPicPr>
        <p:blipFill>
          <a:blip r:embed="rId7">
            <a:extLst>
              <a:ext uri="{28A0092B-C50C-407E-A947-70E740481C1C}">
                <a14:useLocalDpi xmlns:a14="http://schemas.microsoft.com/office/drawing/2010/main"/>
              </a:ext>
            </a:extLst>
          </a:blip>
          <a:stretch>
            <a:fillRect/>
          </a:stretch>
        </p:blipFill>
        <p:spPr>
          <a:xfrm>
            <a:off x="1" y="0"/>
            <a:ext cx="12192000" cy="6858000"/>
          </a:xfrm>
          <a:prstGeom prst="rect">
            <a:avLst/>
          </a:prstGeom>
        </p:spPr>
      </p:pic>
      <p:sp>
        <p:nvSpPr>
          <p:cNvPr id="2" name="タイトル プレースホルダー 1"/>
          <p:cNvSpPr>
            <a:spLocks noGrp="1"/>
          </p:cNvSpPr>
          <p:nvPr>
            <p:ph type="title"/>
          </p:nvPr>
        </p:nvSpPr>
        <p:spPr>
          <a:xfrm>
            <a:off x="368551" y="194236"/>
            <a:ext cx="9791452" cy="540000"/>
          </a:xfrm>
          <a:prstGeom prst="rect">
            <a:avLst/>
          </a:prstGeom>
        </p:spPr>
        <p:txBody>
          <a:bodyPr vert="horz" lIns="91440" tIns="45720" rIns="91440" bIns="45720" rtlCol="0" anchor="t">
            <a:normAutofit/>
          </a:bodyPr>
          <a:lstStyle/>
          <a:p>
            <a:endParaRPr kumimoji="1" lang="ja-JP" altLang="en-US"/>
          </a:p>
        </p:txBody>
      </p:sp>
      <p:sp>
        <p:nvSpPr>
          <p:cNvPr id="3" name="テキスト プレースホルダー 2"/>
          <p:cNvSpPr>
            <a:spLocks noGrp="1"/>
          </p:cNvSpPr>
          <p:nvPr>
            <p:ph type="body" idx="1"/>
          </p:nvPr>
        </p:nvSpPr>
        <p:spPr>
          <a:xfrm>
            <a:off x="368551" y="903600"/>
            <a:ext cx="11583452" cy="5540400"/>
          </a:xfrm>
          <a:prstGeom prst="rect">
            <a:avLst/>
          </a:prstGeom>
        </p:spPr>
        <p:txBody>
          <a:bodyPr vert="horz" lIns="91440" tIns="45720" rIns="91440" bIns="45720" rtlCol="0">
            <a:normAutofit/>
          </a:bodyPr>
          <a:lstStyle/>
          <a:p>
            <a:pPr lvl="0"/>
            <a:r>
              <a:rPr kumimoji="1" lang="ja-JP" altLang="en-US"/>
              <a:t>Master Text Formatting</a:t>
            </a:r>
          </a:p>
          <a:p>
            <a:pPr lvl="1"/>
            <a:r>
              <a:rPr kumimoji="1" lang="en-US" altLang="ja-JP"/>
              <a:t>Second </a:t>
            </a:r>
            <a:r>
              <a:rPr kumimoji="1" lang="ja-JP" altLang="en-US"/>
              <a:t>level</a:t>
            </a:r>
          </a:p>
          <a:p>
            <a:pPr lvl="2"/>
            <a:r>
              <a:rPr kumimoji="1" lang="en-US" altLang="ja-JP"/>
              <a:t>Third </a:t>
            </a:r>
            <a:r>
              <a:rPr kumimoji="1" lang="ja-JP" altLang="en-US"/>
              <a:t>level</a:t>
            </a:r>
          </a:p>
          <a:p>
            <a:pPr lvl="3"/>
            <a:r>
              <a:rPr kumimoji="1" lang="en-US" altLang="ja-JP"/>
              <a:t>Fourth </a:t>
            </a:r>
            <a:r>
              <a:rPr kumimoji="1" lang="ja-JP" altLang="en-US"/>
              <a:t>level</a:t>
            </a:r>
          </a:p>
          <a:p>
            <a:pPr lvl="4"/>
            <a:r>
              <a:rPr kumimoji="1" lang="en-US" altLang="ja-JP"/>
              <a:t>Fifth </a:t>
            </a:r>
            <a:r>
              <a:rPr kumimoji="1" lang="ja-JP" altLang="en-US"/>
              <a:t>level</a:t>
            </a:r>
          </a:p>
        </p:txBody>
      </p:sp>
      <p:cxnSp>
        <p:nvCxnSpPr>
          <p:cNvPr id="9" name="直線コネクタ 8"/>
          <p:cNvCxnSpPr/>
          <p:nvPr/>
        </p:nvCxnSpPr>
        <p:spPr>
          <a:xfrm>
            <a:off x="240001" y="817200"/>
            <a:ext cx="11712000" cy="0"/>
          </a:xfrm>
          <a:prstGeom prst="line">
            <a:avLst/>
          </a:prstGeom>
          <a:ln>
            <a:solidFill>
              <a:srgbClr val="C7000D"/>
            </a:solidFill>
          </a:ln>
          <a:effectLst/>
        </p:spPr>
        <p:style>
          <a:lnRef idx="2">
            <a:schemeClr val="accent1"/>
          </a:lnRef>
          <a:fillRef idx="0">
            <a:schemeClr val="accent1"/>
          </a:fillRef>
          <a:effectRef idx="1">
            <a:schemeClr val="accent1"/>
          </a:effectRef>
          <a:fontRef idx="minor">
            <a:schemeClr val="tx1"/>
          </a:fontRef>
        </p:style>
      </p:cxnSp>
      <p:pic>
        <p:nvPicPr>
          <p:cNvPr id="8" name="Picture 2" descr="K:\新ロゴ（データ一式）\★logo_3_jn.png"/>
          <p:cNvPicPr>
            <a:picLocks noChangeAspect="1" noChangeArrowheads="1"/>
          </p:cNvPicPr>
          <p:nvPr userDrawn="1"/>
        </p:nvPicPr>
        <p:blipFill>
          <a:blip r:embed="rId8" cstate="email">
            <a:extLst>
              <a:ext uri="{28A0092B-C50C-407E-A947-70E740481C1C}">
                <a14:useLocalDpi xmlns:a14="http://schemas.microsoft.com/office/drawing/2010/main"/>
              </a:ext>
            </a:extLst>
          </a:blip>
          <a:srcRect/>
          <a:stretch>
            <a:fillRect/>
          </a:stretch>
        </p:blipFill>
        <p:spPr bwMode="auto">
          <a:xfrm>
            <a:off x="10340817" y="63585"/>
            <a:ext cx="1741727" cy="781565"/>
          </a:xfrm>
          <a:prstGeom prst="rect">
            <a:avLst/>
          </a:prstGeom>
          <a:noFill/>
          <a:extLst>
            <a:ext uri="{909E8E84-426E-40DD-AFC4-6F175D3DCCD1}">
              <a14:hiddenFill xmlns:a14="http://schemas.microsoft.com/office/drawing/2010/main">
                <a:solidFill>
                  <a:srgbClr val="FFFFFF"/>
                </a:solidFill>
              </a14:hiddenFill>
            </a:ext>
          </a:extLst>
        </p:spPr>
      </p:pic>
      <p:sp>
        <p:nvSpPr>
          <p:cNvPr id="10" name="スライド番号プレースホルダ 2"/>
          <p:cNvSpPr txBox="1">
            <a:spLocks/>
          </p:cNvSpPr>
          <p:nvPr userDrawn="1"/>
        </p:nvSpPr>
        <p:spPr>
          <a:xfrm>
            <a:off x="11261540" y="6611796"/>
            <a:ext cx="930461" cy="246221"/>
          </a:xfrm>
          <a:prstGeom prst="rect">
            <a:avLst/>
          </a:prstGeom>
        </p:spPr>
        <p:txBody>
          <a:bodyPr/>
          <a:lstStyle>
            <a:defPPr>
              <a:defRPr lang="ja-JP"/>
            </a:defPPr>
            <a:lvl1pPr algn="r" rtl="0" fontAlgn="base">
              <a:spcBef>
                <a:spcPct val="0"/>
              </a:spcBef>
              <a:spcAft>
                <a:spcPct val="0"/>
              </a:spcAft>
              <a:defRPr kumimoji="1" sz="1050" kern="1200">
                <a:solidFill>
                  <a:schemeClr val="tx1"/>
                </a:solidFill>
                <a:latin typeface="メイリオ" pitchFamily="50" charset="-128"/>
                <a:ea typeface="メイリオ" pitchFamily="50" charset="-128"/>
                <a:cs typeface="メイリオ" pitchFamily="50" charset="-128"/>
              </a:defRPr>
            </a:lvl1pPr>
            <a:lvl2pPr marL="457200" algn="l" rtl="0" fontAlgn="base">
              <a:spcBef>
                <a:spcPct val="0"/>
              </a:spcBef>
              <a:spcAft>
                <a:spcPct val="0"/>
              </a:spcAft>
              <a:defRPr kumimoji="1" sz="1200" kern="1200">
                <a:solidFill>
                  <a:schemeClr val="tx1"/>
                </a:solidFill>
                <a:latin typeface="Arial" charset="0"/>
                <a:ea typeface="ＭＳ Ｐゴシック" charset="-128"/>
                <a:cs typeface="+mn-cs"/>
              </a:defRPr>
            </a:lvl2pPr>
            <a:lvl3pPr marL="914400" algn="l" rtl="0" fontAlgn="base">
              <a:spcBef>
                <a:spcPct val="0"/>
              </a:spcBef>
              <a:spcAft>
                <a:spcPct val="0"/>
              </a:spcAft>
              <a:defRPr kumimoji="1" sz="1200" kern="1200">
                <a:solidFill>
                  <a:schemeClr val="tx1"/>
                </a:solidFill>
                <a:latin typeface="Arial" charset="0"/>
                <a:ea typeface="ＭＳ Ｐゴシック" charset="-128"/>
                <a:cs typeface="+mn-cs"/>
              </a:defRPr>
            </a:lvl3pPr>
            <a:lvl4pPr marL="1371600" algn="l" rtl="0" fontAlgn="base">
              <a:spcBef>
                <a:spcPct val="0"/>
              </a:spcBef>
              <a:spcAft>
                <a:spcPct val="0"/>
              </a:spcAft>
              <a:defRPr kumimoji="1" sz="1200" kern="1200">
                <a:solidFill>
                  <a:schemeClr val="tx1"/>
                </a:solidFill>
                <a:latin typeface="Arial" charset="0"/>
                <a:ea typeface="ＭＳ Ｐゴシック" charset="-128"/>
                <a:cs typeface="+mn-cs"/>
              </a:defRPr>
            </a:lvl4pPr>
            <a:lvl5pPr marL="1828800" algn="l" rtl="0" fontAlgn="base">
              <a:spcBef>
                <a:spcPct val="0"/>
              </a:spcBef>
              <a:spcAft>
                <a:spcPct val="0"/>
              </a:spcAft>
              <a:defRPr kumimoji="1" sz="1200" kern="1200">
                <a:solidFill>
                  <a:schemeClr val="tx1"/>
                </a:solidFill>
                <a:latin typeface="Arial" charset="0"/>
                <a:ea typeface="ＭＳ Ｐゴシック" charset="-128"/>
                <a:cs typeface="+mn-cs"/>
              </a:defRPr>
            </a:lvl5pPr>
            <a:lvl6pPr marL="2286000" algn="l" defTabSz="914400" rtl="0" eaLnBrk="1" latinLnBrk="0" hangingPunct="1">
              <a:defRPr kumimoji="1" sz="1200" kern="1200">
                <a:solidFill>
                  <a:schemeClr val="tx1"/>
                </a:solidFill>
                <a:latin typeface="Arial" charset="0"/>
                <a:ea typeface="ＭＳ Ｐゴシック" charset="-128"/>
                <a:cs typeface="+mn-cs"/>
              </a:defRPr>
            </a:lvl6pPr>
            <a:lvl7pPr marL="2743200" algn="l" defTabSz="914400" rtl="0" eaLnBrk="1" latinLnBrk="0" hangingPunct="1">
              <a:defRPr kumimoji="1" sz="1200" kern="1200">
                <a:solidFill>
                  <a:schemeClr val="tx1"/>
                </a:solidFill>
                <a:latin typeface="Arial" charset="0"/>
                <a:ea typeface="ＭＳ Ｐゴシック" charset="-128"/>
                <a:cs typeface="+mn-cs"/>
              </a:defRPr>
            </a:lvl7pPr>
            <a:lvl8pPr marL="3200400" algn="l" defTabSz="914400" rtl="0" eaLnBrk="1" latinLnBrk="0" hangingPunct="1">
              <a:defRPr kumimoji="1" sz="1200" kern="1200">
                <a:solidFill>
                  <a:schemeClr val="tx1"/>
                </a:solidFill>
                <a:latin typeface="Arial" charset="0"/>
                <a:ea typeface="ＭＳ Ｐゴシック" charset="-128"/>
                <a:cs typeface="+mn-cs"/>
              </a:defRPr>
            </a:lvl8pPr>
            <a:lvl9pPr marL="3657600" algn="l" defTabSz="914400" rtl="0" eaLnBrk="1" latinLnBrk="0" hangingPunct="1">
              <a:defRPr kumimoji="1" sz="1200" kern="1200">
                <a:solidFill>
                  <a:schemeClr val="tx1"/>
                </a:solidFill>
                <a:latin typeface="Arial" charset="0"/>
                <a:ea typeface="ＭＳ Ｐゴシック" charset="-128"/>
                <a:cs typeface="+mn-cs"/>
              </a:defRPr>
            </a:lvl9pPr>
          </a:lstStyle>
          <a:p>
            <a:pPr marL="0" marR="0" lvl="0" indent="0" algn="r" defTabSz="514350" rtl="0" eaLnBrk="1" fontAlgn="base" latinLnBrk="0" hangingPunct="1">
              <a:lnSpc>
                <a:spcPct val="100000"/>
              </a:lnSpc>
              <a:spcBef>
                <a:spcPct val="0"/>
              </a:spcBef>
              <a:spcAft>
                <a:spcPct val="0"/>
              </a:spcAft>
              <a:buClrTx/>
              <a:buSzTx/>
              <a:buFontTx/>
              <a:buNone/>
              <a:tabLst/>
              <a:defRPr/>
            </a:pPr>
            <a:fld id="{050776FD-7E44-4DD7-B66F-BCBA88E6D63E}" type="slidenum">
              <a:rPr kumimoji="1" lang="ja-JP" altLang="ja-JP" sz="591" b="0" i="0" u="none" strike="noStrike" kern="1200" cap="none" spc="0" normalizeH="0" baseline="0" noProof="0" smtClean="0">
                <a:ln>
                  <a:noFill/>
                </a:ln>
                <a:solidFill>
                  <a:srgbClr val="C2B7A8"/>
                </a:solidFill>
                <a:effectLst/>
                <a:uLnTx/>
                <a:uFillTx/>
                <a:latin typeface="Meiryo UI" panose="020B0604030504040204" pitchFamily="50" charset="-128"/>
                <a:ea typeface="Meiryo UI" panose="020B0604030504040204" pitchFamily="50" charset="-128"/>
              </a:rPr>
              <a:t>‹#›</a:t>
            </a:fld>
            <a:endParaRPr kumimoji="1" lang="ja-JP" altLang="ja-JP" sz="591" b="0" i="0" u="none" strike="noStrike" kern="1200" cap="none" spc="0" normalizeH="0" baseline="0" noProof="0">
              <a:ln>
                <a:noFill/>
              </a:ln>
              <a:solidFill>
                <a:srgbClr val="C2B7A8"/>
              </a:solidFill>
              <a:effectLst/>
              <a:uLnTx/>
              <a:uFillTx/>
              <a:latin typeface="Meiryo UI" panose="020B0604030504040204" pitchFamily="50" charset="-128"/>
              <a:ea typeface="Meiryo UI" panose="020B0604030504040204" pitchFamily="50" charset="-128"/>
            </a:endParaRPr>
          </a:p>
        </p:txBody>
      </p:sp>
      <p:sp>
        <p:nvSpPr>
          <p:cNvPr id="4" name="正方形/長方形 3"/>
          <p:cNvSpPr/>
          <p:nvPr userDrawn="1"/>
        </p:nvSpPr>
        <p:spPr>
          <a:xfrm>
            <a:off x="9805609" y="6686550"/>
            <a:ext cx="1761067" cy="115672"/>
          </a:xfrm>
          <a:prstGeom prst="rect">
            <a:avLst/>
          </a:prstGeom>
          <a:noFill/>
          <a:ln>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1" lang="en-US" altLang="ja-JP" sz="788" b="0" i="0" u="none" strike="noStrike" kern="1200" cap="none" spc="0" normalizeH="0" baseline="0" noProof="0" err="1">
                <a:ln>
                  <a:noFill/>
                </a:ln>
                <a:solidFill>
                  <a:srgbClr val="FF0000"/>
                </a:solidFill>
                <a:effectLst/>
                <a:uLnTx/>
                <a:uFillTx/>
                <a:latin typeface="Calibri"/>
                <a:ea typeface="ＭＳ Ｐゴシック" panose="020B0600070205080204" pitchFamily="50" charset="-128"/>
                <a:cs typeface="+mn-cs"/>
              </a:rPr>
              <a:t>Confidencial</a:t>
            </a:r>
            <a:endParaRPr kumimoji="1" lang="ja-JP" altLang="en-US" sz="788" b="0" i="0" u="none" strike="noStrike" kern="1200" cap="none" spc="0" normalizeH="0" baseline="0" noProof="0">
              <a:ln>
                <a:noFill/>
              </a:ln>
              <a:solidFill>
                <a:srgbClr val="FF0000"/>
              </a:solidFill>
              <a:effectLst/>
              <a:uLnTx/>
              <a:uFillTx/>
              <a:latin typeface="Calibri"/>
              <a:ea typeface="ＭＳ Ｐゴシック" panose="020B0600070205080204" pitchFamily="50" charset="-128"/>
              <a:cs typeface="+mn-cs"/>
            </a:endParaRPr>
          </a:p>
        </p:txBody>
      </p:sp>
    </p:spTree>
    <p:extLst>
      <p:ext uri="{BB962C8B-B14F-4D97-AF65-F5344CB8AC3E}">
        <p14:creationId xmlns:p14="http://schemas.microsoft.com/office/powerpoint/2010/main" val="3284190656"/>
      </p:ext>
    </p:extLst>
  </p:cSld>
  <p:clrMap bg1="lt1" tx1="dk1" bg2="lt2" tx2="dk2" accent1="accent1" accent2="accent2" accent3="accent3" accent4="accent4" accent5="accent5" accent6="accent6" hlink="hlink" folHlink="folHlink"/>
  <p:sldLayoutIdLst>
    <p:sldLayoutId id="2147483739" r:id="rId1"/>
    <p:sldLayoutId id="2147483740" r:id="rId2"/>
    <p:sldLayoutId id="2147483741" r:id="rId3"/>
    <p:sldLayoutId id="2147483742" r:id="rId4"/>
    <p:sldLayoutId id="2147483743" r:id="rId5"/>
  </p:sldLayoutIdLst>
  <p:hf hdr="0"/>
  <p:txStyles>
    <p:titleStyle>
      <a:lvl1pPr algn="l" defTabSz="257175" rtl="0" eaLnBrk="1" latinLnBrk="0" hangingPunct="1">
        <a:spcBef>
          <a:spcPct val="0"/>
        </a:spcBef>
        <a:buNone/>
        <a:defRPr kumimoji="1" sz="1350" kern="1200">
          <a:solidFill>
            <a:schemeClr val="tx1"/>
          </a:solidFill>
          <a:latin typeface="Meiryo UI" panose="020B0604030504040204" pitchFamily="50" charset="-128"/>
          <a:ea typeface="Meiryo UI" panose="020B0604030504040204" pitchFamily="50" charset="-128"/>
          <a:cs typeface="+mj-cs"/>
        </a:defRPr>
      </a:lvl1pPr>
    </p:titleStyle>
    <p:bodyStyle>
      <a:lvl1pPr marL="0" indent="0" algn="l" defTabSz="257175" rtl="0" eaLnBrk="1" latinLnBrk="0" hangingPunct="1">
        <a:spcBef>
          <a:spcPct val="20000"/>
        </a:spcBef>
        <a:buFont typeface="Arial"/>
        <a:buNone/>
        <a:defRPr kumimoji="1" sz="1013" kern="1200">
          <a:solidFill>
            <a:schemeClr val="tx1"/>
          </a:solidFill>
          <a:latin typeface="Meiryo UI" panose="020B0604030504040204" pitchFamily="50" charset="-128"/>
          <a:ea typeface="Meiryo UI" panose="020B0604030504040204" pitchFamily="50" charset="-128"/>
          <a:cs typeface="+mn-cs"/>
        </a:defRPr>
      </a:lvl1pPr>
      <a:lvl2pPr marL="322735" marR="0" indent="0" algn="l" defTabSz="257175" rtl="0" eaLnBrk="1" fontAlgn="auto" latinLnBrk="0" hangingPunct="1">
        <a:lnSpc>
          <a:spcPct val="100000"/>
        </a:lnSpc>
        <a:spcBef>
          <a:spcPct val="20000"/>
        </a:spcBef>
        <a:spcAft>
          <a:spcPts val="0"/>
        </a:spcAft>
        <a:buClrTx/>
        <a:buSzTx/>
        <a:buFont typeface="Arial"/>
        <a:buNone/>
        <a:tabLst/>
        <a:defRPr kumimoji="1" sz="900" kern="1200">
          <a:solidFill>
            <a:schemeClr val="tx1"/>
          </a:solidFill>
          <a:latin typeface="Meiryo UI" panose="020B0604030504040204" pitchFamily="50" charset="-128"/>
          <a:ea typeface="Meiryo UI" panose="020B0604030504040204" pitchFamily="50" charset="-128"/>
          <a:cs typeface="+mn-cs"/>
        </a:defRPr>
      </a:lvl2pPr>
      <a:lvl3pPr marL="642938" indent="-95175" algn="l" defTabSz="257175" rtl="0" eaLnBrk="1" latinLnBrk="0" hangingPunct="1">
        <a:spcBef>
          <a:spcPct val="20000"/>
        </a:spcBef>
        <a:buFont typeface="Arial"/>
        <a:buChar char="•"/>
        <a:defRPr kumimoji="1" sz="900" kern="1200">
          <a:solidFill>
            <a:schemeClr val="tx1"/>
          </a:solidFill>
          <a:latin typeface="Meiryo UI" panose="020B0604030504040204" pitchFamily="50" charset="-128"/>
          <a:ea typeface="Meiryo UI" panose="020B0604030504040204" pitchFamily="50" charset="-128"/>
          <a:cs typeface="+mn-cs"/>
        </a:defRPr>
      </a:lvl3pPr>
      <a:lvl4pPr marL="900113" indent="-95175" algn="l" defTabSz="257175" rtl="0" eaLnBrk="1" latinLnBrk="0" hangingPunct="1">
        <a:spcBef>
          <a:spcPct val="20000"/>
        </a:spcBef>
        <a:buFont typeface="Arial"/>
        <a:buChar char="•"/>
        <a:defRPr kumimoji="1" sz="900" kern="1200">
          <a:solidFill>
            <a:schemeClr val="tx1"/>
          </a:solidFill>
          <a:latin typeface="Meiryo UI" panose="020B0604030504040204" pitchFamily="50" charset="-128"/>
          <a:ea typeface="Meiryo UI" panose="020B0604030504040204" pitchFamily="50" charset="-128"/>
          <a:cs typeface="+mn-cs"/>
        </a:defRPr>
      </a:lvl4pPr>
      <a:lvl5pPr marL="1157288" indent="-95175" algn="l" defTabSz="257175" rtl="0" eaLnBrk="1" latinLnBrk="0" hangingPunct="1">
        <a:spcBef>
          <a:spcPct val="20000"/>
        </a:spcBef>
        <a:buFont typeface="Arial"/>
        <a:buChar char="•"/>
        <a:defRPr kumimoji="1" sz="900" kern="1200">
          <a:solidFill>
            <a:schemeClr val="tx1"/>
          </a:solidFill>
          <a:latin typeface="Meiryo UI" panose="020B0604030504040204" pitchFamily="50" charset="-128"/>
          <a:ea typeface="Meiryo UI" panose="020B0604030504040204" pitchFamily="50" charset="-128"/>
          <a:cs typeface="+mn-cs"/>
        </a:defRPr>
      </a:lvl5pPr>
      <a:lvl6pPr marL="1414463" indent="-128588" algn="l" defTabSz="257175" rtl="0" eaLnBrk="1" latinLnBrk="0" hangingPunct="1">
        <a:spcBef>
          <a:spcPct val="20000"/>
        </a:spcBef>
        <a:buFont typeface="Arial"/>
        <a:buChar char="•"/>
        <a:defRPr kumimoji="1" sz="1125" kern="1200">
          <a:solidFill>
            <a:schemeClr val="tx1"/>
          </a:solidFill>
          <a:latin typeface="+mn-lt"/>
          <a:ea typeface="+mn-ea"/>
          <a:cs typeface="+mn-cs"/>
        </a:defRPr>
      </a:lvl6pPr>
      <a:lvl7pPr marL="1671638" indent="-128588" algn="l" defTabSz="257175" rtl="0" eaLnBrk="1" latinLnBrk="0" hangingPunct="1">
        <a:spcBef>
          <a:spcPct val="20000"/>
        </a:spcBef>
        <a:buFont typeface="Arial"/>
        <a:buChar char="•"/>
        <a:defRPr kumimoji="1" sz="1125" kern="1200">
          <a:solidFill>
            <a:schemeClr val="tx1"/>
          </a:solidFill>
          <a:latin typeface="+mn-lt"/>
          <a:ea typeface="+mn-ea"/>
          <a:cs typeface="+mn-cs"/>
        </a:defRPr>
      </a:lvl7pPr>
      <a:lvl8pPr marL="1928813" indent="-128588" algn="l" defTabSz="257175" rtl="0" eaLnBrk="1" latinLnBrk="0" hangingPunct="1">
        <a:spcBef>
          <a:spcPct val="20000"/>
        </a:spcBef>
        <a:buFont typeface="Arial"/>
        <a:buChar char="•"/>
        <a:defRPr kumimoji="1" sz="1125" kern="1200">
          <a:solidFill>
            <a:schemeClr val="tx1"/>
          </a:solidFill>
          <a:latin typeface="+mn-lt"/>
          <a:ea typeface="+mn-ea"/>
          <a:cs typeface="+mn-cs"/>
        </a:defRPr>
      </a:lvl8pPr>
      <a:lvl9pPr marL="2185988" indent="-128588" algn="l" defTabSz="257175" rtl="0" eaLnBrk="1" latinLnBrk="0" hangingPunct="1">
        <a:spcBef>
          <a:spcPct val="20000"/>
        </a:spcBef>
        <a:buFont typeface="Arial"/>
        <a:buChar char="•"/>
        <a:defRPr kumimoji="1" sz="1125" kern="1200">
          <a:solidFill>
            <a:schemeClr val="tx1"/>
          </a:solidFill>
          <a:latin typeface="+mn-lt"/>
          <a:ea typeface="+mn-ea"/>
          <a:cs typeface="+mn-cs"/>
        </a:defRPr>
      </a:lvl9pPr>
    </p:bodyStyle>
    <p:otherStyle>
      <a:defPPr>
        <a:defRPr lang="ja-JP"/>
      </a:defPPr>
      <a:lvl1pPr marL="0" algn="l" defTabSz="257175" rtl="0" eaLnBrk="1" latinLnBrk="0" hangingPunct="1">
        <a:defRPr kumimoji="1" sz="1013" kern="1200">
          <a:solidFill>
            <a:schemeClr val="tx1"/>
          </a:solidFill>
          <a:latin typeface="+mn-lt"/>
          <a:ea typeface="+mn-ea"/>
          <a:cs typeface="+mn-cs"/>
        </a:defRPr>
      </a:lvl1pPr>
      <a:lvl2pPr marL="257175" algn="l" defTabSz="257175" rtl="0" eaLnBrk="1" latinLnBrk="0" hangingPunct="1">
        <a:defRPr kumimoji="1" sz="1013" kern="1200">
          <a:solidFill>
            <a:schemeClr val="tx1"/>
          </a:solidFill>
          <a:latin typeface="+mn-lt"/>
          <a:ea typeface="+mn-ea"/>
          <a:cs typeface="+mn-cs"/>
        </a:defRPr>
      </a:lvl2pPr>
      <a:lvl3pPr marL="514350" algn="l" defTabSz="257175" rtl="0" eaLnBrk="1" latinLnBrk="0" hangingPunct="1">
        <a:defRPr kumimoji="1" sz="1013" kern="1200">
          <a:solidFill>
            <a:schemeClr val="tx1"/>
          </a:solidFill>
          <a:latin typeface="+mn-lt"/>
          <a:ea typeface="+mn-ea"/>
          <a:cs typeface="+mn-cs"/>
        </a:defRPr>
      </a:lvl3pPr>
      <a:lvl4pPr marL="771525" algn="l" defTabSz="257175" rtl="0" eaLnBrk="1" latinLnBrk="0" hangingPunct="1">
        <a:defRPr kumimoji="1" sz="1013" kern="1200">
          <a:solidFill>
            <a:schemeClr val="tx1"/>
          </a:solidFill>
          <a:latin typeface="+mn-lt"/>
          <a:ea typeface="+mn-ea"/>
          <a:cs typeface="+mn-cs"/>
        </a:defRPr>
      </a:lvl4pPr>
      <a:lvl5pPr marL="1028700" algn="l" defTabSz="257175" rtl="0" eaLnBrk="1" latinLnBrk="0" hangingPunct="1">
        <a:defRPr kumimoji="1" sz="1013" kern="1200">
          <a:solidFill>
            <a:schemeClr val="tx1"/>
          </a:solidFill>
          <a:latin typeface="+mn-lt"/>
          <a:ea typeface="+mn-ea"/>
          <a:cs typeface="+mn-cs"/>
        </a:defRPr>
      </a:lvl5pPr>
      <a:lvl6pPr marL="1285875" algn="l" defTabSz="257175" rtl="0" eaLnBrk="1" latinLnBrk="0" hangingPunct="1">
        <a:defRPr kumimoji="1" sz="1013" kern="1200">
          <a:solidFill>
            <a:schemeClr val="tx1"/>
          </a:solidFill>
          <a:latin typeface="+mn-lt"/>
          <a:ea typeface="+mn-ea"/>
          <a:cs typeface="+mn-cs"/>
        </a:defRPr>
      </a:lvl6pPr>
      <a:lvl7pPr marL="1543050" algn="l" defTabSz="257175" rtl="0" eaLnBrk="1" latinLnBrk="0" hangingPunct="1">
        <a:defRPr kumimoji="1" sz="1013" kern="1200">
          <a:solidFill>
            <a:schemeClr val="tx1"/>
          </a:solidFill>
          <a:latin typeface="+mn-lt"/>
          <a:ea typeface="+mn-ea"/>
          <a:cs typeface="+mn-cs"/>
        </a:defRPr>
      </a:lvl7pPr>
      <a:lvl8pPr marL="1800225" algn="l" defTabSz="257175" rtl="0" eaLnBrk="1" latinLnBrk="0" hangingPunct="1">
        <a:defRPr kumimoji="1" sz="1013" kern="1200">
          <a:solidFill>
            <a:schemeClr val="tx1"/>
          </a:solidFill>
          <a:latin typeface="+mn-lt"/>
          <a:ea typeface="+mn-ea"/>
          <a:cs typeface="+mn-cs"/>
        </a:defRPr>
      </a:lvl8pPr>
      <a:lvl9pPr marL="2057400" algn="l" defTabSz="257175" rtl="0" eaLnBrk="1" latinLnBrk="0" hangingPunct="1">
        <a:defRPr kumimoji="1" sz="1013"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スライド番号プレースホルダー 5">
            <a:extLst>
              <a:ext uri="{FF2B5EF4-FFF2-40B4-BE49-F238E27FC236}">
                <a16:creationId xmlns:a16="http://schemas.microsoft.com/office/drawing/2014/main" id="{4D22EC2F-BE62-6F78-ABD3-87125E1F195A}"/>
              </a:ext>
            </a:extLst>
          </p:cNvPr>
          <p:cNvSpPr>
            <a:spLocks noGrp="1"/>
          </p:cNvSpPr>
          <p:nvPr>
            <p:ph type="sldNum" sz="quarter" idx="4"/>
          </p:nvPr>
        </p:nvSpPr>
        <p:spPr>
          <a:xfrm>
            <a:off x="11524630" y="6468878"/>
            <a:ext cx="555811" cy="289299"/>
          </a:xfrm>
          <a:prstGeom prst="rect">
            <a:avLst/>
          </a:prstGeom>
        </p:spPr>
        <p:txBody>
          <a:bodyPr lIns="95767" tIns="47884" rIns="95767" bIns="47884"/>
          <a:lstStyle>
            <a:lvl1pPr>
              <a:defRPr sz="1333"/>
            </a:lvl1pPr>
          </a:lstStyle>
          <a:p>
            <a:fld id="{2FF5E1DE-7B95-8A44-8552-65323269AE41}" type="slidenum">
              <a:rPr lang="ja-JP" altLang="en-US" smtClean="0"/>
              <a:pPr/>
              <a:t>‹#›</a:t>
            </a:fld>
            <a:endParaRPr lang="ja-JP" altLang="en-US"/>
          </a:p>
        </p:txBody>
      </p:sp>
    </p:spTree>
    <p:extLst>
      <p:ext uri="{BB962C8B-B14F-4D97-AF65-F5344CB8AC3E}">
        <p14:creationId xmlns:p14="http://schemas.microsoft.com/office/powerpoint/2010/main" val="2866886847"/>
      </p:ext>
    </p:extLst>
  </p:cSld>
  <p:clrMap bg1="lt1" tx1="dk1" bg2="lt2" tx2="dk2" accent1="accent1" accent2="accent2" accent3="accent3" accent4="accent4" accent5="accent5" accent6="accent6" hlink="hlink" folHlink="folHlink"/>
  <p:sldLayoutIdLst>
    <p:sldLayoutId id="2147483750" r:id="rId1"/>
    <p:sldLayoutId id="2147483751" r:id="rId2"/>
    <p:sldLayoutId id="2147483752" r:id="rId3"/>
    <p:sldLayoutId id="2147483753" r:id="rId4"/>
    <p:sldLayoutId id="2147483754" r:id="rId5"/>
    <p:sldLayoutId id="2147483755" r:id="rId6"/>
    <p:sldLayoutId id="2147483756" r:id="rId7"/>
    <p:sldLayoutId id="2147483757" r:id="rId8"/>
    <p:sldLayoutId id="2147483758" r:id="rId9"/>
    <p:sldLayoutId id="2147483759" r:id="rId10"/>
    <p:sldLayoutId id="2147483760" r:id="rId11"/>
    <p:sldLayoutId id="2147483761" r:id="rId12"/>
    <p:sldLayoutId id="2147483762" r:id="rId13"/>
    <p:sldLayoutId id="2147483763" r:id="rId14"/>
    <p:sldLayoutId id="2147483764" r:id="rId15"/>
    <p:sldLayoutId id="2147483786" r:id="rId16"/>
  </p:sldLayoutIdLst>
  <p:hf hdr="0"/>
  <p:txStyles>
    <p:titleStyle>
      <a:lvl1pPr algn="l" defTabSz="638335" rtl="0" eaLnBrk="1" latinLnBrk="0" hangingPunct="1">
        <a:spcBef>
          <a:spcPct val="0"/>
        </a:spcBef>
        <a:buNone/>
        <a:defRPr kumimoji="1" sz="3333" kern="1200">
          <a:solidFill>
            <a:schemeClr val="tx1"/>
          </a:solidFill>
          <a:latin typeface="ＭＳ Ｐゴシック"/>
          <a:ea typeface="+mj-ea"/>
          <a:cs typeface="+mj-cs"/>
        </a:defRPr>
      </a:lvl1pPr>
    </p:titleStyle>
    <p:bodyStyle>
      <a:lvl1pPr marL="0" indent="0" algn="l" defTabSz="638335" rtl="0" eaLnBrk="1" latinLnBrk="0" hangingPunct="1">
        <a:spcBef>
          <a:spcPct val="20000"/>
        </a:spcBef>
        <a:buFont typeface="Arial"/>
        <a:buNone/>
        <a:defRPr kumimoji="1" sz="2533" kern="1200">
          <a:solidFill>
            <a:schemeClr val="tx1"/>
          </a:solidFill>
          <a:latin typeface="ＭＳ Ｐゴシック"/>
          <a:ea typeface="+mn-ea"/>
          <a:cs typeface="+mn-cs"/>
        </a:defRPr>
      </a:lvl1pPr>
      <a:lvl2pPr marL="801060" marR="0" indent="0" algn="l" defTabSz="638335" rtl="0" eaLnBrk="1" fontAlgn="auto" latinLnBrk="0" hangingPunct="1">
        <a:lnSpc>
          <a:spcPct val="100000"/>
        </a:lnSpc>
        <a:spcBef>
          <a:spcPct val="20000"/>
        </a:spcBef>
        <a:spcAft>
          <a:spcPts val="0"/>
        </a:spcAft>
        <a:buClrTx/>
        <a:buSzTx/>
        <a:buFont typeface="Arial"/>
        <a:buNone/>
        <a:tabLst/>
        <a:defRPr kumimoji="1" sz="2266" kern="1200">
          <a:solidFill>
            <a:schemeClr val="tx1"/>
          </a:solidFill>
          <a:latin typeface="ＭＳ Ｐゴシック"/>
          <a:ea typeface="+mn-ea"/>
          <a:cs typeface="+mn-cs"/>
        </a:defRPr>
      </a:lvl2pPr>
      <a:lvl3pPr marL="1595837" indent="-236233" algn="l" defTabSz="638335" rtl="0" eaLnBrk="1" latinLnBrk="0" hangingPunct="1">
        <a:spcBef>
          <a:spcPct val="20000"/>
        </a:spcBef>
        <a:buFont typeface="Arial"/>
        <a:buChar char="•"/>
        <a:defRPr kumimoji="1" sz="2266" kern="1200">
          <a:solidFill>
            <a:schemeClr val="tx1"/>
          </a:solidFill>
          <a:latin typeface="ＭＳ Ｐゴシック"/>
          <a:ea typeface="+mn-ea"/>
          <a:cs typeface="+mn-cs"/>
        </a:defRPr>
      </a:lvl3pPr>
      <a:lvl4pPr marL="2234170" indent="-236233" algn="l" defTabSz="638335" rtl="0" eaLnBrk="1" latinLnBrk="0" hangingPunct="1">
        <a:spcBef>
          <a:spcPct val="20000"/>
        </a:spcBef>
        <a:buFont typeface="Arial"/>
        <a:buChar char="•"/>
        <a:defRPr kumimoji="1" sz="2266" kern="1200">
          <a:solidFill>
            <a:schemeClr val="tx1"/>
          </a:solidFill>
          <a:latin typeface="ＭＳ Ｐゴシック"/>
          <a:ea typeface="+mn-ea"/>
          <a:cs typeface="+mn-cs"/>
        </a:defRPr>
      </a:lvl4pPr>
      <a:lvl5pPr marL="2872505" indent="-236233" algn="l" defTabSz="638335" rtl="0" eaLnBrk="1" latinLnBrk="0" hangingPunct="1">
        <a:spcBef>
          <a:spcPct val="20000"/>
        </a:spcBef>
        <a:buFont typeface="Arial"/>
        <a:buChar char="•"/>
        <a:defRPr kumimoji="1" sz="2266" kern="1200">
          <a:solidFill>
            <a:schemeClr val="tx1"/>
          </a:solidFill>
          <a:latin typeface="ＭＳ Ｐゴシック"/>
          <a:ea typeface="+mn-ea"/>
          <a:cs typeface="+mn-cs"/>
        </a:defRPr>
      </a:lvl5pPr>
      <a:lvl6pPr marL="3510840" indent="-319167" algn="l" defTabSz="638335" rtl="0" eaLnBrk="1" latinLnBrk="0" hangingPunct="1">
        <a:spcBef>
          <a:spcPct val="20000"/>
        </a:spcBef>
        <a:buFont typeface="Arial"/>
        <a:buChar char="•"/>
        <a:defRPr kumimoji="1" sz="2800" kern="1200">
          <a:solidFill>
            <a:schemeClr val="tx1"/>
          </a:solidFill>
          <a:latin typeface="+mn-lt"/>
          <a:ea typeface="+mn-ea"/>
          <a:cs typeface="+mn-cs"/>
        </a:defRPr>
      </a:lvl6pPr>
      <a:lvl7pPr marL="4149172" indent="-319167" algn="l" defTabSz="638335" rtl="0" eaLnBrk="1" latinLnBrk="0" hangingPunct="1">
        <a:spcBef>
          <a:spcPct val="20000"/>
        </a:spcBef>
        <a:buFont typeface="Arial"/>
        <a:buChar char="•"/>
        <a:defRPr kumimoji="1" sz="2800" kern="1200">
          <a:solidFill>
            <a:schemeClr val="tx1"/>
          </a:solidFill>
          <a:latin typeface="+mn-lt"/>
          <a:ea typeface="+mn-ea"/>
          <a:cs typeface="+mn-cs"/>
        </a:defRPr>
      </a:lvl7pPr>
      <a:lvl8pPr marL="4787509" indent="-319167" algn="l" defTabSz="638335" rtl="0" eaLnBrk="1" latinLnBrk="0" hangingPunct="1">
        <a:spcBef>
          <a:spcPct val="20000"/>
        </a:spcBef>
        <a:buFont typeface="Arial"/>
        <a:buChar char="•"/>
        <a:defRPr kumimoji="1" sz="2800" kern="1200">
          <a:solidFill>
            <a:schemeClr val="tx1"/>
          </a:solidFill>
          <a:latin typeface="+mn-lt"/>
          <a:ea typeface="+mn-ea"/>
          <a:cs typeface="+mn-cs"/>
        </a:defRPr>
      </a:lvl8pPr>
      <a:lvl9pPr marL="5425844" indent="-319167" algn="l" defTabSz="638335" rtl="0" eaLnBrk="1" latinLnBrk="0" hangingPunct="1">
        <a:spcBef>
          <a:spcPct val="20000"/>
        </a:spcBef>
        <a:buFont typeface="Arial"/>
        <a:buChar char="•"/>
        <a:defRPr kumimoji="1" sz="2800" kern="1200">
          <a:solidFill>
            <a:schemeClr val="tx1"/>
          </a:solidFill>
          <a:latin typeface="+mn-lt"/>
          <a:ea typeface="+mn-ea"/>
          <a:cs typeface="+mn-cs"/>
        </a:defRPr>
      </a:lvl9pPr>
    </p:bodyStyle>
    <p:otherStyle>
      <a:defPPr>
        <a:defRPr lang="ja-JP"/>
      </a:defPPr>
      <a:lvl1pPr marL="0" algn="l" defTabSz="638335" rtl="0" eaLnBrk="1" latinLnBrk="0" hangingPunct="1">
        <a:defRPr kumimoji="1" sz="2533" kern="1200">
          <a:solidFill>
            <a:schemeClr val="tx1"/>
          </a:solidFill>
          <a:latin typeface="+mn-lt"/>
          <a:ea typeface="+mn-ea"/>
          <a:cs typeface="+mn-cs"/>
        </a:defRPr>
      </a:lvl1pPr>
      <a:lvl2pPr marL="638335" algn="l" defTabSz="638335" rtl="0" eaLnBrk="1" latinLnBrk="0" hangingPunct="1">
        <a:defRPr kumimoji="1" sz="2533" kern="1200">
          <a:solidFill>
            <a:schemeClr val="tx1"/>
          </a:solidFill>
          <a:latin typeface="+mn-lt"/>
          <a:ea typeface="+mn-ea"/>
          <a:cs typeface="+mn-cs"/>
        </a:defRPr>
      </a:lvl2pPr>
      <a:lvl3pPr marL="1276669" algn="l" defTabSz="638335" rtl="0" eaLnBrk="1" latinLnBrk="0" hangingPunct="1">
        <a:defRPr kumimoji="1" sz="2533" kern="1200">
          <a:solidFill>
            <a:schemeClr val="tx1"/>
          </a:solidFill>
          <a:latin typeface="+mn-lt"/>
          <a:ea typeface="+mn-ea"/>
          <a:cs typeface="+mn-cs"/>
        </a:defRPr>
      </a:lvl3pPr>
      <a:lvl4pPr marL="1915003" algn="l" defTabSz="638335" rtl="0" eaLnBrk="1" latinLnBrk="0" hangingPunct="1">
        <a:defRPr kumimoji="1" sz="2533" kern="1200">
          <a:solidFill>
            <a:schemeClr val="tx1"/>
          </a:solidFill>
          <a:latin typeface="+mn-lt"/>
          <a:ea typeface="+mn-ea"/>
          <a:cs typeface="+mn-cs"/>
        </a:defRPr>
      </a:lvl4pPr>
      <a:lvl5pPr marL="2553338" algn="l" defTabSz="638335" rtl="0" eaLnBrk="1" latinLnBrk="0" hangingPunct="1">
        <a:defRPr kumimoji="1" sz="2533" kern="1200">
          <a:solidFill>
            <a:schemeClr val="tx1"/>
          </a:solidFill>
          <a:latin typeface="+mn-lt"/>
          <a:ea typeface="+mn-ea"/>
          <a:cs typeface="+mn-cs"/>
        </a:defRPr>
      </a:lvl5pPr>
      <a:lvl6pPr marL="3191671" algn="l" defTabSz="638335" rtl="0" eaLnBrk="1" latinLnBrk="0" hangingPunct="1">
        <a:defRPr kumimoji="1" sz="2533" kern="1200">
          <a:solidFill>
            <a:schemeClr val="tx1"/>
          </a:solidFill>
          <a:latin typeface="+mn-lt"/>
          <a:ea typeface="+mn-ea"/>
          <a:cs typeface="+mn-cs"/>
        </a:defRPr>
      </a:lvl6pPr>
      <a:lvl7pPr marL="3830007" algn="l" defTabSz="638335" rtl="0" eaLnBrk="1" latinLnBrk="0" hangingPunct="1">
        <a:defRPr kumimoji="1" sz="2533" kern="1200">
          <a:solidFill>
            <a:schemeClr val="tx1"/>
          </a:solidFill>
          <a:latin typeface="+mn-lt"/>
          <a:ea typeface="+mn-ea"/>
          <a:cs typeface="+mn-cs"/>
        </a:defRPr>
      </a:lvl7pPr>
      <a:lvl8pPr marL="4468342" algn="l" defTabSz="638335" rtl="0" eaLnBrk="1" latinLnBrk="0" hangingPunct="1">
        <a:defRPr kumimoji="1" sz="2533" kern="1200">
          <a:solidFill>
            <a:schemeClr val="tx1"/>
          </a:solidFill>
          <a:latin typeface="+mn-lt"/>
          <a:ea typeface="+mn-ea"/>
          <a:cs typeface="+mn-cs"/>
        </a:defRPr>
      </a:lvl8pPr>
      <a:lvl9pPr marL="5106676" algn="l" defTabSz="638335" rtl="0" eaLnBrk="1" latinLnBrk="0" hangingPunct="1">
        <a:defRPr kumimoji="1" sz="2533"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2"/>
            </p:custDataLst>
          </p:nvPr>
        </p:nvGraphicFramePr>
        <p:xfrm>
          <a:off x="1955" y="1588"/>
          <a:ext cx="1955" cy="1588"/>
        </p:xfrm>
        <a:graphic>
          <a:graphicData uri="http://schemas.openxmlformats.org/presentationml/2006/ole">
            <mc:AlternateContent xmlns:mc="http://schemas.openxmlformats.org/markup-compatibility/2006">
              <mc:Choice xmlns:v="urn:schemas-microsoft-com:vml" Requires="v">
                <p:oleObj name="think-cell スライド" r:id="rId13" imgW="498" imgH="499" progId="TCLayout.ActiveDocument.1">
                  <p:embed/>
                </p:oleObj>
              </mc:Choice>
              <mc:Fallback>
                <p:oleObj name="think-cell スライド" r:id="rId13" imgW="498" imgH="499" progId="TCLayout.ActiveDocument.1">
                  <p:embed/>
                  <p:pic>
                    <p:nvPicPr>
                      <p:cNvPr id="4" name="オブジェクト 3" hidden="1"/>
                      <p:cNvPicPr/>
                      <p:nvPr/>
                    </p:nvPicPr>
                    <p:blipFill>
                      <a:blip r:embed="rId14"/>
                      <a:stretch>
                        <a:fillRect/>
                      </a:stretch>
                    </p:blipFill>
                    <p:spPr>
                      <a:xfrm>
                        <a:off x="1955" y="1588"/>
                        <a:ext cx="1955" cy="1588"/>
                      </a:xfrm>
                      <a:prstGeom prst="rect">
                        <a:avLst/>
                      </a:prstGeom>
                    </p:spPr>
                  </p:pic>
                </p:oleObj>
              </mc:Fallback>
            </mc:AlternateContent>
          </a:graphicData>
        </a:graphic>
      </p:graphicFrame>
      <p:pic>
        <p:nvPicPr>
          <p:cNvPr id="14" name="図 13"/>
          <p:cNvPicPr>
            <a:picLocks noChangeAspect="1"/>
          </p:cNvPicPr>
          <p:nvPr/>
        </p:nvPicPr>
        <p:blipFill>
          <a:blip r:embed="rId15">
            <a:extLst>
              <a:ext uri="{28A0092B-C50C-407E-A947-70E740481C1C}">
                <a14:useLocalDpi xmlns:a14="http://schemas.microsoft.com/office/drawing/2010/main"/>
              </a:ext>
            </a:extLst>
          </a:blip>
          <a:stretch>
            <a:fillRect/>
          </a:stretch>
        </p:blipFill>
        <p:spPr>
          <a:xfrm>
            <a:off x="1" y="0"/>
            <a:ext cx="12192000" cy="6858000"/>
          </a:xfrm>
          <a:prstGeom prst="rect">
            <a:avLst/>
          </a:prstGeom>
        </p:spPr>
      </p:pic>
      <p:cxnSp>
        <p:nvCxnSpPr>
          <p:cNvPr id="9" name="直線コネクタ 8"/>
          <p:cNvCxnSpPr/>
          <p:nvPr/>
        </p:nvCxnSpPr>
        <p:spPr>
          <a:xfrm>
            <a:off x="240001" y="817200"/>
            <a:ext cx="11711999" cy="0"/>
          </a:xfrm>
          <a:prstGeom prst="line">
            <a:avLst/>
          </a:prstGeom>
          <a:ln>
            <a:solidFill>
              <a:srgbClr val="C7000D"/>
            </a:solidFill>
          </a:ln>
          <a:effectLst/>
        </p:spPr>
        <p:style>
          <a:lnRef idx="2">
            <a:schemeClr val="accent1"/>
          </a:lnRef>
          <a:fillRef idx="0">
            <a:schemeClr val="accent1"/>
          </a:fillRef>
          <a:effectRef idx="1">
            <a:schemeClr val="accent1"/>
          </a:effectRef>
          <a:fontRef idx="minor">
            <a:schemeClr val="tx1"/>
          </a:fontRef>
        </p:style>
      </p:cxnSp>
      <p:sp>
        <p:nvSpPr>
          <p:cNvPr id="8" name="Rectangle 6"/>
          <p:cNvSpPr txBox="1">
            <a:spLocks noChangeArrowheads="1"/>
          </p:cNvSpPr>
          <p:nvPr userDrawn="1"/>
        </p:nvSpPr>
        <p:spPr>
          <a:xfrm>
            <a:off x="9880600" y="6381750"/>
            <a:ext cx="2311400" cy="476250"/>
          </a:xfrm>
          <a:prstGeom prst="rect">
            <a:avLst/>
          </a:prstGeom>
        </p:spPr>
        <p:txBody>
          <a:bodyPr anchor="b"/>
          <a:lstStyle>
            <a:defPPr>
              <a:defRPr lang="ja-JP"/>
            </a:defPPr>
            <a:lvl1pPr algn="l" rtl="0" fontAlgn="base">
              <a:spcBef>
                <a:spcPct val="0"/>
              </a:spcBef>
              <a:spcAft>
                <a:spcPct val="0"/>
              </a:spcAft>
              <a:defRPr kumimoji="1" kern="1200">
                <a:solidFill>
                  <a:schemeClr val="tx1"/>
                </a:solidFill>
                <a:latin typeface="Arial" charset="0"/>
                <a:ea typeface="ＭＳ Ｐゴシック" charset="-128"/>
                <a:cs typeface="+mn-cs"/>
              </a:defRPr>
            </a:lvl1pPr>
            <a:lvl2pPr marL="455613" indent="1588" algn="l" rtl="0" fontAlgn="base">
              <a:spcBef>
                <a:spcPct val="0"/>
              </a:spcBef>
              <a:spcAft>
                <a:spcPct val="0"/>
              </a:spcAft>
              <a:defRPr kumimoji="1" kern="1200">
                <a:solidFill>
                  <a:schemeClr val="tx1"/>
                </a:solidFill>
                <a:latin typeface="Arial" charset="0"/>
                <a:ea typeface="ＭＳ Ｐゴシック" charset="-128"/>
                <a:cs typeface="+mn-cs"/>
              </a:defRPr>
            </a:lvl2pPr>
            <a:lvl3pPr marL="912813" indent="1588" algn="l" rtl="0" fontAlgn="base">
              <a:spcBef>
                <a:spcPct val="0"/>
              </a:spcBef>
              <a:spcAft>
                <a:spcPct val="0"/>
              </a:spcAft>
              <a:defRPr kumimoji="1" kern="1200">
                <a:solidFill>
                  <a:schemeClr val="tx1"/>
                </a:solidFill>
                <a:latin typeface="Arial" charset="0"/>
                <a:ea typeface="ＭＳ Ｐゴシック" charset="-128"/>
                <a:cs typeface="+mn-cs"/>
              </a:defRPr>
            </a:lvl3pPr>
            <a:lvl4pPr marL="1370013" indent="1588" algn="l" rtl="0" fontAlgn="base">
              <a:spcBef>
                <a:spcPct val="0"/>
              </a:spcBef>
              <a:spcAft>
                <a:spcPct val="0"/>
              </a:spcAft>
              <a:defRPr kumimoji="1" kern="1200">
                <a:solidFill>
                  <a:schemeClr val="tx1"/>
                </a:solidFill>
                <a:latin typeface="Arial" charset="0"/>
                <a:ea typeface="ＭＳ Ｐゴシック" charset="-128"/>
                <a:cs typeface="+mn-cs"/>
              </a:defRPr>
            </a:lvl4pPr>
            <a:lvl5pPr marL="1825625" indent="3175" algn="l" rtl="0" fontAlgn="base">
              <a:spcBef>
                <a:spcPct val="0"/>
              </a:spcBef>
              <a:spcAft>
                <a:spcPct val="0"/>
              </a:spcAft>
              <a:defRPr kumimoji="1" kern="1200">
                <a:solidFill>
                  <a:schemeClr val="tx1"/>
                </a:solidFill>
                <a:latin typeface="Arial" charset="0"/>
                <a:ea typeface="ＭＳ Ｐゴシック" charset="-128"/>
                <a:cs typeface="+mn-cs"/>
              </a:defRPr>
            </a:lvl5pPr>
            <a:lvl6pPr marL="2286000" algn="l" defTabSz="914400" rtl="0" eaLnBrk="1" latinLnBrk="0" hangingPunct="1">
              <a:defRPr kumimoji="1" kern="1200">
                <a:solidFill>
                  <a:schemeClr val="tx1"/>
                </a:solidFill>
                <a:latin typeface="Arial" charset="0"/>
                <a:ea typeface="ＭＳ Ｐゴシック" charset="-128"/>
                <a:cs typeface="+mn-cs"/>
              </a:defRPr>
            </a:lvl6pPr>
            <a:lvl7pPr marL="2743200" algn="l" defTabSz="914400" rtl="0" eaLnBrk="1" latinLnBrk="0" hangingPunct="1">
              <a:defRPr kumimoji="1" kern="1200">
                <a:solidFill>
                  <a:schemeClr val="tx1"/>
                </a:solidFill>
                <a:latin typeface="Arial" charset="0"/>
                <a:ea typeface="ＭＳ Ｐゴシック" charset="-128"/>
                <a:cs typeface="+mn-cs"/>
              </a:defRPr>
            </a:lvl7pPr>
            <a:lvl8pPr marL="3200400" algn="l" defTabSz="914400" rtl="0" eaLnBrk="1" latinLnBrk="0" hangingPunct="1">
              <a:defRPr kumimoji="1" kern="1200">
                <a:solidFill>
                  <a:schemeClr val="tx1"/>
                </a:solidFill>
                <a:latin typeface="Arial" charset="0"/>
                <a:ea typeface="ＭＳ Ｐゴシック" charset="-128"/>
                <a:cs typeface="+mn-cs"/>
              </a:defRPr>
            </a:lvl8pPr>
            <a:lvl9pPr marL="3657600" algn="l" defTabSz="914400" rtl="0" eaLnBrk="1" latinLnBrk="0" hangingPunct="1">
              <a:defRPr kumimoji="1" kern="1200">
                <a:solidFill>
                  <a:schemeClr val="tx1"/>
                </a:solidFill>
                <a:latin typeface="Arial" charset="0"/>
                <a:ea typeface="ＭＳ Ｐゴシック" charset="-128"/>
                <a:cs typeface="+mn-cs"/>
              </a:defRPr>
            </a:lvl9pPr>
          </a:lstStyle>
          <a:p>
            <a:pPr marL="0" marR="0" lvl="0" indent="0" algn="r" defTabSz="457200" rtl="0" eaLnBrk="1" fontAlgn="base" latinLnBrk="0" hangingPunct="1">
              <a:lnSpc>
                <a:spcPct val="100000"/>
              </a:lnSpc>
              <a:spcBef>
                <a:spcPct val="0"/>
              </a:spcBef>
              <a:spcAft>
                <a:spcPct val="0"/>
              </a:spcAft>
              <a:buClrTx/>
              <a:buSzTx/>
              <a:buFontTx/>
              <a:buNone/>
              <a:tabLst/>
              <a:defRPr/>
            </a:pPr>
            <a:fld id="{267E2449-8C87-459E-80D8-E3A80916420A}" type="slidenum">
              <a:rPr kumimoji="1" lang="en-US" altLang="ja-JP" sz="1400" b="0" i="0" u="none" strike="noStrike" kern="1200" cap="none" spc="0" normalizeH="0" baseline="0" noProof="0" smtClean="0">
                <a:ln>
                  <a:noFill/>
                </a:ln>
                <a:solidFill>
                  <a:srgbClr val="000000"/>
                </a:solidFill>
                <a:effectLst/>
                <a:uLnTx/>
                <a:uFillTx/>
                <a:latin typeface="Arial" panose="020B0604020202020204" pitchFamily="34" charset="0"/>
                <a:ea typeface="Meiryo UI" panose="020B0604030504040204" pitchFamily="50" charset="-128"/>
                <a:cs typeface="Arial" panose="020B0604020202020204" pitchFamily="34" charset="0"/>
              </a:rPr>
              <a:pPr marL="0" marR="0" lvl="0" indent="0" algn="r" defTabSz="457200" rtl="0" eaLnBrk="1" fontAlgn="base" latinLnBrk="0" hangingPunct="1">
                <a:lnSpc>
                  <a:spcPct val="100000"/>
                </a:lnSpc>
                <a:spcBef>
                  <a:spcPct val="0"/>
                </a:spcBef>
                <a:spcAft>
                  <a:spcPct val="0"/>
                </a:spcAft>
                <a:buClrTx/>
                <a:buSzTx/>
                <a:buFontTx/>
                <a:buNone/>
                <a:tabLst/>
                <a:defRPr/>
              </a:pPr>
              <a:t>‹#›</a:t>
            </a:fld>
            <a:endParaRPr kumimoji="1" lang="en-US" altLang="ja-JP" sz="1108" b="0" i="0" u="none" strike="noStrike" kern="1200" cap="none" spc="0" normalizeH="0" baseline="0" noProof="0">
              <a:ln>
                <a:noFill/>
              </a:ln>
              <a:solidFill>
                <a:srgbClr val="000000"/>
              </a:solidFill>
              <a:effectLst/>
              <a:uLnTx/>
              <a:uFillTx/>
              <a:latin typeface="Arial" panose="020B0604020202020204" pitchFamily="34" charset="0"/>
              <a:ea typeface="Meiryo UI" panose="020B0604030504040204" pitchFamily="50" charset="-128"/>
              <a:cs typeface="Arial" panose="020B0604020202020204" pitchFamily="34" charset="0"/>
            </a:endParaRPr>
          </a:p>
        </p:txBody>
      </p:sp>
    </p:spTree>
    <p:extLst>
      <p:ext uri="{BB962C8B-B14F-4D97-AF65-F5344CB8AC3E}">
        <p14:creationId xmlns:p14="http://schemas.microsoft.com/office/powerpoint/2010/main" val="3724223710"/>
      </p:ext>
    </p:extLst>
  </p:cSld>
  <p:clrMap bg1="lt1" tx1="dk1" bg2="lt2" tx2="dk2" accent1="accent1" accent2="accent2" accent3="accent3" accent4="accent4" accent5="accent5" accent6="accent6" hlink="hlink" folHlink="folHlink"/>
  <p:sldLayoutIdLst>
    <p:sldLayoutId id="2147483776" r:id="rId1"/>
    <p:sldLayoutId id="2147483777" r:id="rId2"/>
    <p:sldLayoutId id="2147483778" r:id="rId3"/>
    <p:sldLayoutId id="2147483779" r:id="rId4"/>
    <p:sldLayoutId id="2147483780" r:id="rId5"/>
    <p:sldLayoutId id="2147483781" r:id="rId6"/>
    <p:sldLayoutId id="2147483782" r:id="rId7"/>
    <p:sldLayoutId id="2147483783" r:id="rId8"/>
    <p:sldLayoutId id="2147483784" r:id="rId9"/>
    <p:sldLayoutId id="2147483785" r:id="rId10"/>
  </p:sldLayoutIdLst>
  <p:hf hdr="0"/>
  <p:txStyles>
    <p:titleStyle>
      <a:lvl1pPr algn="l" defTabSz="457200" rtl="0" eaLnBrk="1" latinLnBrk="0" hangingPunct="1">
        <a:spcBef>
          <a:spcPct val="0"/>
        </a:spcBef>
        <a:buNone/>
        <a:defRPr kumimoji="1" sz="2400" kern="1200">
          <a:solidFill>
            <a:schemeClr val="tx1"/>
          </a:solidFill>
          <a:latin typeface="ＭＳ Ｐゴシック"/>
          <a:ea typeface="+mj-ea"/>
          <a:cs typeface="+mj-cs"/>
        </a:defRPr>
      </a:lvl1pPr>
    </p:titleStyle>
    <p:bodyStyle>
      <a:lvl1pPr marL="0" indent="0" algn="l" defTabSz="457200" rtl="0" eaLnBrk="1" latinLnBrk="0" hangingPunct="1">
        <a:spcBef>
          <a:spcPct val="20000"/>
        </a:spcBef>
        <a:buFont typeface="Arial"/>
        <a:buNone/>
        <a:defRPr kumimoji="1" sz="1800" kern="1200">
          <a:solidFill>
            <a:schemeClr val="tx1"/>
          </a:solidFill>
          <a:latin typeface="ＭＳ Ｐゴシック"/>
          <a:ea typeface="+mn-ea"/>
          <a:cs typeface="+mn-cs"/>
        </a:defRPr>
      </a:lvl1pPr>
      <a:lvl2pPr marL="573750" marR="0" indent="0" algn="l" defTabSz="457200" rtl="0" eaLnBrk="1" fontAlgn="auto" latinLnBrk="0" hangingPunct="1">
        <a:lnSpc>
          <a:spcPct val="100000"/>
        </a:lnSpc>
        <a:spcBef>
          <a:spcPct val="20000"/>
        </a:spcBef>
        <a:spcAft>
          <a:spcPts val="0"/>
        </a:spcAft>
        <a:buClrTx/>
        <a:buSzTx/>
        <a:buFont typeface="Arial"/>
        <a:buNone/>
        <a:tabLst/>
        <a:defRPr kumimoji="1" sz="1600" kern="1200">
          <a:solidFill>
            <a:schemeClr val="tx1"/>
          </a:solidFill>
          <a:latin typeface="ＭＳ Ｐゴシック"/>
          <a:ea typeface="+mn-ea"/>
          <a:cs typeface="+mn-cs"/>
        </a:defRPr>
      </a:lvl2pPr>
      <a:lvl3pPr marL="1143000" indent="-169200" algn="l" defTabSz="457200" rtl="0" eaLnBrk="1" latinLnBrk="0" hangingPunct="1">
        <a:spcBef>
          <a:spcPct val="20000"/>
        </a:spcBef>
        <a:buFont typeface="Arial"/>
        <a:buChar char="•"/>
        <a:defRPr kumimoji="1" sz="1600" kern="1200">
          <a:solidFill>
            <a:schemeClr val="tx1"/>
          </a:solidFill>
          <a:latin typeface="ＭＳ Ｐゴシック"/>
          <a:ea typeface="+mn-ea"/>
          <a:cs typeface="+mn-cs"/>
        </a:defRPr>
      </a:lvl3pPr>
      <a:lvl4pPr marL="1600200" indent="-169200" algn="l" defTabSz="457200" rtl="0" eaLnBrk="1" latinLnBrk="0" hangingPunct="1">
        <a:spcBef>
          <a:spcPct val="20000"/>
        </a:spcBef>
        <a:buFont typeface="Arial"/>
        <a:buChar char="•"/>
        <a:defRPr kumimoji="1" sz="1600" kern="1200">
          <a:solidFill>
            <a:schemeClr val="tx1"/>
          </a:solidFill>
          <a:latin typeface="ＭＳ Ｐゴシック"/>
          <a:ea typeface="+mn-ea"/>
          <a:cs typeface="+mn-cs"/>
        </a:defRPr>
      </a:lvl4pPr>
      <a:lvl5pPr marL="2057400" indent="-169200" algn="l" defTabSz="457200" rtl="0" eaLnBrk="1" latinLnBrk="0" hangingPunct="1">
        <a:spcBef>
          <a:spcPct val="20000"/>
        </a:spcBef>
        <a:buFont typeface="Arial"/>
        <a:buChar char="•"/>
        <a:defRPr kumimoji="1" sz="1600" kern="1200">
          <a:solidFill>
            <a:schemeClr val="tx1"/>
          </a:solidFill>
          <a:latin typeface="ＭＳ Ｐゴシック"/>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p:bodyStyle>
    <p:otherStyle>
      <a:defPPr>
        <a:defRPr lang="ja-JP"/>
      </a:defPPr>
      <a:lvl1pPr marL="0" algn="l" defTabSz="457200" rtl="0" eaLnBrk="1" latinLnBrk="0" hangingPunct="1">
        <a:defRPr kumimoji="1" sz="1800" kern="1200">
          <a:solidFill>
            <a:schemeClr val="tx1"/>
          </a:solidFill>
          <a:latin typeface="+mn-lt"/>
          <a:ea typeface="+mn-ea"/>
          <a:cs typeface="+mn-cs"/>
        </a:defRPr>
      </a:lvl1pPr>
      <a:lvl2pPr marL="457200" algn="l" defTabSz="457200" rtl="0" eaLnBrk="1" latinLnBrk="0" hangingPunct="1">
        <a:defRPr kumimoji="1" sz="1800" kern="1200">
          <a:solidFill>
            <a:schemeClr val="tx1"/>
          </a:solidFill>
          <a:latin typeface="+mn-lt"/>
          <a:ea typeface="+mn-ea"/>
          <a:cs typeface="+mn-cs"/>
        </a:defRPr>
      </a:lvl2pPr>
      <a:lvl3pPr marL="914400" algn="l" defTabSz="457200" rtl="0" eaLnBrk="1" latinLnBrk="0" hangingPunct="1">
        <a:defRPr kumimoji="1" sz="1800" kern="1200">
          <a:solidFill>
            <a:schemeClr val="tx1"/>
          </a:solidFill>
          <a:latin typeface="+mn-lt"/>
          <a:ea typeface="+mn-ea"/>
          <a:cs typeface="+mn-cs"/>
        </a:defRPr>
      </a:lvl3pPr>
      <a:lvl4pPr marL="1371600" algn="l" defTabSz="457200" rtl="0" eaLnBrk="1" latinLnBrk="0" hangingPunct="1">
        <a:defRPr kumimoji="1" sz="1800" kern="1200">
          <a:solidFill>
            <a:schemeClr val="tx1"/>
          </a:solidFill>
          <a:latin typeface="+mn-lt"/>
          <a:ea typeface="+mn-ea"/>
          <a:cs typeface="+mn-cs"/>
        </a:defRPr>
      </a:lvl4pPr>
      <a:lvl5pPr marL="1828800" algn="l" defTabSz="457200" rtl="0" eaLnBrk="1" latinLnBrk="0" hangingPunct="1">
        <a:defRPr kumimoji="1" sz="1800" kern="1200">
          <a:solidFill>
            <a:schemeClr val="tx1"/>
          </a:solidFill>
          <a:latin typeface="+mn-lt"/>
          <a:ea typeface="+mn-ea"/>
          <a:cs typeface="+mn-cs"/>
        </a:defRPr>
      </a:lvl5pPr>
      <a:lvl6pPr marL="2286000" algn="l" defTabSz="457200" rtl="0" eaLnBrk="1" latinLnBrk="0" hangingPunct="1">
        <a:defRPr kumimoji="1" sz="1800" kern="1200">
          <a:solidFill>
            <a:schemeClr val="tx1"/>
          </a:solidFill>
          <a:latin typeface="+mn-lt"/>
          <a:ea typeface="+mn-ea"/>
          <a:cs typeface="+mn-cs"/>
        </a:defRPr>
      </a:lvl6pPr>
      <a:lvl7pPr marL="2743200" algn="l" defTabSz="457200" rtl="0" eaLnBrk="1" latinLnBrk="0" hangingPunct="1">
        <a:defRPr kumimoji="1" sz="1800" kern="1200">
          <a:solidFill>
            <a:schemeClr val="tx1"/>
          </a:solidFill>
          <a:latin typeface="+mn-lt"/>
          <a:ea typeface="+mn-ea"/>
          <a:cs typeface="+mn-cs"/>
        </a:defRPr>
      </a:lvl7pPr>
      <a:lvl8pPr marL="3200400" algn="l" defTabSz="457200" rtl="0" eaLnBrk="1" latinLnBrk="0" hangingPunct="1">
        <a:defRPr kumimoji="1" sz="1800" kern="1200">
          <a:solidFill>
            <a:schemeClr val="tx1"/>
          </a:solidFill>
          <a:latin typeface="+mn-lt"/>
          <a:ea typeface="+mn-ea"/>
          <a:cs typeface="+mn-cs"/>
        </a:defRPr>
      </a:lvl8pPr>
      <a:lvl9pPr marL="3657600" algn="l" defTabSz="457200" rtl="0" eaLnBrk="1" latinLnBrk="0" hangingPunct="1">
        <a:defRPr kumimoji="1"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chemeClr val="accent5">
            <a:lumMod val="20000"/>
            <a:lumOff val="80000"/>
          </a:schemeClr>
        </a:solidFill>
        <a:effectLst/>
      </p:bgPr>
    </p:bg>
    <p:spTree>
      <p:nvGrpSpPr>
        <p:cNvPr id="1" name=""/>
        <p:cNvGrpSpPr/>
        <p:nvPr/>
      </p:nvGrpSpPr>
      <p:grpSpPr>
        <a:xfrm>
          <a:off x="0" y="0"/>
          <a:ext cx="0" cy="0"/>
          <a:chOff x="0" y="0"/>
          <a:chExt cx="0" cy="0"/>
        </a:xfrm>
      </p:grpSpPr>
      <p:pic>
        <p:nvPicPr>
          <p:cNvPr id="14" name="図 13"/>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2" name="タイトル プレースホルダー 1"/>
          <p:cNvSpPr>
            <a:spLocks noGrp="1"/>
          </p:cNvSpPr>
          <p:nvPr>
            <p:ph type="title"/>
          </p:nvPr>
        </p:nvSpPr>
        <p:spPr>
          <a:xfrm>
            <a:off x="368603" y="194236"/>
            <a:ext cx="9791452" cy="540000"/>
          </a:xfrm>
          <a:prstGeom prst="rect">
            <a:avLst/>
          </a:prstGeom>
        </p:spPr>
        <p:txBody>
          <a:bodyPr vert="horz" lIns="91092" tIns="45547" rIns="91092" bIns="45547" rtlCol="0" anchor="t">
            <a:normAutofit/>
          </a:bodyPr>
          <a:lstStyle/>
          <a:p>
            <a:endParaRPr kumimoji="1" lang="ja-JP" altLang="en-US"/>
          </a:p>
        </p:txBody>
      </p:sp>
      <p:sp>
        <p:nvSpPr>
          <p:cNvPr id="3" name="テキスト プレースホルダー 2"/>
          <p:cNvSpPr>
            <a:spLocks noGrp="1"/>
          </p:cNvSpPr>
          <p:nvPr>
            <p:ph type="body" idx="1"/>
          </p:nvPr>
        </p:nvSpPr>
        <p:spPr>
          <a:xfrm>
            <a:off x="368599" y="903600"/>
            <a:ext cx="11583452" cy="5540400"/>
          </a:xfrm>
          <a:prstGeom prst="rect">
            <a:avLst/>
          </a:prstGeom>
        </p:spPr>
        <p:txBody>
          <a:bodyPr vert="horz" lIns="91092" tIns="45547" rIns="91092" bIns="45547" rtlCol="0">
            <a:normAutofit/>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cxnSp>
        <p:nvCxnSpPr>
          <p:cNvPr id="9" name="直線コネクタ 8"/>
          <p:cNvCxnSpPr/>
          <p:nvPr/>
        </p:nvCxnSpPr>
        <p:spPr>
          <a:xfrm>
            <a:off x="240015" y="817200"/>
            <a:ext cx="11711999" cy="0"/>
          </a:xfrm>
          <a:prstGeom prst="line">
            <a:avLst/>
          </a:prstGeom>
          <a:ln>
            <a:solidFill>
              <a:srgbClr val="C7000D"/>
            </a:solidFill>
          </a:ln>
          <a:effectLst/>
        </p:spPr>
        <p:style>
          <a:lnRef idx="2">
            <a:schemeClr val="accent1"/>
          </a:lnRef>
          <a:fillRef idx="0">
            <a:schemeClr val="accent1"/>
          </a:fillRef>
          <a:effectRef idx="1">
            <a:schemeClr val="accent1"/>
          </a:effectRef>
          <a:fontRef idx="minor">
            <a:schemeClr val="tx1"/>
          </a:fontRef>
        </p:style>
      </p:cxnSp>
      <p:sp>
        <p:nvSpPr>
          <p:cNvPr id="6" name="スライド番号プレースホルダー 5">
            <a:extLst>
              <a:ext uri="{FF2B5EF4-FFF2-40B4-BE49-F238E27FC236}">
                <a16:creationId xmlns:a16="http://schemas.microsoft.com/office/drawing/2014/main" id="{244ACD2B-646E-449C-9EFA-9E5809536041}"/>
              </a:ext>
            </a:extLst>
          </p:cNvPr>
          <p:cNvSpPr>
            <a:spLocks noGrp="1"/>
          </p:cNvSpPr>
          <p:nvPr>
            <p:ph type="sldNum" sz="quarter" idx="4"/>
          </p:nvPr>
        </p:nvSpPr>
        <p:spPr>
          <a:xfrm>
            <a:off x="11072000" y="575345"/>
            <a:ext cx="880000" cy="289299"/>
          </a:xfrm>
          <a:prstGeom prst="rect">
            <a:avLst/>
          </a:prstGeom>
        </p:spPr>
        <p:txBody>
          <a:bodyPr vert="horz" lIns="91440" tIns="45720" rIns="91440" bIns="45720" rtlCol="0" anchor="ctr"/>
          <a:lstStyle>
            <a:lvl1pPr algn="r">
              <a:defRPr sz="1400">
                <a:solidFill>
                  <a:schemeClr val="tx1"/>
                </a:solidFill>
                <a:latin typeface="Arial" pitchFamily="34" charset="0"/>
                <a:cs typeface="Arial" pitchFamily="34" charset="0"/>
              </a:defRPr>
            </a:lvl1pPr>
          </a:lstStyle>
          <a:p>
            <a:pPr marL="0" marR="0" lvl="0" indent="0" algn="r" defTabSz="457200" rtl="0" eaLnBrk="1" fontAlgn="auto" latinLnBrk="0" hangingPunct="1">
              <a:lnSpc>
                <a:spcPct val="100000"/>
              </a:lnSpc>
              <a:spcBef>
                <a:spcPts val="0"/>
              </a:spcBef>
              <a:spcAft>
                <a:spcPts val="0"/>
              </a:spcAft>
              <a:buClrTx/>
              <a:buSzTx/>
              <a:buFontTx/>
              <a:buNone/>
              <a:tabLst/>
              <a:defRPr/>
            </a:pPr>
            <a:fld id="{2FF5E1DE-7B95-8A44-8552-65323269AE41}" type="slidenum">
              <a:rPr kumimoji="1" lang="ja-JP" altLang="en-US" sz="1400" b="0" i="0" u="none" strike="noStrike" kern="1200" cap="none" spc="0" normalizeH="0" baseline="0" noProof="0" smtClean="0">
                <a:ln>
                  <a:noFill/>
                </a:ln>
                <a:solidFill>
                  <a:srgbClr val="000000"/>
                </a:solidFill>
                <a:effectLst/>
                <a:uLnTx/>
                <a:uFillTx/>
                <a:latin typeface="Arial" pitchFamily="34" charset="0"/>
                <a:ea typeface="ＭＳ Ｐゴシック" pitchFamily="50" charset="-128"/>
                <a:cs typeface="Arial" pitchFamily="34" charset="0"/>
              </a:rPr>
              <a:pPr marL="0" marR="0" lvl="0" indent="0" algn="r" defTabSz="457200" rtl="0" eaLnBrk="1" fontAlgn="auto" latinLnBrk="0" hangingPunct="1">
                <a:lnSpc>
                  <a:spcPct val="100000"/>
                </a:lnSpc>
                <a:spcBef>
                  <a:spcPts val="0"/>
                </a:spcBef>
                <a:spcAft>
                  <a:spcPts val="0"/>
                </a:spcAft>
                <a:buClrTx/>
                <a:buSzTx/>
                <a:buFontTx/>
                <a:buNone/>
                <a:tabLst/>
                <a:defRPr/>
              </a:pPr>
              <a:t>‹#›</a:t>
            </a:fld>
            <a:endParaRPr kumimoji="1" lang="ja-JP" altLang="en-US" sz="1400" b="0" i="0" u="none" strike="noStrike" kern="1200" cap="none" spc="0" normalizeH="0" baseline="0" noProof="0">
              <a:ln>
                <a:noFill/>
              </a:ln>
              <a:solidFill>
                <a:srgbClr val="000000"/>
              </a:solidFill>
              <a:effectLst/>
              <a:uLnTx/>
              <a:uFillTx/>
              <a:latin typeface="Arial" pitchFamily="34" charset="0"/>
              <a:ea typeface="ＭＳ Ｐゴシック" pitchFamily="50" charset="-128"/>
              <a:cs typeface="Arial" pitchFamily="34" charset="0"/>
            </a:endParaRPr>
          </a:p>
        </p:txBody>
      </p:sp>
    </p:spTree>
    <p:extLst>
      <p:ext uri="{BB962C8B-B14F-4D97-AF65-F5344CB8AC3E}">
        <p14:creationId xmlns:p14="http://schemas.microsoft.com/office/powerpoint/2010/main" val="453690688"/>
      </p:ext>
    </p:extLst>
  </p:cSld>
  <p:clrMap bg1="lt1" tx1="dk1" bg2="lt2" tx2="dk2" accent1="accent1" accent2="accent2" accent3="accent3" accent4="accent4" accent5="accent5" accent6="accent6" hlink="hlink" folHlink="folHlink"/>
  <p:sldLayoutIdLst>
    <p:sldLayoutId id="2147483788" r:id="rId1"/>
    <p:sldLayoutId id="2147483789" r:id="rId2"/>
  </p:sldLayoutIdLst>
  <p:hf sldNum="0" hdr="0" ftr="0" dt="0"/>
  <p:txStyles>
    <p:titleStyle>
      <a:lvl1pPr algn="l" defTabSz="560575" rtl="0" eaLnBrk="1" latinLnBrk="0" hangingPunct="1">
        <a:spcBef>
          <a:spcPct val="0"/>
        </a:spcBef>
        <a:buNone/>
        <a:defRPr kumimoji="1" sz="2955" kern="1200">
          <a:solidFill>
            <a:schemeClr val="tx1"/>
          </a:solidFill>
          <a:latin typeface="BIZ UDPゴシック" panose="020B0400000000000000" pitchFamily="50" charset="-128"/>
          <a:ea typeface="BIZ UDPゴシック" panose="020B0400000000000000" pitchFamily="50" charset="-128"/>
          <a:cs typeface="+mj-cs"/>
        </a:defRPr>
      </a:lvl1pPr>
    </p:titleStyle>
    <p:bodyStyle>
      <a:lvl1pPr marL="0" indent="0" algn="l" defTabSz="560575" rtl="0" eaLnBrk="1" latinLnBrk="0" hangingPunct="1">
        <a:spcBef>
          <a:spcPct val="20000"/>
        </a:spcBef>
        <a:buFont typeface="Arial"/>
        <a:buNone/>
        <a:defRPr kumimoji="1" sz="2215" kern="1200">
          <a:solidFill>
            <a:schemeClr val="tx1"/>
          </a:solidFill>
          <a:latin typeface="BIZ UDPゴシック" panose="020B0400000000000000" pitchFamily="50" charset="-128"/>
          <a:ea typeface="BIZ UDPゴシック" panose="020B0400000000000000" pitchFamily="50" charset="-128"/>
          <a:cs typeface="+mn-cs"/>
        </a:defRPr>
      </a:lvl1pPr>
      <a:lvl2pPr marL="703468" marR="0" indent="0" algn="l" defTabSz="560575" rtl="0" eaLnBrk="1" fontAlgn="auto" latinLnBrk="0" hangingPunct="1">
        <a:lnSpc>
          <a:spcPct val="100000"/>
        </a:lnSpc>
        <a:spcBef>
          <a:spcPct val="20000"/>
        </a:spcBef>
        <a:spcAft>
          <a:spcPts val="0"/>
        </a:spcAft>
        <a:buClrTx/>
        <a:buSzTx/>
        <a:buFont typeface="Arial"/>
        <a:buNone/>
        <a:tabLst/>
        <a:defRPr kumimoji="1" sz="1969" kern="1200">
          <a:solidFill>
            <a:schemeClr val="tx1"/>
          </a:solidFill>
          <a:latin typeface="BIZ UDPゴシック" panose="020B0400000000000000" pitchFamily="50" charset="-128"/>
          <a:ea typeface="BIZ UDPゴシック" panose="020B0400000000000000" pitchFamily="50" charset="-128"/>
          <a:cs typeface="+mn-cs"/>
        </a:defRPr>
      </a:lvl2pPr>
      <a:lvl3pPr marL="1401448" indent="-207467" algn="l" defTabSz="560575" rtl="0" eaLnBrk="1" latinLnBrk="0" hangingPunct="1">
        <a:spcBef>
          <a:spcPct val="20000"/>
        </a:spcBef>
        <a:buFont typeface="Arial"/>
        <a:buChar char="•"/>
        <a:defRPr kumimoji="1" sz="1969" kern="1200">
          <a:solidFill>
            <a:schemeClr val="tx1"/>
          </a:solidFill>
          <a:latin typeface="BIZ UDPゴシック" panose="020B0400000000000000" pitchFamily="50" charset="-128"/>
          <a:ea typeface="BIZ UDPゴシック" panose="020B0400000000000000" pitchFamily="50" charset="-128"/>
          <a:cs typeface="+mn-cs"/>
        </a:defRPr>
      </a:lvl3pPr>
      <a:lvl4pPr marL="1962020" indent="-207467" algn="l" defTabSz="560575" rtl="0" eaLnBrk="1" latinLnBrk="0" hangingPunct="1">
        <a:spcBef>
          <a:spcPct val="20000"/>
        </a:spcBef>
        <a:buFont typeface="Arial"/>
        <a:buChar char="•"/>
        <a:defRPr kumimoji="1" sz="1969" kern="1200">
          <a:solidFill>
            <a:schemeClr val="tx1"/>
          </a:solidFill>
          <a:latin typeface="BIZ UDPゴシック" panose="020B0400000000000000" pitchFamily="50" charset="-128"/>
          <a:ea typeface="BIZ UDPゴシック" panose="020B0400000000000000" pitchFamily="50" charset="-128"/>
          <a:cs typeface="+mn-cs"/>
        </a:defRPr>
      </a:lvl4pPr>
      <a:lvl5pPr marL="2522597" indent="-207467" algn="l" defTabSz="560575" rtl="0" eaLnBrk="1" latinLnBrk="0" hangingPunct="1">
        <a:spcBef>
          <a:spcPct val="20000"/>
        </a:spcBef>
        <a:buFont typeface="Arial"/>
        <a:buChar char="•"/>
        <a:defRPr kumimoji="1" sz="1969" kern="1200">
          <a:solidFill>
            <a:schemeClr val="tx1"/>
          </a:solidFill>
          <a:latin typeface="BIZ UDPゴシック" panose="020B0400000000000000" pitchFamily="50" charset="-128"/>
          <a:ea typeface="BIZ UDPゴシック" panose="020B0400000000000000" pitchFamily="50" charset="-128"/>
          <a:cs typeface="+mn-cs"/>
        </a:defRPr>
      </a:lvl5pPr>
      <a:lvl6pPr marL="3083179" indent="-280290" algn="l" defTabSz="560575" rtl="0" eaLnBrk="1" latinLnBrk="0" hangingPunct="1">
        <a:spcBef>
          <a:spcPct val="20000"/>
        </a:spcBef>
        <a:buFont typeface="Arial"/>
        <a:buChar char="•"/>
        <a:defRPr kumimoji="1" sz="2463" kern="1200">
          <a:solidFill>
            <a:schemeClr val="tx1"/>
          </a:solidFill>
          <a:latin typeface="+mn-lt"/>
          <a:ea typeface="+mn-ea"/>
          <a:cs typeface="+mn-cs"/>
        </a:defRPr>
      </a:lvl6pPr>
      <a:lvl7pPr marL="3643752" indent="-280290" algn="l" defTabSz="560575" rtl="0" eaLnBrk="1" latinLnBrk="0" hangingPunct="1">
        <a:spcBef>
          <a:spcPct val="20000"/>
        </a:spcBef>
        <a:buFont typeface="Arial"/>
        <a:buChar char="•"/>
        <a:defRPr kumimoji="1" sz="2463" kern="1200">
          <a:solidFill>
            <a:schemeClr val="tx1"/>
          </a:solidFill>
          <a:latin typeface="+mn-lt"/>
          <a:ea typeface="+mn-ea"/>
          <a:cs typeface="+mn-cs"/>
        </a:defRPr>
      </a:lvl7pPr>
      <a:lvl8pPr marL="4204334" indent="-280290" algn="l" defTabSz="560575" rtl="0" eaLnBrk="1" latinLnBrk="0" hangingPunct="1">
        <a:spcBef>
          <a:spcPct val="20000"/>
        </a:spcBef>
        <a:buFont typeface="Arial"/>
        <a:buChar char="•"/>
        <a:defRPr kumimoji="1" sz="2463" kern="1200">
          <a:solidFill>
            <a:schemeClr val="tx1"/>
          </a:solidFill>
          <a:latin typeface="+mn-lt"/>
          <a:ea typeface="+mn-ea"/>
          <a:cs typeface="+mn-cs"/>
        </a:defRPr>
      </a:lvl8pPr>
      <a:lvl9pPr marL="4764908" indent="-280290" algn="l" defTabSz="560575" rtl="0" eaLnBrk="1" latinLnBrk="0" hangingPunct="1">
        <a:spcBef>
          <a:spcPct val="20000"/>
        </a:spcBef>
        <a:buFont typeface="Arial"/>
        <a:buChar char="•"/>
        <a:defRPr kumimoji="1" sz="2463" kern="1200">
          <a:solidFill>
            <a:schemeClr val="tx1"/>
          </a:solidFill>
          <a:latin typeface="+mn-lt"/>
          <a:ea typeface="+mn-ea"/>
          <a:cs typeface="+mn-cs"/>
        </a:defRPr>
      </a:lvl9pPr>
    </p:bodyStyle>
    <p:otherStyle>
      <a:defPPr>
        <a:defRPr lang="ja-JP"/>
      </a:defPPr>
      <a:lvl1pPr marL="0" algn="l" defTabSz="560575" rtl="0" eaLnBrk="1" latinLnBrk="0" hangingPunct="1">
        <a:defRPr kumimoji="1" sz="2215" kern="1200">
          <a:solidFill>
            <a:schemeClr val="tx1"/>
          </a:solidFill>
          <a:latin typeface="+mn-lt"/>
          <a:ea typeface="+mn-ea"/>
          <a:cs typeface="+mn-cs"/>
        </a:defRPr>
      </a:lvl1pPr>
      <a:lvl2pPr marL="560575" algn="l" defTabSz="560575" rtl="0" eaLnBrk="1" latinLnBrk="0" hangingPunct="1">
        <a:defRPr kumimoji="1" sz="2215" kern="1200">
          <a:solidFill>
            <a:schemeClr val="tx1"/>
          </a:solidFill>
          <a:latin typeface="+mn-lt"/>
          <a:ea typeface="+mn-ea"/>
          <a:cs typeface="+mn-cs"/>
        </a:defRPr>
      </a:lvl2pPr>
      <a:lvl3pPr marL="1121155" algn="l" defTabSz="560575" rtl="0" eaLnBrk="1" latinLnBrk="0" hangingPunct="1">
        <a:defRPr kumimoji="1" sz="2215" kern="1200">
          <a:solidFill>
            <a:schemeClr val="tx1"/>
          </a:solidFill>
          <a:latin typeface="+mn-lt"/>
          <a:ea typeface="+mn-ea"/>
          <a:cs typeface="+mn-cs"/>
        </a:defRPr>
      </a:lvl3pPr>
      <a:lvl4pPr marL="1681731" algn="l" defTabSz="560575" rtl="0" eaLnBrk="1" latinLnBrk="0" hangingPunct="1">
        <a:defRPr kumimoji="1" sz="2215" kern="1200">
          <a:solidFill>
            <a:schemeClr val="tx1"/>
          </a:solidFill>
          <a:latin typeface="+mn-lt"/>
          <a:ea typeface="+mn-ea"/>
          <a:cs typeface="+mn-cs"/>
        </a:defRPr>
      </a:lvl4pPr>
      <a:lvl5pPr marL="2242309" algn="l" defTabSz="560575" rtl="0" eaLnBrk="1" latinLnBrk="0" hangingPunct="1">
        <a:defRPr kumimoji="1" sz="2215" kern="1200">
          <a:solidFill>
            <a:schemeClr val="tx1"/>
          </a:solidFill>
          <a:latin typeface="+mn-lt"/>
          <a:ea typeface="+mn-ea"/>
          <a:cs typeface="+mn-cs"/>
        </a:defRPr>
      </a:lvl5pPr>
      <a:lvl6pPr marL="2802887" algn="l" defTabSz="560575" rtl="0" eaLnBrk="1" latinLnBrk="0" hangingPunct="1">
        <a:defRPr kumimoji="1" sz="2215" kern="1200">
          <a:solidFill>
            <a:schemeClr val="tx1"/>
          </a:solidFill>
          <a:latin typeface="+mn-lt"/>
          <a:ea typeface="+mn-ea"/>
          <a:cs typeface="+mn-cs"/>
        </a:defRPr>
      </a:lvl6pPr>
      <a:lvl7pPr marL="3363465" algn="l" defTabSz="560575" rtl="0" eaLnBrk="1" latinLnBrk="0" hangingPunct="1">
        <a:defRPr kumimoji="1" sz="2215" kern="1200">
          <a:solidFill>
            <a:schemeClr val="tx1"/>
          </a:solidFill>
          <a:latin typeface="+mn-lt"/>
          <a:ea typeface="+mn-ea"/>
          <a:cs typeface="+mn-cs"/>
        </a:defRPr>
      </a:lvl7pPr>
      <a:lvl8pPr marL="3924038" algn="l" defTabSz="560575" rtl="0" eaLnBrk="1" latinLnBrk="0" hangingPunct="1">
        <a:defRPr kumimoji="1" sz="2215" kern="1200">
          <a:solidFill>
            <a:schemeClr val="tx1"/>
          </a:solidFill>
          <a:latin typeface="+mn-lt"/>
          <a:ea typeface="+mn-ea"/>
          <a:cs typeface="+mn-cs"/>
        </a:defRPr>
      </a:lvl8pPr>
      <a:lvl9pPr marL="4484619" algn="l" defTabSz="560575" rtl="0" eaLnBrk="1" latinLnBrk="0" hangingPunct="1">
        <a:defRPr kumimoji="1" sz="2215"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77.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77.xml"/></Relationships>
</file>

<file path=ppt/slides/_rels/slide3.xml.rels><?xml version="1.0" encoding="UTF-8" standalone="yes"?>
<Relationships xmlns="http://schemas.openxmlformats.org/package/2006/relationships"><Relationship Id="rId8" Type="http://schemas.openxmlformats.org/officeDocument/2006/relationships/image" Target="../media/image25.svg"/><Relationship Id="rId13" Type="http://schemas.openxmlformats.org/officeDocument/2006/relationships/image" Target="../media/image30.png"/><Relationship Id="rId18" Type="http://schemas.openxmlformats.org/officeDocument/2006/relationships/image" Target="../media/image35.svg"/><Relationship Id="rId3" Type="http://schemas.openxmlformats.org/officeDocument/2006/relationships/image" Target="../media/image20.png"/><Relationship Id="rId7" Type="http://schemas.openxmlformats.org/officeDocument/2006/relationships/image" Target="../media/image24.png"/><Relationship Id="rId12" Type="http://schemas.openxmlformats.org/officeDocument/2006/relationships/image" Target="../media/image29.svg"/><Relationship Id="rId17" Type="http://schemas.openxmlformats.org/officeDocument/2006/relationships/image" Target="../media/image34.png"/><Relationship Id="rId2" Type="http://schemas.openxmlformats.org/officeDocument/2006/relationships/notesSlide" Target="../notesSlides/notesSlide3.xml"/><Relationship Id="rId16" Type="http://schemas.openxmlformats.org/officeDocument/2006/relationships/image" Target="../media/image33.png"/><Relationship Id="rId20" Type="http://schemas.openxmlformats.org/officeDocument/2006/relationships/image" Target="../media/image37.svg"/><Relationship Id="rId1" Type="http://schemas.openxmlformats.org/officeDocument/2006/relationships/slideLayout" Target="../slideLayouts/slideLayout77.xml"/><Relationship Id="rId6" Type="http://schemas.openxmlformats.org/officeDocument/2006/relationships/image" Target="../media/image23.png"/><Relationship Id="rId11" Type="http://schemas.openxmlformats.org/officeDocument/2006/relationships/image" Target="../media/image28.png"/><Relationship Id="rId5" Type="http://schemas.openxmlformats.org/officeDocument/2006/relationships/image" Target="../media/image22.png"/><Relationship Id="rId15" Type="http://schemas.openxmlformats.org/officeDocument/2006/relationships/image" Target="../media/image32.png"/><Relationship Id="rId10" Type="http://schemas.openxmlformats.org/officeDocument/2006/relationships/image" Target="../media/image27.svg"/><Relationship Id="rId19" Type="http://schemas.openxmlformats.org/officeDocument/2006/relationships/image" Target="../media/image36.png"/><Relationship Id="rId4" Type="http://schemas.openxmlformats.org/officeDocument/2006/relationships/image" Target="../media/image21.png"/><Relationship Id="rId9" Type="http://schemas.openxmlformats.org/officeDocument/2006/relationships/image" Target="../media/image26.png"/><Relationship Id="rId14" Type="http://schemas.openxmlformats.org/officeDocument/2006/relationships/image" Target="../media/image31.png"/></Relationships>
</file>

<file path=ppt/slides/_rels/slide4.xml.rels><?xml version="1.0" encoding="UTF-8" standalone="yes"?>
<Relationships xmlns="http://schemas.openxmlformats.org/package/2006/relationships"><Relationship Id="rId8" Type="http://schemas.openxmlformats.org/officeDocument/2006/relationships/image" Target="../media/image42.png"/><Relationship Id="rId3" Type="http://schemas.openxmlformats.org/officeDocument/2006/relationships/image" Target="../media/image38.png"/><Relationship Id="rId7" Type="http://schemas.openxmlformats.org/officeDocument/2006/relationships/image" Target="../media/image41.svg"/><Relationship Id="rId2" Type="http://schemas.openxmlformats.org/officeDocument/2006/relationships/notesSlide" Target="../notesSlides/notesSlide4.xml"/><Relationship Id="rId1" Type="http://schemas.openxmlformats.org/officeDocument/2006/relationships/slideLayout" Target="../slideLayouts/slideLayout89.xml"/><Relationship Id="rId6" Type="http://schemas.openxmlformats.org/officeDocument/2006/relationships/image" Target="../media/image40.png"/><Relationship Id="rId5" Type="http://schemas.openxmlformats.org/officeDocument/2006/relationships/image" Target="../media/image39.png"/><Relationship Id="rId4" Type="http://schemas.microsoft.com/office/2007/relationships/hdphoto" Target="../media/hdphoto1.wdp"/></Relationships>
</file>

<file path=ppt/slides/_rels/slide5.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5.xml"/><Relationship Id="rId1" Type="http://schemas.openxmlformats.org/officeDocument/2006/relationships/slideLayout" Target="../slideLayouts/slideLayout89.xml"/><Relationship Id="rId6" Type="http://schemas.openxmlformats.org/officeDocument/2006/relationships/image" Target="../media/image44.png"/><Relationship Id="rId5" Type="http://schemas.openxmlformats.org/officeDocument/2006/relationships/image" Target="../media/image39.png"/><Relationship Id="rId4" Type="http://schemas.microsoft.com/office/2007/relationships/hdphoto" Target="../media/hdphoto2.wdp"/></Relationships>
</file>

<file path=ppt/slides/_rels/slide6.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Layout" Target="../slideLayouts/slideLayout94.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77.xml"/></Relationships>
</file>

<file path=ppt/slides/_rels/slide8.xml.rels><?xml version="1.0" encoding="UTF-8" standalone="yes"?>
<Relationships xmlns="http://schemas.openxmlformats.org/package/2006/relationships"><Relationship Id="rId8" Type="http://schemas.openxmlformats.org/officeDocument/2006/relationships/image" Target="../media/image20.png"/><Relationship Id="rId13" Type="http://schemas.openxmlformats.org/officeDocument/2006/relationships/image" Target="../media/image52.png"/><Relationship Id="rId18" Type="http://schemas.openxmlformats.org/officeDocument/2006/relationships/image" Target="../media/image57.svg"/><Relationship Id="rId3" Type="http://schemas.openxmlformats.org/officeDocument/2006/relationships/image" Target="../media/image46.png"/><Relationship Id="rId7" Type="http://schemas.openxmlformats.org/officeDocument/2006/relationships/image" Target="../media/image50.png"/><Relationship Id="rId12" Type="http://schemas.openxmlformats.org/officeDocument/2006/relationships/image" Target="../media/image23.png"/><Relationship Id="rId17" Type="http://schemas.openxmlformats.org/officeDocument/2006/relationships/image" Target="../media/image56.png"/><Relationship Id="rId2" Type="http://schemas.openxmlformats.org/officeDocument/2006/relationships/notesSlide" Target="../notesSlides/notesSlide6.xml"/><Relationship Id="rId16" Type="http://schemas.openxmlformats.org/officeDocument/2006/relationships/image" Target="../media/image55.png"/><Relationship Id="rId1" Type="http://schemas.openxmlformats.org/officeDocument/2006/relationships/slideLayout" Target="../slideLayouts/slideLayout77.xml"/><Relationship Id="rId6" Type="http://schemas.openxmlformats.org/officeDocument/2006/relationships/image" Target="../media/image49.png"/><Relationship Id="rId11" Type="http://schemas.openxmlformats.org/officeDocument/2006/relationships/image" Target="../media/image22.png"/><Relationship Id="rId5" Type="http://schemas.openxmlformats.org/officeDocument/2006/relationships/image" Target="../media/image48.png"/><Relationship Id="rId15" Type="http://schemas.openxmlformats.org/officeDocument/2006/relationships/image" Target="../media/image54.svg"/><Relationship Id="rId10" Type="http://schemas.openxmlformats.org/officeDocument/2006/relationships/image" Target="../media/image21.png"/><Relationship Id="rId4" Type="http://schemas.openxmlformats.org/officeDocument/2006/relationships/image" Target="../media/image47.png"/><Relationship Id="rId9" Type="http://schemas.openxmlformats.org/officeDocument/2006/relationships/image" Target="../media/image51.png"/><Relationship Id="rId14" Type="http://schemas.openxmlformats.org/officeDocument/2006/relationships/image" Target="../media/image53.png"/></Relationships>
</file>

<file path=ppt/slides/_rels/slide9.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image" Target="../media/image58.png"/><Relationship Id="rId1" Type="http://schemas.openxmlformats.org/officeDocument/2006/relationships/slideLayout" Target="../slideLayouts/slideLayout7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D910054-3CB3-8058-49CD-9363867F9C3C}"/>
            </a:ext>
          </a:extLst>
        </p:cNvPr>
        <p:cNvGrpSpPr/>
        <p:nvPr/>
      </p:nvGrpSpPr>
      <p:grpSpPr>
        <a:xfrm>
          <a:off x="0" y="0"/>
          <a:ext cx="0" cy="0"/>
          <a:chOff x="0" y="0"/>
          <a:chExt cx="0" cy="0"/>
        </a:xfrm>
      </p:grpSpPr>
      <p:sp>
        <p:nvSpPr>
          <p:cNvPr id="11" name="タイトル 10">
            <a:extLst>
              <a:ext uri="{FF2B5EF4-FFF2-40B4-BE49-F238E27FC236}">
                <a16:creationId xmlns:a16="http://schemas.microsoft.com/office/drawing/2014/main" id="{C6BEA8A3-404C-372B-11F8-21CA4246DF85}"/>
              </a:ext>
            </a:extLst>
          </p:cNvPr>
          <p:cNvSpPr>
            <a:spLocks noGrp="1"/>
          </p:cNvSpPr>
          <p:nvPr>
            <p:ph type="title"/>
          </p:nvPr>
        </p:nvSpPr>
        <p:spPr/>
        <p:txBody>
          <a:bodyPr/>
          <a:lstStyle/>
          <a:p>
            <a:r>
              <a:rPr lang="ja-JP" altLang="en-US" sz="2400"/>
              <a:t>４．</a:t>
            </a:r>
            <a:r>
              <a:rPr lang="en-US" altLang="ja-JP" sz="2400"/>
              <a:t>【</a:t>
            </a:r>
            <a:r>
              <a:rPr lang="ja-JP" altLang="en-US" sz="2400"/>
              <a:t>サマリ</a:t>
            </a:r>
            <a:r>
              <a:rPr lang="en-US" altLang="ja-JP" sz="2400"/>
              <a:t>】</a:t>
            </a:r>
            <a:r>
              <a:rPr lang="ja-JP" altLang="en-US" sz="2400"/>
              <a:t>デジタルバディとデジ棚の連携により実現すること</a:t>
            </a:r>
          </a:p>
        </p:txBody>
      </p:sp>
      <p:sp>
        <p:nvSpPr>
          <p:cNvPr id="109" name="コンテンツ プレースホルダー 3">
            <a:extLst>
              <a:ext uri="{FF2B5EF4-FFF2-40B4-BE49-F238E27FC236}">
                <a16:creationId xmlns:a16="http://schemas.microsoft.com/office/drawing/2014/main" id="{5A71696B-AC81-7B68-A9FF-9EE62D46C463}"/>
              </a:ext>
            </a:extLst>
          </p:cNvPr>
          <p:cNvSpPr txBox="1">
            <a:spLocks/>
          </p:cNvSpPr>
          <p:nvPr/>
        </p:nvSpPr>
        <p:spPr>
          <a:xfrm>
            <a:off x="231479" y="1004402"/>
            <a:ext cx="11788158" cy="382879"/>
          </a:xfrm>
          <a:prstGeom prst="rect">
            <a:avLst/>
          </a:prstGeom>
        </p:spPr>
        <p:txBody>
          <a:bodyPr lIns="95767" tIns="47884" rIns="95767" bIns="47884" anchor="t"/>
          <a:lstStyle>
            <a:defPPr>
              <a:defRPr lang="ja-JP"/>
            </a:defPPr>
            <a:lvl1pPr indent="0" defTabSz="638335">
              <a:spcBef>
                <a:spcPct val="20000"/>
              </a:spcBef>
              <a:buFont typeface="Arial"/>
              <a:buNone/>
              <a:defRPr sz="1800">
                <a:latin typeface="Meiryo UI" panose="020B0604030504040204" pitchFamily="50" charset="-128"/>
                <a:ea typeface="Meiryo UI" panose="020B0604030504040204" pitchFamily="50" charset="-128"/>
              </a:defRPr>
            </a:lvl1pPr>
            <a:lvl2pPr marL="801060" marR="0" indent="-236233" defTabSz="638335" fontAlgn="auto">
              <a:lnSpc>
                <a:spcPct val="100000"/>
              </a:lnSpc>
              <a:spcBef>
                <a:spcPct val="20000"/>
              </a:spcBef>
              <a:spcAft>
                <a:spcPts val="0"/>
              </a:spcAft>
              <a:buClrTx/>
              <a:buSzTx/>
              <a:buFont typeface="Arial"/>
              <a:buNone/>
              <a:tabLst/>
              <a:defRPr sz="2266">
                <a:latin typeface="ＭＳ Ｐゴシック"/>
              </a:defRPr>
            </a:lvl2pPr>
            <a:lvl3pPr marL="1595837" indent="-236233" defTabSz="638335">
              <a:spcBef>
                <a:spcPct val="20000"/>
              </a:spcBef>
              <a:buFont typeface="Arial"/>
              <a:buChar char="•"/>
              <a:defRPr sz="2266">
                <a:latin typeface="ＭＳ Ｐゴシック"/>
              </a:defRPr>
            </a:lvl3pPr>
            <a:lvl4pPr marL="2234170" indent="-236233" defTabSz="638335">
              <a:spcBef>
                <a:spcPct val="20000"/>
              </a:spcBef>
              <a:buFont typeface="Arial"/>
              <a:buChar char="•"/>
              <a:defRPr sz="2266">
                <a:latin typeface="ＭＳ Ｐゴシック"/>
              </a:defRPr>
            </a:lvl4pPr>
            <a:lvl5pPr marL="2872505" indent="-236233" defTabSz="638335">
              <a:spcBef>
                <a:spcPct val="20000"/>
              </a:spcBef>
              <a:buFont typeface="Arial"/>
              <a:buChar char="•"/>
              <a:defRPr sz="2266">
                <a:latin typeface="ＭＳ Ｐゴシック"/>
              </a:defRPr>
            </a:lvl5pPr>
            <a:lvl6pPr marL="3510840" indent="-319167" defTabSz="638335">
              <a:spcBef>
                <a:spcPct val="20000"/>
              </a:spcBef>
              <a:buFont typeface="Arial"/>
              <a:buChar char="•"/>
              <a:defRPr sz="2800"/>
            </a:lvl6pPr>
            <a:lvl7pPr marL="4149172" indent="-319167" defTabSz="638335">
              <a:spcBef>
                <a:spcPct val="20000"/>
              </a:spcBef>
              <a:buFont typeface="Arial"/>
              <a:buChar char="•"/>
              <a:defRPr sz="2800"/>
            </a:lvl7pPr>
            <a:lvl8pPr marL="4787509" indent="-319167" defTabSz="638335">
              <a:spcBef>
                <a:spcPct val="20000"/>
              </a:spcBef>
              <a:buFont typeface="Arial"/>
              <a:buChar char="•"/>
              <a:defRPr sz="2800"/>
            </a:lvl8pPr>
            <a:lvl9pPr marL="5425844" indent="-319167" defTabSz="638335">
              <a:spcBef>
                <a:spcPct val="20000"/>
              </a:spcBef>
              <a:buFont typeface="Arial"/>
              <a:buChar char="•"/>
              <a:defRPr sz="2800"/>
            </a:lvl9pPr>
          </a:lstStyle>
          <a:p>
            <a:pPr marL="0" marR="0" lvl="0" indent="0" algn="l" defTabSz="638335" rtl="0" eaLnBrk="1" fontAlgn="auto" latinLnBrk="0" hangingPunct="1">
              <a:lnSpc>
                <a:spcPct val="100000"/>
              </a:lnSpc>
              <a:spcBef>
                <a:spcPct val="20000"/>
              </a:spcBef>
              <a:spcAft>
                <a:spcPts val="0"/>
              </a:spcAft>
              <a:buClrTx/>
              <a:buSzTx/>
              <a:buFont typeface="Arial"/>
              <a:buNone/>
              <a:tabLst/>
              <a:defRPr/>
            </a:pPr>
            <a:r>
              <a:rPr kumimoji="1" lang="ja-JP" altLang="en-US" sz="18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デジ棚とデジタルバディの連携により実現することとして、</a:t>
            </a:r>
            <a:r>
              <a:rPr kumimoji="1" lang="en-US" altLang="ja-JP" sz="18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A</a:t>
            </a:r>
            <a:r>
              <a:rPr kumimoji="1" lang="ja-JP" altLang="en-US" sz="18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 </a:t>
            </a:r>
            <a:r>
              <a:rPr kumimoji="1" lang="en-US" altLang="ja-JP" sz="18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B D </a:t>
            </a:r>
            <a:r>
              <a:rPr kumimoji="1" lang="ja-JP" altLang="en-US" sz="18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の</a:t>
            </a:r>
            <a:r>
              <a:rPr kumimoji="1" lang="en-US" altLang="ja-JP" sz="18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3</a:t>
            </a:r>
            <a:r>
              <a:rPr kumimoji="1" lang="ja-JP" altLang="en-US" sz="18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つは</a:t>
            </a:r>
            <a:r>
              <a:rPr kumimoji="1" lang="en-US" altLang="ja-JP" sz="18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26/4</a:t>
            </a:r>
            <a:r>
              <a:rPr kumimoji="1" lang="ja-JP" altLang="en-US" sz="18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時点での全国稼働を目指し、</a:t>
            </a:r>
            <a:r>
              <a:rPr kumimoji="1" lang="en-US" altLang="ja-JP" sz="18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B </a:t>
            </a:r>
            <a:r>
              <a:rPr kumimoji="1" lang="ja-JP" altLang="en-US" sz="18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については、将来的な実装を目指す。</a:t>
            </a:r>
            <a:r>
              <a:rPr kumimoji="1" lang="ja-JP" altLang="en-US" sz="1800" b="1"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バディ</a:t>
            </a:r>
            <a:r>
              <a:rPr kumimoji="1" lang="en-US" altLang="ja-JP" sz="1800" b="1"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AI</a:t>
            </a:r>
            <a:r>
              <a:rPr kumimoji="1" lang="ja-JP" altLang="en-US" sz="1800" b="1"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については、</a:t>
            </a:r>
            <a:r>
              <a:rPr kumimoji="1" lang="en-US" altLang="ja-JP" sz="1800" b="1"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25</a:t>
            </a:r>
            <a:r>
              <a:rPr kumimoji="1" lang="ja-JP" altLang="en-US" sz="1800" b="1"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年度より精度検証やプロンプトチューニングを</a:t>
            </a:r>
            <a:r>
              <a:rPr kumimoji="1" lang="en-US" altLang="ja-JP" sz="1800" b="1"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DX</a:t>
            </a:r>
            <a:r>
              <a:rPr kumimoji="1" lang="ja-JP" altLang="en-US" sz="1800" b="1"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推・生涯教の両部で実施</a:t>
            </a:r>
            <a:r>
              <a:rPr kumimoji="1" lang="ja-JP" altLang="en-US" sz="18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する。</a:t>
            </a:r>
            <a:endParaRPr kumimoji="1" lang="en-US" altLang="ja-JP" sz="18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endParaRPr>
          </a:p>
        </p:txBody>
      </p:sp>
      <p:grpSp>
        <p:nvGrpSpPr>
          <p:cNvPr id="16" name="グループ化 15">
            <a:extLst>
              <a:ext uri="{FF2B5EF4-FFF2-40B4-BE49-F238E27FC236}">
                <a16:creationId xmlns:a16="http://schemas.microsoft.com/office/drawing/2014/main" id="{31DBDFD7-E1F4-2B58-F0EF-CD1ED0900E49}"/>
              </a:ext>
            </a:extLst>
          </p:cNvPr>
          <p:cNvGrpSpPr/>
          <p:nvPr/>
        </p:nvGrpSpPr>
        <p:grpSpPr>
          <a:xfrm>
            <a:off x="7336095" y="1924710"/>
            <a:ext cx="1020589" cy="269508"/>
            <a:chOff x="808522" y="2358189"/>
            <a:chExt cx="2772076" cy="269508"/>
          </a:xfrm>
        </p:grpSpPr>
        <p:cxnSp>
          <p:nvCxnSpPr>
            <p:cNvPr id="17" name="直線コネクタ 16">
              <a:extLst>
                <a:ext uri="{FF2B5EF4-FFF2-40B4-BE49-F238E27FC236}">
                  <a16:creationId xmlns:a16="http://schemas.microsoft.com/office/drawing/2014/main" id="{AD2F0CFF-E332-5F22-2CE8-91BA15FDD13F}"/>
                </a:ext>
              </a:extLst>
            </p:cNvPr>
            <p:cNvCxnSpPr/>
            <p:nvPr/>
          </p:nvCxnSpPr>
          <p:spPr>
            <a:xfrm>
              <a:off x="808522" y="2627697"/>
              <a:ext cx="2772076" cy="0"/>
            </a:xfrm>
            <a:prstGeom prst="line">
              <a:avLst/>
            </a:prstGeom>
            <a:noFill/>
            <a:ln w="9525" cap="flat" cmpd="sng" algn="ctr">
              <a:solidFill>
                <a:srgbClr val="000000"/>
              </a:solidFill>
              <a:prstDash val="solid"/>
              <a:headEnd type="none" w="lg" len="med"/>
              <a:tailEnd type="none" w="lg" len="med"/>
            </a:ln>
            <a:effectLst/>
          </p:spPr>
        </p:cxnSp>
        <p:sp>
          <p:nvSpPr>
            <p:cNvPr id="18" name="正方形/長方形 17">
              <a:extLst>
                <a:ext uri="{FF2B5EF4-FFF2-40B4-BE49-F238E27FC236}">
                  <a16:creationId xmlns:a16="http://schemas.microsoft.com/office/drawing/2014/main" id="{2225983F-C460-C131-2B99-9BFEE6D22B2F}"/>
                </a:ext>
              </a:extLst>
            </p:cNvPr>
            <p:cNvSpPr/>
            <p:nvPr/>
          </p:nvSpPr>
          <p:spPr>
            <a:xfrm>
              <a:off x="808522" y="2358189"/>
              <a:ext cx="2772076" cy="269489"/>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478835"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実装時期</a:t>
              </a:r>
            </a:p>
          </p:txBody>
        </p:sp>
      </p:grpSp>
      <p:sp>
        <p:nvSpPr>
          <p:cNvPr id="25" name="正方形/長方形 24">
            <a:extLst>
              <a:ext uri="{FF2B5EF4-FFF2-40B4-BE49-F238E27FC236}">
                <a16:creationId xmlns:a16="http://schemas.microsoft.com/office/drawing/2014/main" id="{BD15EB8F-76E5-501B-9F86-65F750AAF542}"/>
              </a:ext>
            </a:extLst>
          </p:cNvPr>
          <p:cNvSpPr/>
          <p:nvPr/>
        </p:nvSpPr>
        <p:spPr>
          <a:xfrm>
            <a:off x="7336096" y="4571968"/>
            <a:ext cx="1020589" cy="998171"/>
          </a:xfrm>
          <a:prstGeom prst="rect">
            <a:avLst/>
          </a:prstGeom>
          <a:solidFill>
            <a:schemeClr val="bg1"/>
          </a:solidFill>
          <a:ln>
            <a:solidFill>
              <a:schemeClr val="accent6">
                <a:lumMod val="90000"/>
              </a:schemeClr>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478835" rtl="0" eaLnBrk="1" fontAlgn="auto" latinLnBrk="0" hangingPunct="1">
              <a:lnSpc>
                <a:spcPct val="100000"/>
              </a:lnSpc>
              <a:spcBef>
                <a:spcPts val="0"/>
              </a:spcBef>
              <a:spcAft>
                <a:spcPts val="0"/>
              </a:spcAft>
              <a:buClrTx/>
              <a:buSzTx/>
              <a:buFontTx/>
              <a:buNone/>
              <a:tabLst/>
              <a:defRPr/>
            </a:pPr>
            <a:r>
              <a:rPr kumimoji="1" lang="en-US" altLang="ja-JP" sz="1400" b="1"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26/4</a:t>
            </a:r>
            <a:r>
              <a:rPr kumimoji="1" lang="ja-JP" altLang="en-US" sz="1400" b="1"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時点</a:t>
            </a:r>
            <a:endParaRPr kumimoji="1" lang="ja-JP" altLang="en-US" sz="14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endParaRPr>
          </a:p>
        </p:txBody>
      </p:sp>
      <p:sp>
        <p:nvSpPr>
          <p:cNvPr id="83" name="正方形/長方形 82">
            <a:extLst>
              <a:ext uri="{FF2B5EF4-FFF2-40B4-BE49-F238E27FC236}">
                <a16:creationId xmlns:a16="http://schemas.microsoft.com/office/drawing/2014/main" id="{B5EFD978-C81C-D694-E607-5C02B4F4E04A}"/>
              </a:ext>
            </a:extLst>
          </p:cNvPr>
          <p:cNvSpPr/>
          <p:nvPr/>
        </p:nvSpPr>
        <p:spPr>
          <a:xfrm>
            <a:off x="7336096" y="5665593"/>
            <a:ext cx="1020589" cy="998171"/>
          </a:xfrm>
          <a:prstGeom prst="rect">
            <a:avLst/>
          </a:prstGeom>
          <a:solidFill>
            <a:schemeClr val="bg1"/>
          </a:solidFill>
          <a:ln>
            <a:solidFill>
              <a:schemeClr val="accent6">
                <a:lumMod val="90000"/>
              </a:schemeClr>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478835" rtl="0" eaLnBrk="1" fontAlgn="auto" latinLnBrk="0" hangingPunct="1">
              <a:lnSpc>
                <a:spcPct val="100000"/>
              </a:lnSpc>
              <a:spcBef>
                <a:spcPts val="0"/>
              </a:spcBef>
              <a:spcAft>
                <a:spcPts val="0"/>
              </a:spcAft>
              <a:buClrTx/>
              <a:buSzTx/>
              <a:buFontTx/>
              <a:buNone/>
              <a:tabLst/>
              <a:defRPr/>
            </a:pPr>
            <a:r>
              <a:rPr kumimoji="1" lang="ja-JP" altLang="en-US" sz="1400" b="1"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将来</a:t>
            </a:r>
          </a:p>
        </p:txBody>
      </p:sp>
      <p:grpSp>
        <p:nvGrpSpPr>
          <p:cNvPr id="19" name="グループ化 18">
            <a:extLst>
              <a:ext uri="{FF2B5EF4-FFF2-40B4-BE49-F238E27FC236}">
                <a16:creationId xmlns:a16="http://schemas.microsoft.com/office/drawing/2014/main" id="{5F7EEAFD-C565-EDC4-9831-B088FCC08086}"/>
              </a:ext>
            </a:extLst>
          </p:cNvPr>
          <p:cNvGrpSpPr/>
          <p:nvPr/>
        </p:nvGrpSpPr>
        <p:grpSpPr>
          <a:xfrm>
            <a:off x="2241036" y="1924710"/>
            <a:ext cx="4890242" cy="269508"/>
            <a:chOff x="808522" y="2358189"/>
            <a:chExt cx="2772076" cy="269508"/>
          </a:xfrm>
        </p:grpSpPr>
        <p:cxnSp>
          <p:nvCxnSpPr>
            <p:cNvPr id="20" name="直線コネクタ 19">
              <a:extLst>
                <a:ext uri="{FF2B5EF4-FFF2-40B4-BE49-F238E27FC236}">
                  <a16:creationId xmlns:a16="http://schemas.microsoft.com/office/drawing/2014/main" id="{4C3BC9E8-3D57-4815-7890-55EE565F395A}"/>
                </a:ext>
              </a:extLst>
            </p:cNvPr>
            <p:cNvCxnSpPr/>
            <p:nvPr/>
          </p:nvCxnSpPr>
          <p:spPr>
            <a:xfrm>
              <a:off x="808522" y="2627697"/>
              <a:ext cx="2772076" cy="0"/>
            </a:xfrm>
            <a:prstGeom prst="line">
              <a:avLst/>
            </a:prstGeom>
            <a:noFill/>
            <a:ln w="9525" cap="flat" cmpd="sng" algn="ctr">
              <a:solidFill>
                <a:srgbClr val="000000"/>
              </a:solidFill>
              <a:prstDash val="solid"/>
              <a:headEnd type="none" w="lg" len="med"/>
              <a:tailEnd type="none" w="lg" len="med"/>
            </a:ln>
            <a:effectLst/>
          </p:spPr>
        </p:cxnSp>
        <p:sp>
          <p:nvSpPr>
            <p:cNvPr id="21" name="正方形/長方形 20">
              <a:extLst>
                <a:ext uri="{FF2B5EF4-FFF2-40B4-BE49-F238E27FC236}">
                  <a16:creationId xmlns:a16="http://schemas.microsoft.com/office/drawing/2014/main" id="{B55F996B-1F78-884E-E85D-9E175FE6281E}"/>
                </a:ext>
              </a:extLst>
            </p:cNvPr>
            <p:cNvSpPr/>
            <p:nvPr/>
          </p:nvSpPr>
          <p:spPr>
            <a:xfrm>
              <a:off x="808522" y="2358189"/>
              <a:ext cx="2772076" cy="269489"/>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478835"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実装内容</a:t>
              </a:r>
            </a:p>
          </p:txBody>
        </p:sp>
      </p:grpSp>
      <p:sp>
        <p:nvSpPr>
          <p:cNvPr id="27" name="正方形/長方形 26">
            <a:extLst>
              <a:ext uri="{FF2B5EF4-FFF2-40B4-BE49-F238E27FC236}">
                <a16:creationId xmlns:a16="http://schemas.microsoft.com/office/drawing/2014/main" id="{A81EB9A4-9940-E09C-4AD2-297FD0A1FA7C}"/>
              </a:ext>
            </a:extLst>
          </p:cNvPr>
          <p:cNvSpPr/>
          <p:nvPr/>
        </p:nvSpPr>
        <p:spPr>
          <a:xfrm>
            <a:off x="2241036" y="4571966"/>
            <a:ext cx="4890242" cy="998172"/>
          </a:xfrm>
          <a:prstGeom prst="rect">
            <a:avLst/>
          </a:prstGeom>
          <a:solidFill>
            <a:schemeClr val="bg1"/>
          </a:solidFill>
          <a:ln>
            <a:solidFill>
              <a:schemeClr val="accent6">
                <a:lumMod val="90000"/>
              </a:schemeClr>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285750" marR="0" lvl="0" indent="-285750" algn="l" defTabSz="478835"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1" lang="ja-JP" altLang="en-US" sz="14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デジ棚画面での曖昧ワードでの検索において、</a:t>
            </a:r>
            <a:r>
              <a:rPr kumimoji="1" lang="ja-JP" altLang="en-US" sz="1400" b="1" i="0" u="sng"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バディの</a:t>
            </a:r>
            <a:r>
              <a:rPr kumimoji="1" lang="en-US" altLang="ja-JP" sz="1400" b="1" i="0" u="sng"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AI</a:t>
            </a:r>
            <a:r>
              <a:rPr kumimoji="1" lang="ja-JP" altLang="en-US" sz="1400" b="1" i="0" u="sng"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照会機能のロジック）を活用し、</a:t>
            </a:r>
            <a:r>
              <a:rPr kumimoji="1" lang="en-US" altLang="ja-JP" sz="1400" b="1" i="0" u="sng"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API</a:t>
            </a:r>
            <a:r>
              <a:rPr kumimoji="1" lang="ja-JP" altLang="en-US" sz="1400" b="1" i="0" u="sng"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にて検索結果のチラシ</a:t>
            </a:r>
            <a:r>
              <a:rPr kumimoji="1" lang="en-US" altLang="ja-JP" sz="1400" b="1" i="0" u="sng"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ID</a:t>
            </a:r>
            <a:r>
              <a:rPr kumimoji="1" lang="ja-JP" altLang="en-US" sz="1400" b="1" i="0" u="sng"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をデジ棚に返す</a:t>
            </a:r>
            <a:endParaRPr kumimoji="1" lang="en-US" altLang="ja-JP" sz="1400" b="1" i="0" u="sng"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endParaRPr>
          </a:p>
          <a:p>
            <a:pPr marL="764585" marR="0" lvl="1" indent="-285750" algn="l" defTabSz="478835" rtl="0" eaLnBrk="1" fontAlgn="auto" latinLnBrk="0" hangingPunct="1">
              <a:lnSpc>
                <a:spcPct val="100000"/>
              </a:lnSpc>
              <a:spcBef>
                <a:spcPts val="0"/>
              </a:spcBef>
              <a:spcAft>
                <a:spcPts val="0"/>
              </a:spcAft>
              <a:buClrTx/>
              <a:buSzTx/>
              <a:buFont typeface="Meiryo UI" panose="020B0604030504040204" pitchFamily="50" charset="-128"/>
              <a:buChar char="–"/>
              <a:tabLst/>
              <a:defRPr/>
            </a:pPr>
            <a:r>
              <a:rPr kumimoji="1" lang="ja-JP" altLang="en-US" sz="14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赤い四角が</a:t>
            </a:r>
            <a:r>
              <a:rPr kumimoji="1" lang="en-US" altLang="ja-JP" sz="14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4</a:t>
            </a:r>
            <a:r>
              <a:rPr kumimoji="1" lang="ja-JP" altLang="en-US" sz="14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つぐらい描いてあるチラシを探したい</a:t>
            </a:r>
            <a:r>
              <a:rPr kumimoji="1" lang="en-US" altLang="ja-JP" sz="14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a:t>
            </a:r>
          </a:p>
        </p:txBody>
      </p:sp>
      <p:sp>
        <p:nvSpPr>
          <p:cNvPr id="84" name="正方形/長方形 83">
            <a:extLst>
              <a:ext uri="{FF2B5EF4-FFF2-40B4-BE49-F238E27FC236}">
                <a16:creationId xmlns:a16="http://schemas.microsoft.com/office/drawing/2014/main" id="{5A3F7B56-DFA8-5A31-2A42-32054144F142}"/>
              </a:ext>
            </a:extLst>
          </p:cNvPr>
          <p:cNvSpPr/>
          <p:nvPr/>
        </p:nvSpPr>
        <p:spPr>
          <a:xfrm>
            <a:off x="2241036" y="5665591"/>
            <a:ext cx="4890242" cy="998172"/>
          </a:xfrm>
          <a:prstGeom prst="rect">
            <a:avLst/>
          </a:prstGeom>
          <a:solidFill>
            <a:schemeClr val="bg1"/>
          </a:solidFill>
          <a:ln>
            <a:solidFill>
              <a:schemeClr val="accent6">
                <a:lumMod val="90000"/>
              </a:schemeClr>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285750" marR="0" lvl="0" indent="-285750" algn="l" defTabSz="478835"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1" lang="ja-JP" altLang="en-US" sz="14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デジ棚画面において、</a:t>
            </a:r>
            <a:r>
              <a:rPr kumimoji="1" lang="ja-JP" altLang="en-US" sz="1400" b="1" i="0" u="sng"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対話で取得した顧客情報をもとに、バディの</a:t>
            </a:r>
            <a:r>
              <a:rPr kumimoji="1" lang="en-US" altLang="ja-JP" sz="1400" b="1" i="0" u="sng"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AI</a:t>
            </a:r>
            <a:r>
              <a:rPr kumimoji="1" lang="ja-JP" altLang="en-US" sz="1400" b="1" i="0" u="sng"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　　活動ヒント機能のロジック）を活用</a:t>
            </a:r>
            <a:r>
              <a:rPr kumimoji="1" lang="ja-JP" altLang="en-US" sz="14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し、</a:t>
            </a:r>
            <a:r>
              <a:rPr kumimoji="1" lang="en-US" altLang="ja-JP" sz="1400" b="1" i="0" u="sng"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API</a:t>
            </a:r>
            <a:r>
              <a:rPr kumimoji="1" lang="ja-JP" altLang="en-US" sz="1400" b="1" i="0" u="sng"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にて特定のお客さまに合ったチラシ</a:t>
            </a:r>
            <a:r>
              <a:rPr kumimoji="1" lang="en-US" altLang="ja-JP" sz="1400" b="1" i="0" u="sng"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ID</a:t>
            </a:r>
            <a:r>
              <a:rPr kumimoji="1" lang="ja-JP" altLang="en-US" sz="1400" b="1" i="0" u="sng"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をデジ棚に返す</a:t>
            </a:r>
            <a:endParaRPr kumimoji="1" lang="en-US" altLang="ja-JP" sz="1400" b="1" i="0" u="sng"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endParaRPr>
          </a:p>
          <a:p>
            <a:pPr marL="764585" marR="0" lvl="1" indent="-285750" algn="l" defTabSz="478835" rtl="0" eaLnBrk="1" fontAlgn="auto" latinLnBrk="0" hangingPunct="1">
              <a:lnSpc>
                <a:spcPct val="100000"/>
              </a:lnSpc>
              <a:spcBef>
                <a:spcPts val="0"/>
              </a:spcBef>
              <a:spcAft>
                <a:spcPts val="0"/>
              </a:spcAft>
              <a:buClrTx/>
              <a:buSzTx/>
              <a:buFont typeface="Meiryo UI" panose="020B0604030504040204" pitchFamily="50" charset="-128"/>
              <a:buChar char="–"/>
              <a:tabLst/>
              <a:defRPr/>
            </a:pPr>
            <a:r>
              <a:rPr kumimoji="1" lang="ja-JP" altLang="en-US" sz="14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第一太郎様に合ったチラシを教えて（対話が続く・・・）</a:t>
            </a:r>
            <a:endParaRPr kumimoji="1" lang="en-US" altLang="ja-JP" sz="14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endParaRPr>
          </a:p>
        </p:txBody>
      </p:sp>
      <p:grpSp>
        <p:nvGrpSpPr>
          <p:cNvPr id="13" name="グループ化 12">
            <a:extLst>
              <a:ext uri="{FF2B5EF4-FFF2-40B4-BE49-F238E27FC236}">
                <a16:creationId xmlns:a16="http://schemas.microsoft.com/office/drawing/2014/main" id="{5EA87B54-CB04-3160-D94A-35835E834AA5}"/>
              </a:ext>
            </a:extLst>
          </p:cNvPr>
          <p:cNvGrpSpPr/>
          <p:nvPr/>
        </p:nvGrpSpPr>
        <p:grpSpPr>
          <a:xfrm>
            <a:off x="204767" y="1924710"/>
            <a:ext cx="1861767" cy="269508"/>
            <a:chOff x="808522" y="2358189"/>
            <a:chExt cx="2772076" cy="269508"/>
          </a:xfrm>
        </p:grpSpPr>
        <p:cxnSp>
          <p:nvCxnSpPr>
            <p:cNvPr id="14" name="直線コネクタ 13">
              <a:extLst>
                <a:ext uri="{FF2B5EF4-FFF2-40B4-BE49-F238E27FC236}">
                  <a16:creationId xmlns:a16="http://schemas.microsoft.com/office/drawing/2014/main" id="{D71F8570-D0A2-CA3D-D178-976AA1B4BC14}"/>
                </a:ext>
              </a:extLst>
            </p:cNvPr>
            <p:cNvCxnSpPr/>
            <p:nvPr/>
          </p:nvCxnSpPr>
          <p:spPr>
            <a:xfrm>
              <a:off x="808522" y="2627697"/>
              <a:ext cx="2772076" cy="0"/>
            </a:xfrm>
            <a:prstGeom prst="line">
              <a:avLst/>
            </a:prstGeom>
            <a:noFill/>
            <a:ln w="9525" cap="flat" cmpd="sng" algn="ctr">
              <a:solidFill>
                <a:srgbClr val="000000"/>
              </a:solidFill>
              <a:prstDash val="solid"/>
              <a:headEnd type="none" w="lg" len="med"/>
              <a:tailEnd type="none" w="lg" len="med"/>
            </a:ln>
            <a:effectLst/>
          </p:spPr>
        </p:cxnSp>
        <p:sp>
          <p:nvSpPr>
            <p:cNvPr id="15" name="正方形/長方形 14">
              <a:extLst>
                <a:ext uri="{FF2B5EF4-FFF2-40B4-BE49-F238E27FC236}">
                  <a16:creationId xmlns:a16="http://schemas.microsoft.com/office/drawing/2014/main" id="{DFCBD581-0E2D-DD0E-1D31-A2BBA58A4AFC}"/>
                </a:ext>
              </a:extLst>
            </p:cNvPr>
            <p:cNvSpPr/>
            <p:nvPr/>
          </p:nvSpPr>
          <p:spPr>
            <a:xfrm>
              <a:off x="808522" y="2358189"/>
              <a:ext cx="2772076" cy="269489"/>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478835"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実現すること</a:t>
              </a:r>
            </a:p>
          </p:txBody>
        </p:sp>
      </p:grpSp>
      <p:sp>
        <p:nvSpPr>
          <p:cNvPr id="22" name="正方形/長方形 21">
            <a:extLst>
              <a:ext uri="{FF2B5EF4-FFF2-40B4-BE49-F238E27FC236}">
                <a16:creationId xmlns:a16="http://schemas.microsoft.com/office/drawing/2014/main" id="{128B5CA9-4720-B933-801B-17891877E81C}"/>
              </a:ext>
            </a:extLst>
          </p:cNvPr>
          <p:cNvSpPr/>
          <p:nvPr/>
        </p:nvSpPr>
        <p:spPr>
          <a:xfrm>
            <a:off x="585853" y="4571968"/>
            <a:ext cx="1480682" cy="998171"/>
          </a:xfrm>
          <a:prstGeom prst="rect">
            <a:avLst/>
          </a:prstGeom>
          <a:solidFill>
            <a:schemeClr val="accent6"/>
          </a:solidFill>
          <a:ln>
            <a:solidFill>
              <a:schemeClr val="accent6">
                <a:lumMod val="90000"/>
              </a:schemeClr>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78835"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曖昧検索</a:t>
            </a:r>
            <a:endParaRPr kumimoji="1" lang="en-US" altLang="ja-JP" sz="14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endParaRPr>
          </a:p>
        </p:txBody>
      </p:sp>
      <p:sp>
        <p:nvSpPr>
          <p:cNvPr id="82" name="正方形/長方形 81">
            <a:extLst>
              <a:ext uri="{FF2B5EF4-FFF2-40B4-BE49-F238E27FC236}">
                <a16:creationId xmlns:a16="http://schemas.microsoft.com/office/drawing/2014/main" id="{941FFDE7-1DF1-0586-93D2-D8BE85733C93}"/>
              </a:ext>
            </a:extLst>
          </p:cNvPr>
          <p:cNvSpPr/>
          <p:nvPr/>
        </p:nvSpPr>
        <p:spPr>
          <a:xfrm>
            <a:off x="585853" y="5665593"/>
            <a:ext cx="1480682" cy="998171"/>
          </a:xfrm>
          <a:prstGeom prst="rect">
            <a:avLst/>
          </a:prstGeom>
          <a:solidFill>
            <a:schemeClr val="accent6"/>
          </a:solidFill>
          <a:ln>
            <a:solidFill>
              <a:schemeClr val="accent6">
                <a:lumMod val="90000"/>
              </a:schemeClr>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78835"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特定のお客さまに関するチラシ検索</a:t>
            </a:r>
            <a:r>
              <a:rPr kumimoji="1" lang="en-US" altLang="ja-JP" sz="14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a:t>
            </a:r>
            <a:r>
              <a:rPr kumimoji="1" lang="ja-JP" altLang="en-US" sz="14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対話</a:t>
            </a:r>
            <a:r>
              <a:rPr kumimoji="1" lang="en-US" altLang="ja-JP" sz="14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a:t>
            </a:r>
          </a:p>
        </p:txBody>
      </p:sp>
      <p:sp>
        <p:nvSpPr>
          <p:cNvPr id="92" name="正方形/長方形 91">
            <a:extLst>
              <a:ext uri="{FF2B5EF4-FFF2-40B4-BE49-F238E27FC236}">
                <a16:creationId xmlns:a16="http://schemas.microsoft.com/office/drawing/2014/main" id="{FA08B554-A720-3A0C-07AA-38C44F90AF05}"/>
              </a:ext>
            </a:extLst>
          </p:cNvPr>
          <p:cNvSpPr/>
          <p:nvPr/>
        </p:nvSpPr>
        <p:spPr>
          <a:xfrm>
            <a:off x="204767" y="4571962"/>
            <a:ext cx="290810" cy="2091794"/>
          </a:xfrm>
          <a:prstGeom prst="rect">
            <a:avLst/>
          </a:prstGeom>
          <a:solidFill>
            <a:schemeClr val="accent6">
              <a:lumMod val="50000"/>
            </a:schemeClr>
          </a:solidFill>
          <a:ln>
            <a:solidFill>
              <a:schemeClr val="accent6">
                <a:lumMod val="90000"/>
              </a:schemeClr>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eaVert" wrap="square" lIns="91440" tIns="45720" rIns="91440" bIns="45720" numCol="1" spcCol="0" rtlCol="0" fromWordArt="0" anchor="ctr" anchorCtr="0" forceAA="0" compatLnSpc="1">
            <a:prstTxWarp prst="textNoShape">
              <a:avLst/>
            </a:prstTxWarp>
            <a:noAutofit/>
          </a:bodyPr>
          <a:lstStyle/>
          <a:p>
            <a:pPr marL="0" marR="0" lvl="0" indent="0" algn="ctr" defTabSz="478835" rtl="0" eaLnBrk="1" fontAlgn="auto" latinLnBrk="0" hangingPunct="1">
              <a:lnSpc>
                <a:spcPct val="100000"/>
              </a:lnSpc>
              <a:spcBef>
                <a:spcPts val="0"/>
              </a:spcBef>
              <a:spcAft>
                <a:spcPts val="0"/>
              </a:spcAft>
              <a:buClrTx/>
              <a:buSzTx/>
              <a:buFontTx/>
              <a:buNone/>
              <a:tabLst/>
              <a:defRPr/>
            </a:pPr>
            <a:r>
              <a:rPr kumimoji="1" lang="ja-JP" altLang="en-US" sz="1400" b="1"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rPr>
              <a:t>デジ棚</a:t>
            </a:r>
            <a:endParaRPr kumimoji="1" lang="en-US" altLang="ja-JP" sz="1400" b="1"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endParaRPr>
          </a:p>
        </p:txBody>
      </p:sp>
      <p:grpSp>
        <p:nvGrpSpPr>
          <p:cNvPr id="97" name="グループ化 96">
            <a:extLst>
              <a:ext uri="{FF2B5EF4-FFF2-40B4-BE49-F238E27FC236}">
                <a16:creationId xmlns:a16="http://schemas.microsoft.com/office/drawing/2014/main" id="{E4324646-4FAE-7063-B09E-69E4BB010148}"/>
              </a:ext>
            </a:extLst>
          </p:cNvPr>
          <p:cNvGrpSpPr/>
          <p:nvPr/>
        </p:nvGrpSpPr>
        <p:grpSpPr>
          <a:xfrm>
            <a:off x="8561502" y="1924710"/>
            <a:ext cx="3425729" cy="269508"/>
            <a:chOff x="808522" y="2358189"/>
            <a:chExt cx="2772076" cy="269508"/>
          </a:xfrm>
        </p:grpSpPr>
        <p:cxnSp>
          <p:nvCxnSpPr>
            <p:cNvPr id="98" name="直線コネクタ 97">
              <a:extLst>
                <a:ext uri="{FF2B5EF4-FFF2-40B4-BE49-F238E27FC236}">
                  <a16:creationId xmlns:a16="http://schemas.microsoft.com/office/drawing/2014/main" id="{43307820-0DA7-3504-7AAB-F526E4DB544B}"/>
                </a:ext>
              </a:extLst>
            </p:cNvPr>
            <p:cNvCxnSpPr/>
            <p:nvPr/>
          </p:nvCxnSpPr>
          <p:spPr>
            <a:xfrm>
              <a:off x="808522" y="2627697"/>
              <a:ext cx="2772076" cy="0"/>
            </a:xfrm>
            <a:prstGeom prst="line">
              <a:avLst/>
            </a:prstGeom>
            <a:noFill/>
            <a:ln w="9525" cap="flat" cmpd="sng" algn="ctr">
              <a:solidFill>
                <a:srgbClr val="000000"/>
              </a:solidFill>
              <a:prstDash val="solid"/>
              <a:headEnd type="none" w="lg" len="med"/>
              <a:tailEnd type="none" w="lg" len="med"/>
            </a:ln>
            <a:effectLst/>
          </p:spPr>
        </p:cxnSp>
        <p:sp>
          <p:nvSpPr>
            <p:cNvPr id="99" name="正方形/長方形 98">
              <a:extLst>
                <a:ext uri="{FF2B5EF4-FFF2-40B4-BE49-F238E27FC236}">
                  <a16:creationId xmlns:a16="http://schemas.microsoft.com/office/drawing/2014/main" id="{260B7D8D-1FF9-BE3E-8F51-E4C8FBA0C9DA}"/>
                </a:ext>
              </a:extLst>
            </p:cNvPr>
            <p:cNvSpPr/>
            <p:nvPr/>
          </p:nvSpPr>
          <p:spPr>
            <a:xfrm>
              <a:off x="808522" y="2358189"/>
              <a:ext cx="2772076" cy="269489"/>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478835"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デジ棚</a:t>
              </a:r>
              <a:r>
                <a:rPr kumimoji="1" lang="en-US" altLang="ja-JP" sz="14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T</a:t>
              </a:r>
              <a:r>
                <a:rPr kumimoji="1" lang="ja-JP" altLang="en-US" sz="14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の対応概要（対応予定時期）</a:t>
              </a:r>
            </a:p>
          </p:txBody>
        </p:sp>
      </p:grpSp>
      <p:sp>
        <p:nvSpPr>
          <p:cNvPr id="100" name="正方形/長方形 99">
            <a:extLst>
              <a:ext uri="{FF2B5EF4-FFF2-40B4-BE49-F238E27FC236}">
                <a16:creationId xmlns:a16="http://schemas.microsoft.com/office/drawing/2014/main" id="{E1E1124D-914B-E68A-0A1B-15174C73A9B5}"/>
              </a:ext>
            </a:extLst>
          </p:cNvPr>
          <p:cNvSpPr/>
          <p:nvPr/>
        </p:nvSpPr>
        <p:spPr>
          <a:xfrm>
            <a:off x="8561503" y="4571968"/>
            <a:ext cx="3425729" cy="998171"/>
          </a:xfrm>
          <a:prstGeom prst="rect">
            <a:avLst/>
          </a:prstGeom>
          <a:solidFill>
            <a:schemeClr val="bg1"/>
          </a:solidFill>
          <a:ln>
            <a:solidFill>
              <a:schemeClr val="accent6">
                <a:lumMod val="90000"/>
              </a:schemeClr>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80975" marR="0" lvl="0" indent="-180975" algn="l" defTabSz="478835"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14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入力画面や検索結果画面の</a:t>
            </a:r>
            <a:r>
              <a:rPr kumimoji="1" lang="en-US" altLang="ja-JP" sz="14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UI</a:t>
            </a:r>
            <a:r>
              <a:rPr kumimoji="1" lang="ja-JP" altLang="en-US" sz="14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の設計</a:t>
            </a:r>
            <a:br>
              <a:rPr kumimoji="1" lang="en-US" altLang="ja-JP" sz="14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br>
            <a:r>
              <a:rPr kumimoji="1" lang="en-US" altLang="ja-JP" sz="14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25/5</a:t>
            </a:r>
            <a:r>
              <a:rPr kumimoji="1" lang="ja-JP" altLang="en-US" sz="14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末完了目途</a:t>
            </a:r>
            <a:r>
              <a:rPr kumimoji="1" lang="en-US" altLang="ja-JP" sz="14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 </a:t>
            </a:r>
            <a:r>
              <a:rPr kumimoji="1" lang="ja-JP" altLang="en-US" sz="14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 下期画面開発</a:t>
            </a:r>
            <a:endParaRPr kumimoji="1" lang="en-US" altLang="ja-JP" sz="14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endParaRPr>
          </a:p>
          <a:p>
            <a:pPr marL="180975" marR="0" lvl="0" indent="-180975" algn="l" defTabSz="478835"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14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精度検証やプロンプトチューニング</a:t>
            </a:r>
            <a:br>
              <a:rPr kumimoji="1" lang="en-US" altLang="ja-JP" sz="14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br>
            <a:r>
              <a:rPr kumimoji="1" lang="en-US" altLang="ja-JP" sz="14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25</a:t>
            </a:r>
            <a:r>
              <a:rPr kumimoji="1" lang="ja-JP" altLang="en-US" sz="14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年度年間　</a:t>
            </a:r>
            <a:r>
              <a:rPr kumimoji="1" lang="en-US" altLang="ja-JP" sz="14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w/DX</a:t>
            </a:r>
            <a:r>
              <a:rPr kumimoji="1" lang="ja-JP" altLang="en-US" sz="14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推</a:t>
            </a:r>
            <a:r>
              <a:rPr kumimoji="1" lang="en-US" altLang="ja-JP" sz="14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a:t>
            </a:r>
          </a:p>
        </p:txBody>
      </p:sp>
      <p:sp>
        <p:nvSpPr>
          <p:cNvPr id="110" name="正方形/長方形 109">
            <a:extLst>
              <a:ext uri="{FF2B5EF4-FFF2-40B4-BE49-F238E27FC236}">
                <a16:creationId xmlns:a16="http://schemas.microsoft.com/office/drawing/2014/main" id="{09A66291-CE4D-5B48-FB28-F51EAD5E9645}"/>
              </a:ext>
            </a:extLst>
          </p:cNvPr>
          <p:cNvSpPr/>
          <p:nvPr/>
        </p:nvSpPr>
        <p:spPr>
          <a:xfrm>
            <a:off x="8561503" y="5665593"/>
            <a:ext cx="3425729" cy="998171"/>
          </a:xfrm>
          <a:prstGeom prst="rect">
            <a:avLst/>
          </a:prstGeom>
          <a:solidFill>
            <a:schemeClr val="bg1"/>
          </a:solidFill>
          <a:ln>
            <a:solidFill>
              <a:schemeClr val="accent6">
                <a:lumMod val="90000"/>
              </a:schemeClr>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80975" marR="0" lvl="0" indent="-180975" algn="l" defTabSz="478835"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14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入力画面や検索結果画面の</a:t>
            </a:r>
            <a:r>
              <a:rPr kumimoji="1" lang="en-US" altLang="ja-JP" sz="14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UI</a:t>
            </a:r>
            <a:r>
              <a:rPr kumimoji="1" lang="ja-JP" altLang="en-US" sz="14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の設計</a:t>
            </a:r>
            <a:br>
              <a:rPr kumimoji="1" lang="en-US" altLang="ja-JP" sz="14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br>
            <a:r>
              <a:rPr kumimoji="1" lang="en-US" altLang="ja-JP" sz="14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25/7or25/8</a:t>
            </a:r>
            <a:r>
              <a:rPr kumimoji="1" lang="ja-JP" altLang="en-US" sz="14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a:t>
            </a:r>
            <a:r>
              <a:rPr kumimoji="1" lang="en-US" altLang="ja-JP" sz="14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 </a:t>
            </a:r>
            <a:r>
              <a:rPr kumimoji="1" lang="ja-JP" altLang="en-US" sz="14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 その後、画面開発</a:t>
            </a:r>
            <a:endParaRPr kumimoji="1" lang="en-US" altLang="ja-JP" sz="14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endParaRPr>
          </a:p>
          <a:p>
            <a:pPr marL="180975" marR="0" lvl="0" indent="-180975" algn="l" defTabSz="478835"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14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精度検証やプロンプトチューニング</a:t>
            </a:r>
            <a:br>
              <a:rPr kumimoji="1" lang="en-US" altLang="ja-JP" sz="14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br>
            <a:r>
              <a:rPr kumimoji="1" lang="en-US" altLang="ja-JP" sz="14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25</a:t>
            </a:r>
            <a:r>
              <a:rPr kumimoji="1" lang="ja-JP" altLang="en-US" sz="14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年度年間　</a:t>
            </a:r>
            <a:r>
              <a:rPr kumimoji="1" lang="en-US" altLang="ja-JP" sz="14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w/DX</a:t>
            </a:r>
            <a:r>
              <a:rPr kumimoji="1" lang="ja-JP" altLang="en-US" sz="14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推</a:t>
            </a:r>
            <a:r>
              <a:rPr kumimoji="1" lang="en-US" altLang="ja-JP" sz="14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a:t>
            </a:r>
          </a:p>
        </p:txBody>
      </p:sp>
      <p:sp>
        <p:nvSpPr>
          <p:cNvPr id="117" name="楕円 116">
            <a:extLst>
              <a:ext uri="{FF2B5EF4-FFF2-40B4-BE49-F238E27FC236}">
                <a16:creationId xmlns:a16="http://schemas.microsoft.com/office/drawing/2014/main" id="{60EC5D93-1B34-EA94-9081-B27EFB133963}"/>
              </a:ext>
            </a:extLst>
          </p:cNvPr>
          <p:cNvSpPr/>
          <p:nvPr/>
        </p:nvSpPr>
        <p:spPr>
          <a:xfrm>
            <a:off x="5168607" y="1081095"/>
            <a:ext cx="235940" cy="235940"/>
          </a:xfrm>
          <a:prstGeom prst="ellipse">
            <a:avLst/>
          </a:prstGeom>
          <a:solidFill>
            <a:schemeClr val="accent3">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78835" rtl="0" eaLnBrk="1" fontAlgn="auto" latinLnBrk="0" hangingPunct="1">
              <a:lnSpc>
                <a:spcPct val="100000"/>
              </a:lnSpc>
              <a:spcBef>
                <a:spcPts val="0"/>
              </a:spcBef>
              <a:spcAft>
                <a:spcPts val="0"/>
              </a:spcAft>
              <a:buClrTx/>
              <a:buSzTx/>
              <a:buFontTx/>
              <a:buNone/>
              <a:tabLst/>
              <a:defRPr/>
            </a:pPr>
            <a:r>
              <a:rPr kumimoji="1" lang="en-US" altLang="ja-JP" sz="1400" b="0"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rPr>
              <a:t>A</a:t>
            </a:r>
            <a:endParaRPr kumimoji="1" lang="ja-JP" altLang="en-US" sz="1400" b="0"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endParaRPr>
          </a:p>
        </p:txBody>
      </p:sp>
      <p:sp>
        <p:nvSpPr>
          <p:cNvPr id="118" name="楕円 117">
            <a:extLst>
              <a:ext uri="{FF2B5EF4-FFF2-40B4-BE49-F238E27FC236}">
                <a16:creationId xmlns:a16="http://schemas.microsoft.com/office/drawing/2014/main" id="{EB94BE56-3721-C81A-CB07-E8169EB66A98}"/>
              </a:ext>
            </a:extLst>
          </p:cNvPr>
          <p:cNvSpPr/>
          <p:nvPr/>
        </p:nvSpPr>
        <p:spPr>
          <a:xfrm>
            <a:off x="5417536" y="1081095"/>
            <a:ext cx="235940" cy="235940"/>
          </a:xfrm>
          <a:prstGeom prst="ellipse">
            <a:avLst/>
          </a:prstGeom>
          <a:solidFill>
            <a:schemeClr val="accent3">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lvl="0" indent="0" algn="ctr" defTabSz="478835" rtl="0" eaLnBrk="1" fontAlgn="auto" latinLnBrk="0" hangingPunct="1">
              <a:lnSpc>
                <a:spcPct val="100000"/>
              </a:lnSpc>
              <a:spcBef>
                <a:spcPts val="0"/>
              </a:spcBef>
              <a:spcAft>
                <a:spcPts val="0"/>
              </a:spcAft>
              <a:buClrTx/>
              <a:buSzTx/>
              <a:buFontTx/>
              <a:buNone/>
              <a:tabLst/>
              <a:defRPr/>
            </a:pPr>
            <a:r>
              <a:rPr kumimoji="1" lang="en-US" altLang="ja-JP" sz="1400" b="0"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rPr>
              <a:t>A’</a:t>
            </a:r>
            <a:endParaRPr kumimoji="1" lang="ja-JP" altLang="en-US" sz="1400" b="0"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endParaRPr>
          </a:p>
        </p:txBody>
      </p:sp>
      <p:sp>
        <p:nvSpPr>
          <p:cNvPr id="119" name="楕円 118">
            <a:extLst>
              <a:ext uri="{FF2B5EF4-FFF2-40B4-BE49-F238E27FC236}">
                <a16:creationId xmlns:a16="http://schemas.microsoft.com/office/drawing/2014/main" id="{58258F09-B17E-0F6E-4E4A-2101F6422877}"/>
              </a:ext>
            </a:extLst>
          </p:cNvPr>
          <p:cNvSpPr/>
          <p:nvPr/>
        </p:nvSpPr>
        <p:spPr>
          <a:xfrm>
            <a:off x="5666465" y="1081095"/>
            <a:ext cx="235940" cy="235940"/>
          </a:xfrm>
          <a:prstGeom prst="ellipse">
            <a:avLst/>
          </a:prstGeom>
          <a:solidFill>
            <a:schemeClr val="accent3">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78835" rtl="0" eaLnBrk="1" fontAlgn="auto" latinLnBrk="0" hangingPunct="1">
              <a:lnSpc>
                <a:spcPct val="100000"/>
              </a:lnSpc>
              <a:spcBef>
                <a:spcPts val="0"/>
              </a:spcBef>
              <a:spcAft>
                <a:spcPts val="0"/>
              </a:spcAft>
              <a:buClrTx/>
              <a:buSzTx/>
              <a:buFontTx/>
              <a:buNone/>
              <a:tabLst/>
              <a:defRPr/>
            </a:pPr>
            <a:r>
              <a:rPr kumimoji="1" lang="en-US" altLang="ja-JP" sz="1400" b="0"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rPr>
              <a:t>B</a:t>
            </a:r>
            <a:endParaRPr kumimoji="1" lang="ja-JP" altLang="en-US" sz="1400" b="0"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endParaRPr>
          </a:p>
        </p:txBody>
      </p:sp>
      <p:sp>
        <p:nvSpPr>
          <p:cNvPr id="120" name="楕円 119">
            <a:extLst>
              <a:ext uri="{FF2B5EF4-FFF2-40B4-BE49-F238E27FC236}">
                <a16:creationId xmlns:a16="http://schemas.microsoft.com/office/drawing/2014/main" id="{F72124C4-A644-8A24-809A-E670C2C38559}"/>
              </a:ext>
            </a:extLst>
          </p:cNvPr>
          <p:cNvSpPr/>
          <p:nvPr/>
        </p:nvSpPr>
        <p:spPr>
          <a:xfrm>
            <a:off x="9791204" y="1081095"/>
            <a:ext cx="235940" cy="235940"/>
          </a:xfrm>
          <a:prstGeom prst="ellipse">
            <a:avLst/>
          </a:prstGeom>
          <a:solidFill>
            <a:schemeClr val="accent3">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78835" rtl="0" eaLnBrk="1" fontAlgn="auto" latinLnBrk="0" hangingPunct="1">
              <a:lnSpc>
                <a:spcPct val="100000"/>
              </a:lnSpc>
              <a:spcBef>
                <a:spcPts val="0"/>
              </a:spcBef>
              <a:spcAft>
                <a:spcPts val="0"/>
              </a:spcAft>
              <a:buClrTx/>
              <a:buSzTx/>
              <a:buFontTx/>
              <a:buNone/>
              <a:tabLst/>
              <a:defRPr/>
            </a:pPr>
            <a:r>
              <a:rPr kumimoji="1" lang="en-US" altLang="ja-JP" sz="1400" b="0"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rPr>
              <a:t>C</a:t>
            </a:r>
            <a:endParaRPr kumimoji="1" lang="ja-JP" altLang="en-US" sz="1400" b="0"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endParaRPr>
          </a:p>
        </p:txBody>
      </p:sp>
      <p:sp>
        <p:nvSpPr>
          <p:cNvPr id="7" name="楕円 6">
            <a:extLst>
              <a:ext uri="{FF2B5EF4-FFF2-40B4-BE49-F238E27FC236}">
                <a16:creationId xmlns:a16="http://schemas.microsoft.com/office/drawing/2014/main" id="{24D34E57-11AD-C8C6-3E32-DE702ADA9F01}"/>
              </a:ext>
            </a:extLst>
          </p:cNvPr>
          <p:cNvSpPr/>
          <p:nvPr/>
        </p:nvSpPr>
        <p:spPr>
          <a:xfrm>
            <a:off x="3458790" y="5958118"/>
            <a:ext cx="194992" cy="194992"/>
          </a:xfrm>
          <a:prstGeom prst="ellipse">
            <a:avLst/>
          </a:prstGeom>
          <a:solidFill>
            <a:schemeClr val="accent3">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78835" rtl="0" eaLnBrk="1" fontAlgn="auto" latinLnBrk="0" hangingPunct="1">
              <a:lnSpc>
                <a:spcPct val="100000"/>
              </a:lnSpc>
              <a:spcBef>
                <a:spcPts val="0"/>
              </a:spcBef>
              <a:spcAft>
                <a:spcPts val="0"/>
              </a:spcAft>
              <a:buClrTx/>
              <a:buSzTx/>
              <a:buFontTx/>
              <a:buNone/>
              <a:tabLst/>
              <a:defRPr/>
            </a:pPr>
            <a:r>
              <a:rPr kumimoji="1" lang="en-US" altLang="ja-JP" sz="1400" b="0"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rPr>
              <a:t>A</a:t>
            </a:r>
            <a:endParaRPr kumimoji="1" lang="ja-JP" altLang="en-US" sz="1400" b="0"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endParaRPr>
          </a:p>
        </p:txBody>
      </p:sp>
      <p:sp>
        <p:nvSpPr>
          <p:cNvPr id="87" name="正方形/長方形 86">
            <a:extLst>
              <a:ext uri="{FF2B5EF4-FFF2-40B4-BE49-F238E27FC236}">
                <a16:creationId xmlns:a16="http://schemas.microsoft.com/office/drawing/2014/main" id="{60B5CCE0-EDE9-71B5-7220-C0D21A4A93AE}"/>
              </a:ext>
            </a:extLst>
          </p:cNvPr>
          <p:cNvSpPr/>
          <p:nvPr/>
        </p:nvSpPr>
        <p:spPr>
          <a:xfrm>
            <a:off x="7336096" y="2384720"/>
            <a:ext cx="1020589" cy="998171"/>
          </a:xfrm>
          <a:prstGeom prst="rect">
            <a:avLst/>
          </a:prstGeom>
          <a:solidFill>
            <a:schemeClr val="bg1"/>
          </a:solidFill>
          <a:ln>
            <a:solidFill>
              <a:schemeClr val="accent6">
                <a:lumMod val="90000"/>
              </a:schemeClr>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478835" rtl="0" eaLnBrk="1" fontAlgn="auto" latinLnBrk="0" hangingPunct="1">
              <a:lnSpc>
                <a:spcPct val="100000"/>
              </a:lnSpc>
              <a:spcBef>
                <a:spcPts val="0"/>
              </a:spcBef>
              <a:spcAft>
                <a:spcPts val="0"/>
              </a:spcAft>
              <a:buClrTx/>
              <a:buSzTx/>
              <a:buFontTx/>
              <a:buNone/>
              <a:tabLst/>
              <a:defRPr/>
            </a:pPr>
            <a:r>
              <a:rPr kumimoji="1" lang="en-US" altLang="ja-JP" sz="1400" b="1"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26/4</a:t>
            </a:r>
            <a:r>
              <a:rPr kumimoji="1" lang="ja-JP" altLang="en-US" sz="1400" b="1"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時点</a:t>
            </a:r>
            <a:endParaRPr kumimoji="1" lang="ja-JP" altLang="en-US" sz="14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endParaRPr>
          </a:p>
        </p:txBody>
      </p:sp>
      <p:sp>
        <p:nvSpPr>
          <p:cNvPr id="90" name="正方形/長方形 89">
            <a:extLst>
              <a:ext uri="{FF2B5EF4-FFF2-40B4-BE49-F238E27FC236}">
                <a16:creationId xmlns:a16="http://schemas.microsoft.com/office/drawing/2014/main" id="{871284AF-5535-208D-5E71-05A8C3822639}"/>
              </a:ext>
            </a:extLst>
          </p:cNvPr>
          <p:cNvSpPr/>
          <p:nvPr/>
        </p:nvSpPr>
        <p:spPr>
          <a:xfrm>
            <a:off x="7336096" y="3478344"/>
            <a:ext cx="1020589" cy="998171"/>
          </a:xfrm>
          <a:prstGeom prst="rect">
            <a:avLst/>
          </a:prstGeom>
          <a:solidFill>
            <a:schemeClr val="bg1"/>
          </a:solidFill>
          <a:ln>
            <a:solidFill>
              <a:schemeClr val="accent6">
                <a:lumMod val="90000"/>
              </a:schemeClr>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478835" rtl="0" eaLnBrk="1" fontAlgn="auto" latinLnBrk="0" hangingPunct="1">
              <a:lnSpc>
                <a:spcPct val="100000"/>
              </a:lnSpc>
              <a:spcBef>
                <a:spcPts val="0"/>
              </a:spcBef>
              <a:spcAft>
                <a:spcPts val="0"/>
              </a:spcAft>
              <a:buClrTx/>
              <a:buSzTx/>
              <a:buFontTx/>
              <a:buNone/>
              <a:tabLst/>
              <a:defRPr/>
            </a:pPr>
            <a:r>
              <a:rPr kumimoji="1" lang="en-US" altLang="ja-JP" sz="1400" b="1"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26/4</a:t>
            </a:r>
            <a:r>
              <a:rPr kumimoji="1" lang="ja-JP" altLang="en-US" sz="1400" b="1"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時点</a:t>
            </a:r>
            <a:endParaRPr kumimoji="1" lang="ja-JP" altLang="en-US" sz="14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endParaRPr>
          </a:p>
        </p:txBody>
      </p:sp>
      <p:sp>
        <p:nvSpPr>
          <p:cNvPr id="88" name="正方形/長方形 87">
            <a:extLst>
              <a:ext uri="{FF2B5EF4-FFF2-40B4-BE49-F238E27FC236}">
                <a16:creationId xmlns:a16="http://schemas.microsoft.com/office/drawing/2014/main" id="{B727EDD7-83CD-9CD3-E665-1BBEC629C5F1}"/>
              </a:ext>
            </a:extLst>
          </p:cNvPr>
          <p:cNvSpPr/>
          <p:nvPr/>
        </p:nvSpPr>
        <p:spPr>
          <a:xfrm>
            <a:off x="2241036" y="2384718"/>
            <a:ext cx="4890242" cy="998172"/>
          </a:xfrm>
          <a:prstGeom prst="rect">
            <a:avLst/>
          </a:prstGeom>
          <a:solidFill>
            <a:schemeClr val="bg1"/>
          </a:solidFill>
          <a:ln>
            <a:solidFill>
              <a:schemeClr val="accent6">
                <a:lumMod val="90000"/>
              </a:schemeClr>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285750" marR="0" lvl="0" indent="-285750" algn="l" defTabSz="478835"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1" lang="ja-JP" altLang="en-US" sz="14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バディの活動ヒント生成において、</a:t>
            </a:r>
            <a:r>
              <a:rPr kumimoji="1" lang="en-US" altLang="ja-JP" sz="1400" b="1" i="0" u="sng"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API</a:t>
            </a:r>
            <a:r>
              <a:rPr kumimoji="1" lang="ja-JP" altLang="en-US" sz="1400" b="1" i="0" u="sng"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でデジ棚の保持するチラシ情報（ファイルや属性情報）を活用</a:t>
            </a:r>
            <a:r>
              <a:rPr kumimoji="1" lang="ja-JP" altLang="en-US" sz="14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する</a:t>
            </a:r>
            <a:endParaRPr kumimoji="1" lang="en-US" altLang="ja-JP" sz="14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endParaRPr>
          </a:p>
          <a:p>
            <a:pPr marL="285750" marR="0" lvl="0" indent="-285750" algn="l" defTabSz="478835"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1" lang="ja-JP" altLang="en-US" sz="1400" b="1" i="0" u="sng"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デジ棚のチラシ情報は、募集資料登録</a:t>
            </a:r>
            <a:r>
              <a:rPr kumimoji="1" lang="en-US" altLang="ja-JP" sz="1400" b="1" i="0" u="sng"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DB</a:t>
            </a:r>
            <a:r>
              <a:rPr kumimoji="1" lang="ja-JP" altLang="en-US" sz="1400" b="1" i="0" u="sng"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から夜間バッチで自動連携</a:t>
            </a:r>
            <a:r>
              <a:rPr kumimoji="1" lang="ja-JP" altLang="en-US" sz="14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されたもの</a:t>
            </a:r>
            <a:endParaRPr kumimoji="1" lang="en-US" altLang="ja-JP" sz="14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endParaRPr>
          </a:p>
        </p:txBody>
      </p:sp>
      <p:sp>
        <p:nvSpPr>
          <p:cNvPr id="91" name="正方形/長方形 90">
            <a:extLst>
              <a:ext uri="{FF2B5EF4-FFF2-40B4-BE49-F238E27FC236}">
                <a16:creationId xmlns:a16="http://schemas.microsoft.com/office/drawing/2014/main" id="{0D6D73B3-E5E8-0A73-023B-12356E3CBAB7}"/>
              </a:ext>
            </a:extLst>
          </p:cNvPr>
          <p:cNvSpPr/>
          <p:nvPr/>
        </p:nvSpPr>
        <p:spPr>
          <a:xfrm>
            <a:off x="2241036" y="3478342"/>
            <a:ext cx="4890242" cy="998172"/>
          </a:xfrm>
          <a:prstGeom prst="rect">
            <a:avLst/>
          </a:prstGeom>
          <a:solidFill>
            <a:schemeClr val="bg1"/>
          </a:solidFill>
          <a:ln>
            <a:solidFill>
              <a:schemeClr val="accent6">
                <a:lumMod val="90000"/>
              </a:schemeClr>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285750" marR="0" lvl="0" indent="-285750" algn="l" defTabSz="478835"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1" lang="ja-JP" altLang="en-US" sz="14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バディの活動ヒント機能</a:t>
            </a:r>
            <a:r>
              <a:rPr kumimoji="1" lang="en-US" altLang="ja-JP" sz="14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  </a:t>
            </a:r>
            <a:r>
              <a:rPr kumimoji="1" lang="ja-JP" altLang="en-US" sz="14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 </a:t>
            </a:r>
            <a:r>
              <a:rPr kumimoji="1" lang="en-US" altLang="ja-JP" sz="14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a:t>
            </a:r>
            <a:r>
              <a:rPr kumimoji="1" lang="ja-JP" altLang="en-US" sz="14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によりおすすめされたチラシを、</a:t>
            </a:r>
            <a:r>
              <a:rPr kumimoji="1" lang="ja-JP" altLang="en-US" sz="1400" b="1" i="0" u="sng"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バディで“お気に入り追加”</a:t>
            </a:r>
            <a:r>
              <a:rPr kumimoji="1" lang="ja-JP" altLang="en-US" sz="14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することで、</a:t>
            </a:r>
            <a:r>
              <a:rPr kumimoji="1" lang="ja-JP" altLang="en-US" sz="1400" b="1" i="0" u="sng"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デジ棚の“お気に入りタブ”に、</a:t>
            </a:r>
            <a:r>
              <a:rPr kumimoji="1" lang="en-US" altLang="ja-JP" sz="1400" b="1" i="0" u="sng" strike="noStrike" kern="1200" cap="none" spc="0" normalizeH="0" baseline="0" noProof="0">
                <a:ln>
                  <a:noFill/>
                </a:ln>
                <a:solidFill>
                  <a:srgbClr val="000000"/>
                </a:solidFill>
                <a:effectLst/>
                <a:highlight>
                  <a:srgbClr val="FFFF00"/>
                </a:highlight>
                <a:uLnTx/>
                <a:uFillTx/>
                <a:latin typeface="Meiryo UI" panose="020B0604030504040204" pitchFamily="50" charset="-128"/>
                <a:ea typeface="Meiryo UI" panose="020B0604030504040204" pitchFamily="50" charset="-128"/>
                <a:cs typeface="+mn-cs"/>
              </a:rPr>
              <a:t>API</a:t>
            </a:r>
            <a:r>
              <a:rPr kumimoji="1" lang="ja-JP" altLang="en-US" sz="1400" b="1" i="0" u="sng" strike="noStrike" kern="1200" cap="none" spc="0" normalizeH="0" baseline="0" noProof="0">
                <a:ln>
                  <a:noFill/>
                </a:ln>
                <a:solidFill>
                  <a:srgbClr val="000000"/>
                </a:solidFill>
                <a:effectLst/>
                <a:highlight>
                  <a:srgbClr val="FFFF00"/>
                </a:highlight>
                <a:uLnTx/>
                <a:uFillTx/>
                <a:latin typeface="Meiryo UI" panose="020B0604030504040204" pitchFamily="50" charset="-128"/>
                <a:ea typeface="Meiryo UI" panose="020B0604030504040204" pitchFamily="50" charset="-128"/>
                <a:cs typeface="+mn-cs"/>
              </a:rPr>
              <a:t>連携によって、「お気に入りフラグ」、「お客さま氏名」、「活動日」を表示する</a:t>
            </a:r>
            <a:endParaRPr kumimoji="1" lang="en-US" altLang="ja-JP" sz="14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endParaRPr>
          </a:p>
        </p:txBody>
      </p:sp>
      <p:sp>
        <p:nvSpPr>
          <p:cNvPr id="4" name="フリーフォーム: 図形 3">
            <a:extLst>
              <a:ext uri="{FF2B5EF4-FFF2-40B4-BE49-F238E27FC236}">
                <a16:creationId xmlns:a16="http://schemas.microsoft.com/office/drawing/2014/main" id="{9938AA7B-9B9E-52F4-1A59-089AB4E7BCEB}"/>
              </a:ext>
            </a:extLst>
          </p:cNvPr>
          <p:cNvSpPr/>
          <p:nvPr/>
        </p:nvSpPr>
        <p:spPr>
          <a:xfrm>
            <a:off x="585853" y="2384720"/>
            <a:ext cx="1480682" cy="2091793"/>
          </a:xfrm>
          <a:custGeom>
            <a:avLst/>
            <a:gdLst>
              <a:gd name="connsiteX0" fmla="*/ 0 w 1480682"/>
              <a:gd name="connsiteY0" fmla="*/ 0 h 2091793"/>
              <a:gd name="connsiteX1" fmla="*/ 1480682 w 1480682"/>
              <a:gd name="connsiteY1" fmla="*/ 0 h 2091793"/>
              <a:gd name="connsiteX2" fmla="*/ 1480682 w 1480682"/>
              <a:gd name="connsiteY2" fmla="*/ 998171 h 2091793"/>
              <a:gd name="connsiteX3" fmla="*/ 132544 w 1480682"/>
              <a:gd name="connsiteY3" fmla="*/ 998171 h 2091793"/>
              <a:gd name="connsiteX4" fmla="*/ 132544 w 1480682"/>
              <a:gd name="connsiteY4" fmla="*/ 2091793 h 2091793"/>
              <a:gd name="connsiteX5" fmla="*/ 0 w 1480682"/>
              <a:gd name="connsiteY5" fmla="*/ 2091793 h 2091793"/>
              <a:gd name="connsiteX6" fmla="*/ 0 w 1480682"/>
              <a:gd name="connsiteY6" fmla="*/ 998171 h 2091793"/>
              <a:gd name="connsiteX7" fmla="*/ 0 w 1480682"/>
              <a:gd name="connsiteY7" fmla="*/ 193415 h 20917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80682" h="2091793">
                <a:moveTo>
                  <a:pt x="0" y="0"/>
                </a:moveTo>
                <a:lnTo>
                  <a:pt x="1480682" y="0"/>
                </a:lnTo>
                <a:lnTo>
                  <a:pt x="1480682" y="998171"/>
                </a:lnTo>
                <a:lnTo>
                  <a:pt x="132544" y="998171"/>
                </a:lnTo>
                <a:lnTo>
                  <a:pt x="132544" y="2091793"/>
                </a:lnTo>
                <a:lnTo>
                  <a:pt x="0" y="2091793"/>
                </a:lnTo>
                <a:lnTo>
                  <a:pt x="0" y="998171"/>
                </a:lnTo>
                <a:lnTo>
                  <a:pt x="0" y="193415"/>
                </a:lnTo>
                <a:close/>
              </a:path>
            </a:pathLst>
          </a:custGeom>
          <a:solidFill>
            <a:schemeClr val="accent6"/>
          </a:solidFill>
          <a:ln>
            <a:solidFill>
              <a:schemeClr val="accent6">
                <a:lumMod val="90000"/>
              </a:schemeClr>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478835"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デジ棚の</a:t>
            </a:r>
            <a:endParaRPr kumimoji="1" lang="en-US" altLang="ja-JP" sz="14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endParaRPr>
          </a:p>
          <a:p>
            <a:pPr marL="0" marR="0" lvl="0" indent="0" algn="ctr" defTabSz="478835"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チラシ情報を</a:t>
            </a:r>
            <a:endParaRPr kumimoji="1" lang="en-US" altLang="ja-JP" sz="14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endParaRPr>
          </a:p>
          <a:p>
            <a:pPr marL="0" marR="0" lvl="0" indent="0" algn="ctr" defTabSz="478835"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活用した</a:t>
            </a:r>
            <a:endParaRPr kumimoji="1" lang="en-US" altLang="ja-JP" sz="14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endParaRPr>
          </a:p>
          <a:p>
            <a:pPr marL="0" marR="0" lvl="0" indent="0" algn="ctr" defTabSz="478835"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活動ヒント</a:t>
            </a:r>
            <a:endParaRPr kumimoji="1" lang="en-US" altLang="ja-JP" sz="14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endParaRPr>
          </a:p>
        </p:txBody>
      </p:sp>
      <p:sp>
        <p:nvSpPr>
          <p:cNvPr id="89" name="正方形/長方形 88">
            <a:extLst>
              <a:ext uri="{FF2B5EF4-FFF2-40B4-BE49-F238E27FC236}">
                <a16:creationId xmlns:a16="http://schemas.microsoft.com/office/drawing/2014/main" id="{20F67FB3-0556-5579-972F-EBE18D7046B1}"/>
              </a:ext>
            </a:extLst>
          </p:cNvPr>
          <p:cNvSpPr/>
          <p:nvPr/>
        </p:nvSpPr>
        <p:spPr>
          <a:xfrm>
            <a:off x="836367" y="3478344"/>
            <a:ext cx="1230168" cy="998171"/>
          </a:xfrm>
          <a:prstGeom prst="rect">
            <a:avLst/>
          </a:prstGeom>
          <a:solidFill>
            <a:schemeClr val="accent6"/>
          </a:solidFill>
          <a:ln>
            <a:solidFill>
              <a:schemeClr val="accent6">
                <a:lumMod val="90000"/>
              </a:schemeClr>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78835"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ヒントチラシの</a:t>
            </a:r>
            <a:endParaRPr kumimoji="1" lang="en-US" altLang="ja-JP" sz="14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endParaRPr>
          </a:p>
          <a:p>
            <a:pPr marL="0" marR="0" lvl="0" indent="0" algn="ctr" defTabSz="478835" rtl="0" eaLnBrk="1" fontAlgn="auto" latinLnBrk="0" hangingPunct="1">
              <a:lnSpc>
                <a:spcPct val="100000"/>
              </a:lnSpc>
              <a:spcBef>
                <a:spcPts val="0"/>
              </a:spcBef>
              <a:spcAft>
                <a:spcPts val="0"/>
              </a:spcAft>
              <a:buClrTx/>
              <a:buSzTx/>
              <a:buFontTx/>
              <a:buNone/>
              <a:tabLst/>
              <a:defRPr/>
            </a:pPr>
            <a:r>
              <a:rPr kumimoji="1" lang="en-US" altLang="ja-JP" sz="14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a:t>
            </a:r>
            <a:r>
              <a:rPr kumimoji="1" lang="ja-JP" altLang="en-US" sz="14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お気に入り追加”による</a:t>
            </a:r>
            <a:br>
              <a:rPr kumimoji="1" lang="en-US" altLang="ja-JP" sz="14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br>
            <a:r>
              <a:rPr kumimoji="1" lang="ja-JP" altLang="en-US" sz="14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デジ棚連携</a:t>
            </a:r>
            <a:endParaRPr kumimoji="1" lang="en-US" altLang="ja-JP" sz="14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endParaRPr>
          </a:p>
        </p:txBody>
      </p:sp>
      <p:sp>
        <p:nvSpPr>
          <p:cNvPr id="93" name="正方形/長方形 92">
            <a:extLst>
              <a:ext uri="{FF2B5EF4-FFF2-40B4-BE49-F238E27FC236}">
                <a16:creationId xmlns:a16="http://schemas.microsoft.com/office/drawing/2014/main" id="{FB09DDA6-1538-8AF7-1AD1-613950B70F3C}"/>
              </a:ext>
            </a:extLst>
          </p:cNvPr>
          <p:cNvSpPr/>
          <p:nvPr/>
        </p:nvSpPr>
        <p:spPr>
          <a:xfrm>
            <a:off x="204767" y="2384719"/>
            <a:ext cx="290810" cy="2091794"/>
          </a:xfrm>
          <a:prstGeom prst="rect">
            <a:avLst/>
          </a:prstGeom>
          <a:solidFill>
            <a:schemeClr val="accent6">
              <a:lumMod val="50000"/>
            </a:schemeClr>
          </a:solidFill>
          <a:ln>
            <a:solidFill>
              <a:schemeClr val="accent6">
                <a:lumMod val="90000"/>
              </a:schemeClr>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eaVert" wrap="square" lIns="91440" tIns="45720" rIns="91440" bIns="45720" numCol="1" spcCol="0" rtlCol="0" fromWordArt="0" anchor="ctr" anchorCtr="0" forceAA="0" compatLnSpc="1">
            <a:prstTxWarp prst="textNoShape">
              <a:avLst/>
            </a:prstTxWarp>
            <a:noAutofit/>
          </a:bodyPr>
          <a:lstStyle/>
          <a:p>
            <a:pPr marL="0" marR="0" lvl="0" indent="0" algn="ctr" defTabSz="478835" rtl="0" eaLnBrk="1" fontAlgn="auto" latinLnBrk="0" hangingPunct="1">
              <a:lnSpc>
                <a:spcPct val="100000"/>
              </a:lnSpc>
              <a:spcBef>
                <a:spcPts val="0"/>
              </a:spcBef>
              <a:spcAft>
                <a:spcPts val="0"/>
              </a:spcAft>
              <a:buClrTx/>
              <a:buSzTx/>
              <a:buFontTx/>
              <a:buNone/>
              <a:tabLst/>
              <a:defRPr/>
            </a:pPr>
            <a:r>
              <a:rPr kumimoji="1" lang="ja-JP" altLang="en-US" sz="1400" b="1"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rPr>
              <a:t>デジタルバディ</a:t>
            </a:r>
            <a:endParaRPr kumimoji="1" lang="en-US" altLang="ja-JP" sz="1400" b="1"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endParaRPr>
          </a:p>
        </p:txBody>
      </p:sp>
      <p:sp>
        <p:nvSpPr>
          <p:cNvPr id="111" name="正方形/長方形 110">
            <a:extLst>
              <a:ext uri="{FF2B5EF4-FFF2-40B4-BE49-F238E27FC236}">
                <a16:creationId xmlns:a16="http://schemas.microsoft.com/office/drawing/2014/main" id="{2816BE59-EE64-26E8-7E46-C68DCA56EA93}"/>
              </a:ext>
            </a:extLst>
          </p:cNvPr>
          <p:cNvSpPr/>
          <p:nvPr/>
        </p:nvSpPr>
        <p:spPr>
          <a:xfrm>
            <a:off x="8561503" y="2384720"/>
            <a:ext cx="3425729" cy="998171"/>
          </a:xfrm>
          <a:prstGeom prst="rect">
            <a:avLst/>
          </a:prstGeom>
          <a:solidFill>
            <a:schemeClr val="bg1"/>
          </a:solidFill>
          <a:ln>
            <a:solidFill>
              <a:schemeClr val="accent6">
                <a:lumMod val="90000"/>
              </a:schemeClr>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80975" marR="0" lvl="0" indent="-180975" algn="l" defTabSz="478835"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14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デジ棚</a:t>
            </a:r>
            <a:r>
              <a:rPr kumimoji="1" lang="en-US" altLang="ja-JP" sz="14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API</a:t>
            </a:r>
            <a:r>
              <a:rPr kumimoji="1" lang="ja-JP" altLang="en-US" sz="14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の仕様詳細の確定</a:t>
            </a:r>
            <a:r>
              <a:rPr kumimoji="1" lang="en-US" altLang="ja-JP" sz="14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25/5</a:t>
            </a:r>
            <a:r>
              <a:rPr kumimoji="1" lang="ja-JP" altLang="en-US" sz="14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中頃</a:t>
            </a:r>
            <a:r>
              <a:rPr kumimoji="1" lang="en-US" altLang="ja-JP" sz="14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a:t>
            </a:r>
          </a:p>
          <a:p>
            <a:pPr marL="180975" marR="0" lvl="0" indent="-180975" algn="l" defTabSz="478835"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14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デジ棚</a:t>
            </a:r>
            <a:r>
              <a:rPr kumimoji="1" lang="en-US" altLang="ja-JP" sz="14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API</a:t>
            </a:r>
            <a:r>
              <a:rPr kumimoji="1" lang="ja-JP" altLang="en-US" sz="14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との接続</a:t>
            </a:r>
            <a:r>
              <a:rPr kumimoji="1" lang="en-US" altLang="ja-JP" sz="14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25/7</a:t>
            </a:r>
            <a:r>
              <a:rPr kumimoji="1" lang="ja-JP" altLang="en-US" sz="14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目途</a:t>
            </a:r>
            <a:r>
              <a:rPr kumimoji="1" lang="en-US" altLang="ja-JP" sz="14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a:t>
            </a:r>
          </a:p>
          <a:p>
            <a:pPr marL="180975" marR="0" lvl="0" indent="-180975" algn="l" defTabSz="478835"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14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募集資料登録</a:t>
            </a:r>
            <a:r>
              <a:rPr kumimoji="1" lang="en-US" altLang="ja-JP" sz="14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DB</a:t>
            </a:r>
            <a:r>
              <a:rPr kumimoji="1" lang="ja-JP" altLang="en-US" sz="14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へのバディカテゴリ新設</a:t>
            </a:r>
            <a:br>
              <a:rPr kumimoji="1" lang="en-US" altLang="ja-JP" sz="14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br>
            <a:r>
              <a:rPr kumimoji="1" lang="en-US" altLang="ja-JP" sz="14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25/10</a:t>
            </a:r>
            <a:r>
              <a:rPr kumimoji="1" lang="ja-JP" altLang="en-US" sz="14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a:t>
            </a:r>
            <a:r>
              <a:rPr kumimoji="1" lang="en-US" altLang="ja-JP" sz="14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a:t>
            </a:r>
            <a:endParaRPr kumimoji="1" lang="ja-JP" altLang="en-US" sz="14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endParaRPr>
          </a:p>
        </p:txBody>
      </p:sp>
      <p:sp>
        <p:nvSpPr>
          <p:cNvPr id="112" name="正方形/長方形 111">
            <a:extLst>
              <a:ext uri="{FF2B5EF4-FFF2-40B4-BE49-F238E27FC236}">
                <a16:creationId xmlns:a16="http://schemas.microsoft.com/office/drawing/2014/main" id="{0CEBFEA5-0514-0748-952A-354C1F0E5982}"/>
              </a:ext>
            </a:extLst>
          </p:cNvPr>
          <p:cNvSpPr/>
          <p:nvPr/>
        </p:nvSpPr>
        <p:spPr>
          <a:xfrm>
            <a:off x="8561503" y="3478344"/>
            <a:ext cx="3425729" cy="998171"/>
          </a:xfrm>
          <a:prstGeom prst="rect">
            <a:avLst/>
          </a:prstGeom>
          <a:solidFill>
            <a:schemeClr val="bg1"/>
          </a:solidFill>
          <a:ln>
            <a:solidFill>
              <a:schemeClr val="accent6">
                <a:lumMod val="90000"/>
              </a:schemeClr>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180975" marR="0" lvl="0" indent="-180975" algn="l" defTabSz="478835"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14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バディ“お気に入り追加”機能の開発</a:t>
            </a:r>
            <a:br>
              <a:rPr kumimoji="1" lang="en-US" altLang="ja-JP" sz="14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br>
            <a:r>
              <a:rPr kumimoji="1" lang="en-US" altLang="ja-JP" sz="1400" b="1" i="0" u="none" strike="noStrike" kern="1200" cap="none" spc="0" normalizeH="0" baseline="0" noProof="0">
                <a:ln>
                  <a:noFill/>
                </a:ln>
                <a:solidFill>
                  <a:prstClr val="white">
                    <a:lumMod val="50000"/>
                  </a:prstClr>
                </a:solidFill>
                <a:effectLst/>
                <a:uLnTx/>
                <a:uFillTx/>
                <a:latin typeface="Meiryo UI" panose="020B0604030504040204" pitchFamily="50" charset="-128"/>
                <a:ea typeface="Meiryo UI" panose="020B0604030504040204" pitchFamily="50" charset="-128"/>
                <a:cs typeface="+mn-cs"/>
              </a:rPr>
              <a:t>(</a:t>
            </a:r>
            <a:r>
              <a:rPr kumimoji="1" lang="ja-JP" altLang="en-US" sz="1400" b="1" i="0" u="none" strike="noStrike" kern="1200" cap="none" spc="0" normalizeH="0" baseline="0" noProof="0">
                <a:ln>
                  <a:noFill/>
                </a:ln>
                <a:solidFill>
                  <a:prstClr val="white">
                    <a:lumMod val="50000"/>
                  </a:prstClr>
                </a:solidFill>
                <a:effectLst/>
                <a:uLnTx/>
                <a:uFillTx/>
                <a:latin typeface="Meiryo UI" panose="020B0604030504040204" pitchFamily="50" charset="-128"/>
                <a:ea typeface="Meiryo UI" panose="020B0604030504040204" pitchFamily="50" charset="-128"/>
                <a:cs typeface="+mn-cs"/>
              </a:rPr>
              <a:t>要検討</a:t>
            </a:r>
            <a:r>
              <a:rPr kumimoji="1" lang="en-US" altLang="ja-JP" sz="1400" b="1" i="0" u="none" strike="noStrike" kern="1200" cap="none" spc="0" normalizeH="0" baseline="0" noProof="0">
                <a:ln>
                  <a:noFill/>
                </a:ln>
                <a:solidFill>
                  <a:prstClr val="white">
                    <a:lumMod val="50000"/>
                  </a:prstClr>
                </a:solidFill>
                <a:effectLst/>
                <a:uLnTx/>
                <a:uFillTx/>
                <a:latin typeface="Meiryo UI" panose="020B0604030504040204" pitchFamily="50" charset="-128"/>
                <a:ea typeface="Meiryo UI" panose="020B0604030504040204" pitchFamily="50" charset="-128"/>
                <a:cs typeface="+mn-cs"/>
              </a:rPr>
              <a:t>)</a:t>
            </a:r>
          </a:p>
          <a:p>
            <a:pPr marL="180975" marR="0" lvl="0" indent="-180975" algn="l" defTabSz="478835"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14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デジ棚画面の</a:t>
            </a:r>
            <a:r>
              <a:rPr kumimoji="1" lang="en-US" altLang="ja-JP" sz="14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UI</a:t>
            </a:r>
            <a:r>
              <a:rPr kumimoji="1" lang="ja-JP" altLang="en-US" sz="14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設計</a:t>
            </a:r>
            <a:r>
              <a:rPr kumimoji="1" lang="en-US" altLang="ja-JP" sz="14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a:t>
            </a:r>
            <a:r>
              <a:rPr kumimoji="1" lang="ja-JP" altLang="en-US" sz="14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バディ連携フラグ</a:t>
            </a:r>
            <a:r>
              <a:rPr kumimoji="1" lang="en-US" altLang="ja-JP" sz="14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a:t>
            </a:r>
            <a:br>
              <a:rPr kumimoji="1" lang="en-US" altLang="ja-JP" sz="14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br>
            <a:r>
              <a:rPr kumimoji="1" lang="en-US" altLang="ja-JP" sz="1400" b="1" i="0" u="none" strike="noStrike" kern="1200" cap="none" spc="0" normalizeH="0" baseline="0" noProof="0">
                <a:ln>
                  <a:noFill/>
                </a:ln>
                <a:solidFill>
                  <a:prstClr val="white">
                    <a:lumMod val="50000"/>
                  </a:prstClr>
                </a:solidFill>
                <a:effectLst/>
                <a:uLnTx/>
                <a:uFillTx/>
                <a:latin typeface="Meiryo UI" panose="020B0604030504040204" pitchFamily="50" charset="-128"/>
                <a:ea typeface="Meiryo UI" panose="020B0604030504040204" pitchFamily="50" charset="-128"/>
                <a:cs typeface="+mn-cs"/>
              </a:rPr>
              <a:t>(</a:t>
            </a:r>
            <a:r>
              <a:rPr kumimoji="1" lang="ja-JP" altLang="en-US" sz="1400" b="1" i="0" u="none" strike="noStrike" kern="1200" cap="none" spc="0" normalizeH="0" baseline="0" noProof="0">
                <a:ln>
                  <a:noFill/>
                </a:ln>
                <a:solidFill>
                  <a:prstClr val="white">
                    <a:lumMod val="50000"/>
                  </a:prstClr>
                </a:solidFill>
                <a:effectLst/>
                <a:uLnTx/>
                <a:uFillTx/>
                <a:latin typeface="Meiryo UI" panose="020B0604030504040204" pitchFamily="50" charset="-128"/>
                <a:ea typeface="Meiryo UI" panose="020B0604030504040204" pitchFamily="50" charset="-128"/>
                <a:cs typeface="+mn-cs"/>
              </a:rPr>
              <a:t>要検討</a:t>
            </a:r>
            <a:r>
              <a:rPr kumimoji="1" lang="en-US" altLang="ja-JP" sz="1400" b="1" i="0" u="none" strike="noStrike" kern="1200" cap="none" spc="0" normalizeH="0" baseline="0" noProof="0">
                <a:ln>
                  <a:noFill/>
                </a:ln>
                <a:solidFill>
                  <a:prstClr val="white">
                    <a:lumMod val="50000"/>
                  </a:prstClr>
                </a:solidFill>
                <a:effectLst/>
                <a:uLnTx/>
                <a:uFillTx/>
                <a:latin typeface="Meiryo UI" panose="020B0604030504040204" pitchFamily="50" charset="-128"/>
                <a:ea typeface="Meiryo UI" panose="020B0604030504040204" pitchFamily="50" charset="-128"/>
                <a:cs typeface="+mn-cs"/>
              </a:rPr>
              <a:t>)</a:t>
            </a:r>
            <a:r>
              <a:rPr kumimoji="1" lang="en-US" altLang="ja-JP" sz="1400" b="0" i="0" u="none" strike="noStrike" kern="1200" cap="none" spc="0" normalizeH="0" baseline="0" noProof="0">
                <a:ln>
                  <a:noFill/>
                </a:ln>
                <a:solidFill>
                  <a:prstClr val="white">
                    <a:lumMod val="50000"/>
                  </a:prstClr>
                </a:solidFill>
                <a:effectLst/>
                <a:uLnTx/>
                <a:uFillTx/>
                <a:latin typeface="Meiryo UI" panose="020B0604030504040204" pitchFamily="50" charset="-128"/>
                <a:ea typeface="Meiryo UI" panose="020B0604030504040204" pitchFamily="50" charset="-128"/>
                <a:cs typeface="+mn-cs"/>
              </a:rPr>
              <a:t> </a:t>
            </a:r>
            <a:r>
              <a:rPr kumimoji="1" lang="ja-JP" altLang="en-US" sz="14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 その後、画面開発</a:t>
            </a:r>
            <a:endParaRPr kumimoji="1" lang="en-US" altLang="ja-JP" sz="14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endParaRPr>
          </a:p>
        </p:txBody>
      </p:sp>
      <p:sp>
        <p:nvSpPr>
          <p:cNvPr id="8" name="楕円 7">
            <a:extLst>
              <a:ext uri="{FF2B5EF4-FFF2-40B4-BE49-F238E27FC236}">
                <a16:creationId xmlns:a16="http://schemas.microsoft.com/office/drawing/2014/main" id="{44C64BFA-07F2-C57C-72ED-7F69EDC5FB05}"/>
              </a:ext>
            </a:extLst>
          </p:cNvPr>
          <p:cNvSpPr/>
          <p:nvPr/>
        </p:nvSpPr>
        <p:spPr>
          <a:xfrm>
            <a:off x="4313582" y="3573185"/>
            <a:ext cx="194992" cy="194992"/>
          </a:xfrm>
          <a:prstGeom prst="ellipse">
            <a:avLst/>
          </a:prstGeom>
          <a:solidFill>
            <a:schemeClr val="accent3">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78835" rtl="0" eaLnBrk="1" fontAlgn="auto" latinLnBrk="0" hangingPunct="1">
              <a:lnSpc>
                <a:spcPct val="100000"/>
              </a:lnSpc>
              <a:spcBef>
                <a:spcPts val="0"/>
              </a:spcBef>
              <a:spcAft>
                <a:spcPts val="0"/>
              </a:spcAft>
              <a:buClrTx/>
              <a:buSzTx/>
              <a:buFontTx/>
              <a:buNone/>
              <a:tabLst/>
              <a:defRPr/>
            </a:pPr>
            <a:r>
              <a:rPr kumimoji="1" lang="en-US" altLang="ja-JP" sz="1400" b="0"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rPr>
              <a:t>A</a:t>
            </a:r>
            <a:endParaRPr kumimoji="1" lang="ja-JP" altLang="en-US" sz="1400" b="0"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endParaRPr>
          </a:p>
        </p:txBody>
      </p:sp>
      <p:sp>
        <p:nvSpPr>
          <p:cNvPr id="24" name="楕円 23">
            <a:extLst>
              <a:ext uri="{FF2B5EF4-FFF2-40B4-BE49-F238E27FC236}">
                <a16:creationId xmlns:a16="http://schemas.microsoft.com/office/drawing/2014/main" id="{004A9AA5-D5F0-D45D-18E9-B77A653C3036}"/>
              </a:ext>
            </a:extLst>
          </p:cNvPr>
          <p:cNvSpPr/>
          <p:nvPr/>
        </p:nvSpPr>
        <p:spPr>
          <a:xfrm>
            <a:off x="548002" y="4458631"/>
            <a:ext cx="235940" cy="235940"/>
          </a:xfrm>
          <a:prstGeom prst="ellipse">
            <a:avLst/>
          </a:prstGeom>
          <a:solidFill>
            <a:schemeClr val="accent3">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78835" rtl="0" eaLnBrk="1" fontAlgn="auto" latinLnBrk="0" hangingPunct="1">
              <a:lnSpc>
                <a:spcPct val="100000"/>
              </a:lnSpc>
              <a:spcBef>
                <a:spcPts val="0"/>
              </a:spcBef>
              <a:spcAft>
                <a:spcPts val="0"/>
              </a:spcAft>
              <a:buClrTx/>
              <a:buSzTx/>
              <a:buFontTx/>
              <a:buNone/>
              <a:tabLst/>
              <a:defRPr/>
            </a:pPr>
            <a:r>
              <a:rPr kumimoji="1" lang="en-US" altLang="ja-JP" sz="1400" b="0"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rPr>
              <a:t>B</a:t>
            </a:r>
            <a:endParaRPr kumimoji="1" lang="ja-JP" altLang="en-US" sz="1400" b="0"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endParaRPr>
          </a:p>
        </p:txBody>
      </p:sp>
      <p:sp>
        <p:nvSpPr>
          <p:cNvPr id="94" name="楕円 93">
            <a:extLst>
              <a:ext uri="{FF2B5EF4-FFF2-40B4-BE49-F238E27FC236}">
                <a16:creationId xmlns:a16="http://schemas.microsoft.com/office/drawing/2014/main" id="{B5F0CFCE-369B-F8B2-4496-EEA4F713A7CB}"/>
              </a:ext>
            </a:extLst>
          </p:cNvPr>
          <p:cNvSpPr/>
          <p:nvPr/>
        </p:nvSpPr>
        <p:spPr>
          <a:xfrm>
            <a:off x="548002" y="5541021"/>
            <a:ext cx="235940" cy="235940"/>
          </a:xfrm>
          <a:prstGeom prst="ellipse">
            <a:avLst/>
          </a:prstGeom>
          <a:solidFill>
            <a:schemeClr val="accent3">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78835" rtl="0" eaLnBrk="1" fontAlgn="auto" latinLnBrk="0" hangingPunct="1">
              <a:lnSpc>
                <a:spcPct val="100000"/>
              </a:lnSpc>
              <a:spcBef>
                <a:spcPts val="0"/>
              </a:spcBef>
              <a:spcAft>
                <a:spcPts val="0"/>
              </a:spcAft>
              <a:buClrTx/>
              <a:buSzTx/>
              <a:buFontTx/>
              <a:buNone/>
              <a:tabLst/>
              <a:defRPr/>
            </a:pPr>
            <a:r>
              <a:rPr kumimoji="1" lang="en-US" altLang="ja-JP" sz="1400" b="0"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rPr>
              <a:t>C</a:t>
            </a:r>
            <a:endParaRPr kumimoji="1" lang="ja-JP" altLang="en-US" sz="1400" b="0"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endParaRPr>
          </a:p>
        </p:txBody>
      </p:sp>
      <p:sp>
        <p:nvSpPr>
          <p:cNvPr id="95" name="楕円 94">
            <a:extLst>
              <a:ext uri="{FF2B5EF4-FFF2-40B4-BE49-F238E27FC236}">
                <a16:creationId xmlns:a16="http://schemas.microsoft.com/office/drawing/2014/main" id="{A726CCEA-B2BF-1EF1-7A92-9CA86DB88CB4}"/>
              </a:ext>
            </a:extLst>
          </p:cNvPr>
          <p:cNvSpPr/>
          <p:nvPr/>
        </p:nvSpPr>
        <p:spPr>
          <a:xfrm>
            <a:off x="548002" y="2248918"/>
            <a:ext cx="235940" cy="235940"/>
          </a:xfrm>
          <a:prstGeom prst="ellipse">
            <a:avLst/>
          </a:prstGeom>
          <a:solidFill>
            <a:schemeClr val="accent3">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78835" rtl="0" eaLnBrk="1" fontAlgn="auto" latinLnBrk="0" hangingPunct="1">
              <a:lnSpc>
                <a:spcPct val="100000"/>
              </a:lnSpc>
              <a:spcBef>
                <a:spcPts val="0"/>
              </a:spcBef>
              <a:spcAft>
                <a:spcPts val="0"/>
              </a:spcAft>
              <a:buClrTx/>
              <a:buSzTx/>
              <a:buFontTx/>
              <a:buNone/>
              <a:tabLst/>
              <a:defRPr/>
            </a:pPr>
            <a:r>
              <a:rPr kumimoji="1" lang="en-US" altLang="ja-JP" sz="1400" b="0"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rPr>
              <a:t>A</a:t>
            </a:r>
            <a:endParaRPr kumimoji="1" lang="ja-JP" altLang="en-US" sz="1400" b="0"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endParaRPr>
          </a:p>
        </p:txBody>
      </p:sp>
      <p:sp>
        <p:nvSpPr>
          <p:cNvPr id="96" name="楕円 95">
            <a:extLst>
              <a:ext uri="{FF2B5EF4-FFF2-40B4-BE49-F238E27FC236}">
                <a16:creationId xmlns:a16="http://schemas.microsoft.com/office/drawing/2014/main" id="{267643F0-F360-B6EB-B735-BF38F480746C}"/>
              </a:ext>
            </a:extLst>
          </p:cNvPr>
          <p:cNvSpPr/>
          <p:nvPr/>
        </p:nvSpPr>
        <p:spPr>
          <a:xfrm>
            <a:off x="718397" y="3331307"/>
            <a:ext cx="235940" cy="235940"/>
          </a:xfrm>
          <a:prstGeom prst="ellipse">
            <a:avLst/>
          </a:prstGeom>
          <a:solidFill>
            <a:schemeClr val="accent3">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lvl="0" indent="0" algn="ctr" defTabSz="478835" rtl="0" eaLnBrk="1" fontAlgn="auto" latinLnBrk="0" hangingPunct="1">
              <a:lnSpc>
                <a:spcPct val="100000"/>
              </a:lnSpc>
              <a:spcBef>
                <a:spcPts val="0"/>
              </a:spcBef>
              <a:spcAft>
                <a:spcPts val="0"/>
              </a:spcAft>
              <a:buClrTx/>
              <a:buSzTx/>
              <a:buFontTx/>
              <a:buNone/>
              <a:tabLst/>
              <a:defRPr/>
            </a:pPr>
            <a:r>
              <a:rPr kumimoji="1" lang="en-US" altLang="ja-JP" sz="1400" b="0"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rPr>
              <a:t>A’</a:t>
            </a:r>
            <a:endParaRPr kumimoji="1" lang="ja-JP" altLang="en-US" sz="1400" b="0"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endParaRPr>
          </a:p>
        </p:txBody>
      </p:sp>
      <p:grpSp>
        <p:nvGrpSpPr>
          <p:cNvPr id="6" name="グループ化 5">
            <a:extLst>
              <a:ext uri="{FF2B5EF4-FFF2-40B4-BE49-F238E27FC236}">
                <a16:creationId xmlns:a16="http://schemas.microsoft.com/office/drawing/2014/main" id="{9B7C50D4-583F-5E06-9576-F24B5B176304}"/>
              </a:ext>
            </a:extLst>
          </p:cNvPr>
          <p:cNvGrpSpPr/>
          <p:nvPr/>
        </p:nvGrpSpPr>
        <p:grpSpPr>
          <a:xfrm>
            <a:off x="9795990" y="39696"/>
            <a:ext cx="2223646" cy="708068"/>
            <a:chOff x="7711002" y="39696"/>
            <a:chExt cx="2223646" cy="708068"/>
          </a:xfrm>
        </p:grpSpPr>
        <p:sp>
          <p:nvSpPr>
            <p:cNvPr id="9" name="正方形/長方形 8">
              <a:extLst>
                <a:ext uri="{FF2B5EF4-FFF2-40B4-BE49-F238E27FC236}">
                  <a16:creationId xmlns:a16="http://schemas.microsoft.com/office/drawing/2014/main" id="{1B8055F4-9201-26A6-AA41-1873ACD72F7C}"/>
                </a:ext>
              </a:extLst>
            </p:cNvPr>
            <p:cNvSpPr/>
            <p:nvPr/>
          </p:nvSpPr>
          <p:spPr>
            <a:xfrm>
              <a:off x="7711002" y="482895"/>
              <a:ext cx="509972" cy="264869"/>
            </a:xfrm>
            <a:prstGeom prst="rect">
              <a:avLst/>
            </a:prstGeom>
            <a:solidFill>
              <a:srgbClr val="FFFF00"/>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78835" rtl="0" eaLnBrk="1" fontAlgn="auto" latinLnBrk="0" hangingPunct="1">
                <a:lnSpc>
                  <a:spcPct val="100000"/>
                </a:lnSpc>
                <a:spcBef>
                  <a:spcPts val="0"/>
                </a:spcBef>
                <a:spcAft>
                  <a:spcPts val="0"/>
                </a:spcAft>
                <a:buClrTx/>
                <a:buSzTx/>
                <a:buFontTx/>
                <a:buNone/>
                <a:tabLst/>
                <a:defRPr/>
              </a:pPr>
              <a:endParaRPr kumimoji="1" lang="ja-JP" altLang="en-US" sz="1900" b="0" i="0" u="none" strike="noStrike" kern="1200" cap="none" spc="0" normalizeH="0" baseline="0" noProof="0">
                <a:ln>
                  <a:noFill/>
                </a:ln>
                <a:solidFill>
                  <a:srgbClr val="000000"/>
                </a:solidFill>
                <a:effectLst/>
                <a:uLnTx/>
                <a:uFillTx/>
                <a:latin typeface="Arial Unicode MS"/>
                <a:ea typeface="ＭＳ Ｐゴシック"/>
                <a:cs typeface="+mn-cs"/>
              </a:endParaRPr>
            </a:p>
          </p:txBody>
        </p:sp>
        <p:grpSp>
          <p:nvGrpSpPr>
            <p:cNvPr id="10" name="グループ化 9">
              <a:extLst>
                <a:ext uri="{FF2B5EF4-FFF2-40B4-BE49-F238E27FC236}">
                  <a16:creationId xmlns:a16="http://schemas.microsoft.com/office/drawing/2014/main" id="{2EB5B74C-D045-D07E-FAA3-E0C6BF2D1E4A}"/>
                </a:ext>
              </a:extLst>
            </p:cNvPr>
            <p:cNvGrpSpPr/>
            <p:nvPr/>
          </p:nvGrpSpPr>
          <p:grpSpPr>
            <a:xfrm>
              <a:off x="7711002" y="39696"/>
              <a:ext cx="2223646" cy="708068"/>
              <a:chOff x="7711001" y="39696"/>
              <a:chExt cx="2582613" cy="708068"/>
            </a:xfrm>
          </p:grpSpPr>
          <p:sp>
            <p:nvSpPr>
              <p:cNvPr id="12" name="正方形/長方形 11">
                <a:extLst>
                  <a:ext uri="{FF2B5EF4-FFF2-40B4-BE49-F238E27FC236}">
                    <a16:creationId xmlns:a16="http://schemas.microsoft.com/office/drawing/2014/main" id="{3AAA7B1E-F574-913B-49EF-C395280E2629}"/>
                  </a:ext>
                </a:extLst>
              </p:cNvPr>
              <p:cNvSpPr/>
              <p:nvPr/>
            </p:nvSpPr>
            <p:spPr>
              <a:xfrm>
                <a:off x="8298560" y="482895"/>
                <a:ext cx="1995054" cy="264869"/>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478835" rtl="0" eaLnBrk="1" fontAlgn="auto" latinLnBrk="0" hangingPunct="1">
                  <a:lnSpc>
                    <a:spcPct val="100000"/>
                  </a:lnSpc>
                  <a:spcBef>
                    <a:spcPts val="0"/>
                  </a:spcBef>
                  <a:spcAft>
                    <a:spcPts val="0"/>
                  </a:spcAft>
                  <a:buClrTx/>
                  <a:buSzTx/>
                  <a:buFontTx/>
                  <a:buNone/>
                  <a:tabLst/>
                  <a:defRPr/>
                </a:pPr>
                <a:r>
                  <a:rPr kumimoji="1" lang="ja-JP" altLang="en-US" sz="1600" b="1"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訂正箇所</a:t>
                </a:r>
              </a:p>
            </p:txBody>
          </p:sp>
          <p:sp>
            <p:nvSpPr>
              <p:cNvPr id="23" name="正方形/長方形 22">
                <a:extLst>
                  <a:ext uri="{FF2B5EF4-FFF2-40B4-BE49-F238E27FC236}">
                    <a16:creationId xmlns:a16="http://schemas.microsoft.com/office/drawing/2014/main" id="{39A3BFD3-B703-698F-703A-A25AD0FB9B8A}"/>
                  </a:ext>
                </a:extLst>
              </p:cNvPr>
              <p:cNvSpPr/>
              <p:nvPr/>
            </p:nvSpPr>
            <p:spPr>
              <a:xfrm>
                <a:off x="7711001" y="39696"/>
                <a:ext cx="2582613" cy="380554"/>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78835" rtl="0" eaLnBrk="1" fontAlgn="auto" latinLnBrk="0" hangingPunct="1">
                  <a:lnSpc>
                    <a:spcPct val="100000"/>
                  </a:lnSpc>
                  <a:spcBef>
                    <a:spcPts val="0"/>
                  </a:spcBef>
                  <a:spcAft>
                    <a:spcPts val="0"/>
                  </a:spcAft>
                  <a:buClrTx/>
                  <a:buSzTx/>
                  <a:buFontTx/>
                  <a:buNone/>
                  <a:tabLst/>
                  <a:defRPr/>
                </a:pPr>
                <a:r>
                  <a:rPr kumimoji="1" lang="en-US" altLang="ja-JP" sz="1600" b="1"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rPr>
                  <a:t>4/11(</a:t>
                </a:r>
                <a:r>
                  <a:rPr kumimoji="1" lang="ja-JP" altLang="en-US" sz="1600" b="1"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rPr>
                  <a:t>金</a:t>
                </a:r>
                <a:r>
                  <a:rPr kumimoji="1" lang="en-US" altLang="ja-JP" sz="1600" b="1"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rPr>
                  <a:t>)</a:t>
                </a:r>
                <a:r>
                  <a:rPr kumimoji="1" lang="ja-JP" altLang="en-US" sz="1600" b="1"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rPr>
                  <a:t>訂正版</a:t>
                </a:r>
                <a:endParaRPr kumimoji="1" lang="en-US" altLang="ja-JP" sz="1600" b="1"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endParaRPr>
              </a:p>
            </p:txBody>
          </p:sp>
        </p:grpSp>
      </p:grpSp>
      <p:sp>
        <p:nvSpPr>
          <p:cNvPr id="2" name="テキスト ボックス 1">
            <a:extLst>
              <a:ext uri="{FF2B5EF4-FFF2-40B4-BE49-F238E27FC236}">
                <a16:creationId xmlns:a16="http://schemas.microsoft.com/office/drawing/2014/main" id="{2825115D-C8A9-ADDD-8392-C18DFB877459}"/>
              </a:ext>
            </a:extLst>
          </p:cNvPr>
          <p:cNvSpPr txBox="1"/>
          <p:nvPr/>
        </p:nvSpPr>
        <p:spPr>
          <a:xfrm>
            <a:off x="-804" y="-10254"/>
            <a:ext cx="910097" cy="474284"/>
          </a:xfrm>
          <a:prstGeom prst="rect">
            <a:avLst/>
          </a:prstGeom>
          <a:solidFill>
            <a:srgbClr val="002060"/>
          </a:solidFill>
        </p:spPr>
        <p:txBody>
          <a:bodyPr wrap="square" anchor="ctr">
            <a:noAutofit/>
          </a:bodyPr>
          <a:lstStyle/>
          <a:p>
            <a:pPr marL="0" marR="0" lvl="0" indent="0" algn="ctr" defTabSz="914400" rtl="0" eaLnBrk="1" fontAlgn="auto" latinLnBrk="0" hangingPunct="1">
              <a:lnSpc>
                <a:spcPct val="100000"/>
              </a:lnSpc>
              <a:spcBef>
                <a:spcPts val="300"/>
              </a:spcBef>
              <a:spcAft>
                <a:spcPts val="0"/>
              </a:spcAft>
              <a:buClrTx/>
              <a:buSzTx/>
              <a:buFontTx/>
              <a:buNone/>
              <a:tabLst/>
              <a:defRPr/>
            </a:pPr>
            <a:r>
              <a:rPr kumimoji="0" lang="ja-JP" altLang="en-US" sz="2000" b="1" kern="0" dirty="0">
                <a:solidFill>
                  <a:prstClr val="white"/>
                </a:solidFill>
                <a:latin typeface="Meiryo UI"/>
                <a:ea typeface="Meiryo UI"/>
              </a:rPr>
              <a:t>再掲</a:t>
            </a:r>
            <a:endParaRPr kumimoji="0" lang="ja-JP" altLang="en-US" sz="2000" b="1" i="0" u="none" strike="noStrike" kern="0" cap="none" spc="0" normalizeH="0" baseline="0" noProof="0" dirty="0">
              <a:ln>
                <a:noFill/>
              </a:ln>
              <a:solidFill>
                <a:prstClr val="white"/>
              </a:solidFill>
              <a:effectLst/>
              <a:uLnTx/>
              <a:uFillTx/>
              <a:latin typeface="Meiryo UI"/>
              <a:ea typeface="Meiryo UI"/>
              <a:cs typeface="+mn-cs"/>
            </a:endParaRPr>
          </a:p>
        </p:txBody>
      </p:sp>
    </p:spTree>
    <p:extLst>
      <p:ext uri="{BB962C8B-B14F-4D97-AF65-F5344CB8AC3E}">
        <p14:creationId xmlns:p14="http://schemas.microsoft.com/office/powerpoint/2010/main" val="407037676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C2CB778-6001-14D4-FEF3-BB1194A7872B}"/>
            </a:ext>
          </a:extLst>
        </p:cNvPr>
        <p:cNvGrpSpPr/>
        <p:nvPr/>
      </p:nvGrpSpPr>
      <p:grpSpPr>
        <a:xfrm>
          <a:off x="0" y="0"/>
          <a:ext cx="0" cy="0"/>
          <a:chOff x="0" y="0"/>
          <a:chExt cx="0" cy="0"/>
        </a:xfrm>
      </p:grpSpPr>
      <p:sp>
        <p:nvSpPr>
          <p:cNvPr id="2" name="タイトル 1">
            <a:extLst>
              <a:ext uri="{FF2B5EF4-FFF2-40B4-BE49-F238E27FC236}">
                <a16:creationId xmlns:a16="http://schemas.microsoft.com/office/drawing/2014/main" id="{6D54158A-19DD-6392-B2E9-DBA63FDD8E55}"/>
              </a:ext>
            </a:extLst>
          </p:cNvPr>
          <p:cNvSpPr>
            <a:spLocks noGrp="1"/>
          </p:cNvSpPr>
          <p:nvPr>
            <p:ph type="title"/>
          </p:nvPr>
        </p:nvSpPr>
        <p:spPr>
          <a:xfrm>
            <a:off x="243910" y="190047"/>
            <a:ext cx="10430863" cy="521706"/>
          </a:xfrm>
        </p:spPr>
        <p:txBody>
          <a:bodyPr lIns="95767" tIns="47884" rIns="95767" bIns="47884" anchor="ctr" anchorCtr="0"/>
          <a:lstStyle/>
          <a:p>
            <a:r>
              <a:rPr lang="ja-JP" altLang="en-US" sz="2400" dirty="0"/>
              <a:t>本日の</a:t>
            </a:r>
            <a:r>
              <a:rPr lang="en-US" altLang="ja-JP" sz="2400" dirty="0"/>
              <a:t>MTG</a:t>
            </a:r>
            <a:r>
              <a:rPr lang="ja-JP" altLang="en-US" sz="2400" dirty="0"/>
              <a:t>を踏まえた今後のタスク</a:t>
            </a:r>
          </a:p>
        </p:txBody>
      </p:sp>
      <p:sp>
        <p:nvSpPr>
          <p:cNvPr id="4" name="コンテンツ プレースホルダー 3">
            <a:extLst>
              <a:ext uri="{FF2B5EF4-FFF2-40B4-BE49-F238E27FC236}">
                <a16:creationId xmlns:a16="http://schemas.microsoft.com/office/drawing/2014/main" id="{7D585C8E-CF3A-22C4-3D6B-1436640BA720}"/>
              </a:ext>
            </a:extLst>
          </p:cNvPr>
          <p:cNvSpPr txBox="1">
            <a:spLocks/>
          </p:cNvSpPr>
          <p:nvPr/>
        </p:nvSpPr>
        <p:spPr>
          <a:xfrm>
            <a:off x="231479" y="1004402"/>
            <a:ext cx="11788158" cy="382879"/>
          </a:xfrm>
          <a:prstGeom prst="rect">
            <a:avLst/>
          </a:prstGeom>
        </p:spPr>
        <p:txBody>
          <a:bodyPr lIns="95767" tIns="47884" rIns="95767" bIns="47884" anchor="t"/>
          <a:lstStyle>
            <a:defPPr>
              <a:defRPr lang="ja-JP"/>
            </a:defPPr>
            <a:lvl1pPr indent="0" defTabSz="638335">
              <a:spcBef>
                <a:spcPct val="20000"/>
              </a:spcBef>
              <a:buFont typeface="Arial"/>
              <a:buNone/>
              <a:defRPr sz="1800">
                <a:latin typeface="Meiryo UI" panose="020B0604030504040204" pitchFamily="50" charset="-128"/>
                <a:ea typeface="Meiryo UI" panose="020B0604030504040204" pitchFamily="50" charset="-128"/>
              </a:defRPr>
            </a:lvl1pPr>
            <a:lvl2pPr marL="801060" marR="0" indent="-236233" defTabSz="638335" fontAlgn="auto">
              <a:lnSpc>
                <a:spcPct val="100000"/>
              </a:lnSpc>
              <a:spcBef>
                <a:spcPct val="20000"/>
              </a:spcBef>
              <a:spcAft>
                <a:spcPts val="0"/>
              </a:spcAft>
              <a:buClrTx/>
              <a:buSzTx/>
              <a:buFont typeface="Arial"/>
              <a:buNone/>
              <a:tabLst/>
              <a:defRPr sz="2266">
                <a:latin typeface="ＭＳ Ｐゴシック"/>
              </a:defRPr>
            </a:lvl2pPr>
            <a:lvl3pPr marL="1595837" indent="-236233" defTabSz="638335">
              <a:spcBef>
                <a:spcPct val="20000"/>
              </a:spcBef>
              <a:buFont typeface="Arial"/>
              <a:buChar char="•"/>
              <a:defRPr sz="2266">
                <a:latin typeface="ＭＳ Ｐゴシック"/>
              </a:defRPr>
            </a:lvl3pPr>
            <a:lvl4pPr marL="2234170" indent="-236233" defTabSz="638335">
              <a:spcBef>
                <a:spcPct val="20000"/>
              </a:spcBef>
              <a:buFont typeface="Arial"/>
              <a:buChar char="•"/>
              <a:defRPr sz="2266">
                <a:latin typeface="ＭＳ Ｐゴシック"/>
              </a:defRPr>
            </a:lvl4pPr>
            <a:lvl5pPr marL="2872505" indent="-236233" defTabSz="638335">
              <a:spcBef>
                <a:spcPct val="20000"/>
              </a:spcBef>
              <a:buFont typeface="Arial"/>
              <a:buChar char="•"/>
              <a:defRPr sz="2266">
                <a:latin typeface="ＭＳ Ｐゴシック"/>
              </a:defRPr>
            </a:lvl5pPr>
            <a:lvl6pPr marL="3510840" indent="-319167" defTabSz="638335">
              <a:spcBef>
                <a:spcPct val="20000"/>
              </a:spcBef>
              <a:buFont typeface="Arial"/>
              <a:buChar char="•"/>
              <a:defRPr sz="2800"/>
            </a:lvl6pPr>
            <a:lvl7pPr marL="4149172" indent="-319167" defTabSz="638335">
              <a:spcBef>
                <a:spcPct val="20000"/>
              </a:spcBef>
              <a:buFont typeface="Arial"/>
              <a:buChar char="•"/>
              <a:defRPr sz="2800"/>
            </a:lvl7pPr>
            <a:lvl8pPr marL="4787509" indent="-319167" defTabSz="638335">
              <a:spcBef>
                <a:spcPct val="20000"/>
              </a:spcBef>
              <a:buFont typeface="Arial"/>
              <a:buChar char="•"/>
              <a:defRPr sz="2800"/>
            </a:lvl8pPr>
            <a:lvl9pPr marL="5425844" indent="-319167" defTabSz="638335">
              <a:spcBef>
                <a:spcPct val="20000"/>
              </a:spcBef>
              <a:buFont typeface="Arial"/>
              <a:buChar char="•"/>
              <a:defRPr sz="2800"/>
            </a:lvl9pPr>
          </a:lstStyle>
          <a:p>
            <a:pPr marL="0" marR="0" lvl="0" indent="0" algn="l" defTabSz="638335" rtl="0" eaLnBrk="1" fontAlgn="auto" latinLnBrk="0" hangingPunct="1">
              <a:lnSpc>
                <a:spcPct val="100000"/>
              </a:lnSpc>
              <a:spcBef>
                <a:spcPct val="20000"/>
              </a:spcBef>
              <a:spcAft>
                <a:spcPts val="0"/>
              </a:spcAft>
              <a:buClrTx/>
              <a:buSzTx/>
              <a:buFont typeface="Arial"/>
              <a:buNone/>
              <a:tabLst/>
              <a:defRPr/>
            </a:pPr>
            <a:r>
              <a:rPr kumimoji="1" lang="ja-JP" altLang="en-US" sz="18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本日の定例</a:t>
            </a:r>
            <a:r>
              <a:rPr kumimoji="1" lang="en-US" altLang="ja-JP" sz="18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MTG</a:t>
            </a:r>
            <a:r>
              <a:rPr kumimoji="1" lang="ja-JP" altLang="en-US" sz="18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を踏まえ、今後のタスクを一覧化しています。</a:t>
            </a:r>
            <a:endParaRPr kumimoji="1" lang="en-US" altLang="ja-JP" sz="18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endParaRPr>
          </a:p>
        </p:txBody>
      </p:sp>
      <p:grpSp>
        <p:nvGrpSpPr>
          <p:cNvPr id="14" name="グループ化 13">
            <a:extLst>
              <a:ext uri="{FF2B5EF4-FFF2-40B4-BE49-F238E27FC236}">
                <a16:creationId xmlns:a16="http://schemas.microsoft.com/office/drawing/2014/main" id="{1DBDDC7E-9D38-CE75-4B3F-A890F1B781D4}"/>
              </a:ext>
            </a:extLst>
          </p:cNvPr>
          <p:cNvGrpSpPr/>
          <p:nvPr/>
        </p:nvGrpSpPr>
        <p:grpSpPr>
          <a:xfrm>
            <a:off x="333515" y="1503508"/>
            <a:ext cx="298300" cy="269508"/>
            <a:chOff x="808522" y="2358189"/>
            <a:chExt cx="2772076" cy="269508"/>
          </a:xfrm>
        </p:grpSpPr>
        <p:cxnSp>
          <p:nvCxnSpPr>
            <p:cNvPr id="15" name="直線コネクタ 14">
              <a:extLst>
                <a:ext uri="{FF2B5EF4-FFF2-40B4-BE49-F238E27FC236}">
                  <a16:creationId xmlns:a16="http://schemas.microsoft.com/office/drawing/2014/main" id="{E3F386FD-7091-90C2-36FD-52153E645C07}"/>
                </a:ext>
              </a:extLst>
            </p:cNvPr>
            <p:cNvCxnSpPr/>
            <p:nvPr/>
          </p:nvCxnSpPr>
          <p:spPr>
            <a:xfrm>
              <a:off x="808522" y="2627697"/>
              <a:ext cx="2772076" cy="0"/>
            </a:xfrm>
            <a:prstGeom prst="line">
              <a:avLst/>
            </a:prstGeom>
            <a:noFill/>
            <a:ln w="9525" cap="flat" cmpd="sng" algn="ctr">
              <a:solidFill>
                <a:srgbClr val="000000"/>
              </a:solidFill>
              <a:prstDash val="solid"/>
              <a:headEnd type="none" w="lg" len="med"/>
              <a:tailEnd type="none" w="lg" len="med"/>
            </a:ln>
            <a:effectLst/>
          </p:spPr>
        </p:cxnSp>
        <p:sp>
          <p:nvSpPr>
            <p:cNvPr id="17" name="正方形/長方形 16">
              <a:extLst>
                <a:ext uri="{FF2B5EF4-FFF2-40B4-BE49-F238E27FC236}">
                  <a16:creationId xmlns:a16="http://schemas.microsoft.com/office/drawing/2014/main" id="{13866D2F-7A36-526E-2F67-397C15698E28}"/>
                </a:ext>
              </a:extLst>
            </p:cNvPr>
            <p:cNvSpPr/>
            <p:nvPr/>
          </p:nvSpPr>
          <p:spPr>
            <a:xfrm>
              <a:off x="808522" y="2358189"/>
              <a:ext cx="2772076" cy="269489"/>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478835" rtl="0" eaLnBrk="1" fontAlgn="auto" latinLnBrk="0" hangingPunct="1">
                <a:lnSpc>
                  <a:spcPct val="100000"/>
                </a:lnSpc>
                <a:spcBef>
                  <a:spcPts val="0"/>
                </a:spcBef>
                <a:spcAft>
                  <a:spcPts val="0"/>
                </a:spcAft>
                <a:buClrTx/>
                <a:buSzTx/>
                <a:buFontTx/>
                <a:buNone/>
                <a:tabLst/>
                <a:defRPr/>
              </a:pPr>
              <a:r>
                <a:rPr kumimoji="1" lang="en-US" altLang="ja-JP" sz="1400" b="1"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a:t>
              </a:r>
              <a:endParaRPr kumimoji="1" lang="ja-JP" altLang="en-US" sz="1400" b="1"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endParaRPr>
            </a:p>
          </p:txBody>
        </p:sp>
      </p:grpSp>
      <p:grpSp>
        <p:nvGrpSpPr>
          <p:cNvPr id="21" name="グループ化 20">
            <a:extLst>
              <a:ext uri="{FF2B5EF4-FFF2-40B4-BE49-F238E27FC236}">
                <a16:creationId xmlns:a16="http://schemas.microsoft.com/office/drawing/2014/main" id="{DE07444D-5A9E-5DBB-096C-CD32AFF6D47E}"/>
              </a:ext>
            </a:extLst>
          </p:cNvPr>
          <p:cNvGrpSpPr/>
          <p:nvPr/>
        </p:nvGrpSpPr>
        <p:grpSpPr>
          <a:xfrm>
            <a:off x="2078183" y="1503508"/>
            <a:ext cx="8307036" cy="269508"/>
            <a:chOff x="808522" y="2358189"/>
            <a:chExt cx="2772076" cy="269508"/>
          </a:xfrm>
        </p:grpSpPr>
        <p:cxnSp>
          <p:nvCxnSpPr>
            <p:cNvPr id="22" name="直線コネクタ 21">
              <a:extLst>
                <a:ext uri="{FF2B5EF4-FFF2-40B4-BE49-F238E27FC236}">
                  <a16:creationId xmlns:a16="http://schemas.microsoft.com/office/drawing/2014/main" id="{D108FB96-253A-AC4C-DC4B-33C2242C30FC}"/>
                </a:ext>
              </a:extLst>
            </p:cNvPr>
            <p:cNvCxnSpPr/>
            <p:nvPr/>
          </p:nvCxnSpPr>
          <p:spPr>
            <a:xfrm>
              <a:off x="808522" y="2627697"/>
              <a:ext cx="2772076" cy="0"/>
            </a:xfrm>
            <a:prstGeom prst="line">
              <a:avLst/>
            </a:prstGeom>
            <a:noFill/>
            <a:ln w="9525" cap="flat" cmpd="sng" algn="ctr">
              <a:solidFill>
                <a:srgbClr val="000000"/>
              </a:solidFill>
              <a:prstDash val="solid"/>
              <a:headEnd type="none" w="lg" len="med"/>
              <a:tailEnd type="none" w="lg" len="med"/>
            </a:ln>
            <a:effectLst/>
          </p:spPr>
        </p:cxnSp>
        <p:sp>
          <p:nvSpPr>
            <p:cNvPr id="23" name="正方形/長方形 22">
              <a:extLst>
                <a:ext uri="{FF2B5EF4-FFF2-40B4-BE49-F238E27FC236}">
                  <a16:creationId xmlns:a16="http://schemas.microsoft.com/office/drawing/2014/main" id="{E432543C-6A69-4482-C497-CDB70BAA9174}"/>
                </a:ext>
              </a:extLst>
            </p:cNvPr>
            <p:cNvSpPr/>
            <p:nvPr/>
          </p:nvSpPr>
          <p:spPr>
            <a:xfrm>
              <a:off x="808522" y="2358189"/>
              <a:ext cx="2772076" cy="269489"/>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478835" rtl="0" eaLnBrk="1" fontAlgn="auto" latinLnBrk="0" hangingPunct="1">
                <a:lnSpc>
                  <a:spcPct val="100000"/>
                </a:lnSpc>
                <a:spcBef>
                  <a:spcPts val="0"/>
                </a:spcBef>
                <a:spcAft>
                  <a:spcPts val="0"/>
                </a:spcAft>
                <a:buClrTx/>
                <a:buSzTx/>
                <a:buFontTx/>
                <a:buNone/>
                <a:tabLst/>
                <a:defRPr/>
              </a:pPr>
              <a:r>
                <a:rPr kumimoji="1" lang="ja-JP" altLang="en-US" sz="1400" b="1"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タスク詳細</a:t>
              </a:r>
              <a:r>
                <a:rPr kumimoji="1" lang="ja-JP" altLang="en-US" sz="1400" b="0" i="0" u="none" strike="noStrike" kern="1200" cap="none" spc="0" normalizeH="0" baseline="0" noProof="0">
                  <a:ln>
                    <a:noFill/>
                  </a:ln>
                  <a:solidFill>
                    <a:srgbClr val="FF0000"/>
                  </a:solidFill>
                  <a:effectLst/>
                  <a:uLnTx/>
                  <a:uFillTx/>
                  <a:latin typeface="Meiryo UI" panose="020B0604030504040204" pitchFamily="50" charset="-128"/>
                  <a:ea typeface="Meiryo UI" panose="020B0604030504040204" pitchFamily="50" charset="-128"/>
                  <a:cs typeface="+mn-cs"/>
                </a:rPr>
                <a:t>（赤字は本日期日決定のもの）</a:t>
              </a:r>
            </a:p>
          </p:txBody>
        </p:sp>
      </p:grpSp>
      <p:grpSp>
        <p:nvGrpSpPr>
          <p:cNvPr id="27" name="グループ化 26">
            <a:extLst>
              <a:ext uri="{FF2B5EF4-FFF2-40B4-BE49-F238E27FC236}">
                <a16:creationId xmlns:a16="http://schemas.microsoft.com/office/drawing/2014/main" id="{F8A669C3-2EA3-B86E-AD93-F31767874B78}"/>
              </a:ext>
            </a:extLst>
          </p:cNvPr>
          <p:cNvGrpSpPr/>
          <p:nvPr/>
        </p:nvGrpSpPr>
        <p:grpSpPr>
          <a:xfrm>
            <a:off x="10512543" y="1503508"/>
            <a:ext cx="1157270" cy="269508"/>
            <a:chOff x="808522" y="2358189"/>
            <a:chExt cx="2772076" cy="269508"/>
          </a:xfrm>
        </p:grpSpPr>
        <p:cxnSp>
          <p:nvCxnSpPr>
            <p:cNvPr id="28" name="直線コネクタ 27">
              <a:extLst>
                <a:ext uri="{FF2B5EF4-FFF2-40B4-BE49-F238E27FC236}">
                  <a16:creationId xmlns:a16="http://schemas.microsoft.com/office/drawing/2014/main" id="{40FFEC79-AA89-F892-9B10-4B1C025D19D0}"/>
                </a:ext>
              </a:extLst>
            </p:cNvPr>
            <p:cNvCxnSpPr/>
            <p:nvPr/>
          </p:nvCxnSpPr>
          <p:spPr>
            <a:xfrm>
              <a:off x="808522" y="2627697"/>
              <a:ext cx="2772076" cy="0"/>
            </a:xfrm>
            <a:prstGeom prst="line">
              <a:avLst/>
            </a:prstGeom>
            <a:noFill/>
            <a:ln w="9525" cap="flat" cmpd="sng" algn="ctr">
              <a:solidFill>
                <a:srgbClr val="000000"/>
              </a:solidFill>
              <a:prstDash val="solid"/>
              <a:headEnd type="none" w="lg" len="med"/>
              <a:tailEnd type="none" w="lg" len="med"/>
            </a:ln>
            <a:effectLst/>
          </p:spPr>
        </p:cxnSp>
        <p:sp>
          <p:nvSpPr>
            <p:cNvPr id="29" name="正方形/長方形 28">
              <a:extLst>
                <a:ext uri="{FF2B5EF4-FFF2-40B4-BE49-F238E27FC236}">
                  <a16:creationId xmlns:a16="http://schemas.microsoft.com/office/drawing/2014/main" id="{520C9026-1D59-CAD5-34F1-EB396612E348}"/>
                </a:ext>
              </a:extLst>
            </p:cNvPr>
            <p:cNvSpPr/>
            <p:nvPr/>
          </p:nvSpPr>
          <p:spPr>
            <a:xfrm>
              <a:off x="808522" y="2358189"/>
              <a:ext cx="2772076" cy="269489"/>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478835" rtl="0" eaLnBrk="1" fontAlgn="auto" latinLnBrk="0" hangingPunct="1">
                <a:lnSpc>
                  <a:spcPct val="100000"/>
                </a:lnSpc>
                <a:spcBef>
                  <a:spcPts val="0"/>
                </a:spcBef>
                <a:spcAft>
                  <a:spcPts val="0"/>
                </a:spcAft>
                <a:buClrTx/>
                <a:buSzTx/>
                <a:buFontTx/>
                <a:buNone/>
                <a:tabLst/>
                <a:defRPr/>
              </a:pPr>
              <a:r>
                <a:rPr kumimoji="1" lang="ja-JP" altLang="en-US" sz="1400" b="1"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担当</a:t>
              </a:r>
            </a:p>
          </p:txBody>
        </p:sp>
      </p:grpSp>
      <p:grpSp>
        <p:nvGrpSpPr>
          <p:cNvPr id="53" name="グループ化 52">
            <a:extLst>
              <a:ext uri="{FF2B5EF4-FFF2-40B4-BE49-F238E27FC236}">
                <a16:creationId xmlns:a16="http://schemas.microsoft.com/office/drawing/2014/main" id="{199CB4EA-6D0E-4777-A1C9-F9CE141B8568}"/>
              </a:ext>
            </a:extLst>
          </p:cNvPr>
          <p:cNvGrpSpPr/>
          <p:nvPr/>
        </p:nvGrpSpPr>
        <p:grpSpPr>
          <a:xfrm>
            <a:off x="759139" y="1503508"/>
            <a:ext cx="1191720" cy="269508"/>
            <a:chOff x="808522" y="2358189"/>
            <a:chExt cx="2772076" cy="269508"/>
          </a:xfrm>
        </p:grpSpPr>
        <p:cxnSp>
          <p:nvCxnSpPr>
            <p:cNvPr id="54" name="直線コネクタ 53">
              <a:extLst>
                <a:ext uri="{FF2B5EF4-FFF2-40B4-BE49-F238E27FC236}">
                  <a16:creationId xmlns:a16="http://schemas.microsoft.com/office/drawing/2014/main" id="{830B8C83-53A5-F41E-5961-6CD29E5B2941}"/>
                </a:ext>
              </a:extLst>
            </p:cNvPr>
            <p:cNvCxnSpPr/>
            <p:nvPr/>
          </p:nvCxnSpPr>
          <p:spPr>
            <a:xfrm>
              <a:off x="808522" y="2627697"/>
              <a:ext cx="2772076" cy="0"/>
            </a:xfrm>
            <a:prstGeom prst="line">
              <a:avLst/>
            </a:prstGeom>
            <a:noFill/>
            <a:ln w="9525" cap="flat" cmpd="sng" algn="ctr">
              <a:solidFill>
                <a:srgbClr val="000000"/>
              </a:solidFill>
              <a:prstDash val="solid"/>
              <a:headEnd type="none" w="lg" len="med"/>
              <a:tailEnd type="none" w="lg" len="med"/>
            </a:ln>
            <a:effectLst/>
          </p:spPr>
        </p:cxnSp>
        <p:sp>
          <p:nvSpPr>
            <p:cNvPr id="55" name="正方形/長方形 54">
              <a:extLst>
                <a:ext uri="{FF2B5EF4-FFF2-40B4-BE49-F238E27FC236}">
                  <a16:creationId xmlns:a16="http://schemas.microsoft.com/office/drawing/2014/main" id="{AA312BB0-F9D6-0A75-55CF-0ED539A6945C}"/>
                </a:ext>
              </a:extLst>
            </p:cNvPr>
            <p:cNvSpPr/>
            <p:nvPr/>
          </p:nvSpPr>
          <p:spPr>
            <a:xfrm>
              <a:off x="808522" y="2358189"/>
              <a:ext cx="2772076" cy="269489"/>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478835" rtl="0" eaLnBrk="1" fontAlgn="auto" latinLnBrk="0" hangingPunct="1">
                <a:lnSpc>
                  <a:spcPct val="100000"/>
                </a:lnSpc>
                <a:spcBef>
                  <a:spcPts val="0"/>
                </a:spcBef>
                <a:spcAft>
                  <a:spcPts val="0"/>
                </a:spcAft>
                <a:buClrTx/>
                <a:buSzTx/>
                <a:buFontTx/>
                <a:buNone/>
                <a:tabLst/>
                <a:defRPr/>
              </a:pPr>
              <a:r>
                <a:rPr kumimoji="1" lang="ja-JP" altLang="en-US" sz="1400" b="1"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分類</a:t>
              </a:r>
            </a:p>
          </p:txBody>
        </p:sp>
      </p:grpSp>
      <p:sp>
        <p:nvSpPr>
          <p:cNvPr id="3" name="正方形/長方形 2">
            <a:extLst>
              <a:ext uri="{FF2B5EF4-FFF2-40B4-BE49-F238E27FC236}">
                <a16:creationId xmlns:a16="http://schemas.microsoft.com/office/drawing/2014/main" id="{14725970-868D-C93A-6516-8E8F057579FA}"/>
              </a:ext>
            </a:extLst>
          </p:cNvPr>
          <p:cNvSpPr/>
          <p:nvPr/>
        </p:nvSpPr>
        <p:spPr>
          <a:xfrm>
            <a:off x="333515" y="2411539"/>
            <a:ext cx="298300" cy="428792"/>
          </a:xfrm>
          <a:prstGeom prst="rect">
            <a:avLst/>
          </a:prstGeom>
          <a:solidFill>
            <a:schemeClr val="accent5">
              <a:lumMod val="60000"/>
              <a:lumOff val="40000"/>
            </a:schemeClr>
          </a:solidFill>
          <a:ln>
            <a:solidFill>
              <a:schemeClr val="bg1">
                <a:lumMod val="75000"/>
              </a:schemeClr>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lvl="0" indent="0" algn="l" defTabSz="478835" rtl="0" eaLnBrk="1" fontAlgn="auto" latinLnBrk="0" hangingPunct="1">
              <a:lnSpc>
                <a:spcPct val="100000"/>
              </a:lnSpc>
              <a:spcBef>
                <a:spcPts val="0"/>
              </a:spcBef>
              <a:spcAft>
                <a:spcPts val="0"/>
              </a:spcAft>
              <a:buClrTx/>
              <a:buSzTx/>
              <a:buFontTx/>
              <a:buNone/>
              <a:tabLst/>
              <a:defRPr/>
            </a:pPr>
            <a:r>
              <a:rPr kumimoji="1" lang="en-US" altLang="ja-JP" sz="14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2</a:t>
            </a:r>
          </a:p>
        </p:txBody>
      </p:sp>
      <p:sp>
        <p:nvSpPr>
          <p:cNvPr id="5" name="正方形/長方形 4">
            <a:extLst>
              <a:ext uri="{FF2B5EF4-FFF2-40B4-BE49-F238E27FC236}">
                <a16:creationId xmlns:a16="http://schemas.microsoft.com/office/drawing/2014/main" id="{6A63F30B-84DB-E6B6-F511-FF26139BBE67}"/>
              </a:ext>
            </a:extLst>
          </p:cNvPr>
          <p:cNvSpPr/>
          <p:nvPr/>
        </p:nvSpPr>
        <p:spPr>
          <a:xfrm>
            <a:off x="2078183" y="2411539"/>
            <a:ext cx="8307036" cy="428792"/>
          </a:xfrm>
          <a:prstGeom prst="rect">
            <a:avLst/>
          </a:prstGeom>
          <a:solidFill>
            <a:schemeClr val="bg1"/>
          </a:solidFill>
          <a:ln>
            <a:solidFill>
              <a:schemeClr val="bg1">
                <a:lumMod val="75000"/>
              </a:schemeClr>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79388" marR="0" lvl="0" indent="-179388" algn="l" defTabSz="478835"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en-US" altLang="ja-JP" sz="14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API</a:t>
            </a:r>
            <a:r>
              <a:rPr kumimoji="1" lang="ja-JP" altLang="en-US" sz="14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連携一覧（</a:t>
            </a:r>
            <a:r>
              <a:rPr kumimoji="1" lang="en-US" altLang="ja-JP" sz="14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excel:</a:t>
            </a:r>
            <a:r>
              <a:rPr kumimoji="1" lang="ja-JP" altLang="en-US" sz="14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a:t>
            </a:r>
            <a:r>
              <a:rPr kumimoji="1" lang="en-US" altLang="ja-JP" sz="14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API</a:t>
            </a:r>
            <a:r>
              <a:rPr kumimoji="1" lang="ja-JP" altLang="en-US" sz="14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一覧</a:t>
            </a:r>
            <a:r>
              <a:rPr kumimoji="1" lang="en-US" altLang="ja-JP" sz="14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_ver4</a:t>
            </a:r>
            <a:r>
              <a:rPr kumimoji="1" lang="ja-JP" altLang="en-US" sz="14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の項目過不足の確認（但し、サンプルレスポンスを見ないと最終判断はできない）</a:t>
            </a:r>
            <a:endParaRPr kumimoji="1" lang="en-US" altLang="ja-JP" sz="14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endParaRPr>
          </a:p>
        </p:txBody>
      </p:sp>
      <p:sp>
        <p:nvSpPr>
          <p:cNvPr id="6" name="正方形/長方形 5">
            <a:extLst>
              <a:ext uri="{FF2B5EF4-FFF2-40B4-BE49-F238E27FC236}">
                <a16:creationId xmlns:a16="http://schemas.microsoft.com/office/drawing/2014/main" id="{CB7DB612-2812-2CDF-8A45-9EC4964300A4}"/>
              </a:ext>
            </a:extLst>
          </p:cNvPr>
          <p:cNvSpPr/>
          <p:nvPr/>
        </p:nvSpPr>
        <p:spPr>
          <a:xfrm>
            <a:off x="10512543" y="2411539"/>
            <a:ext cx="1157270" cy="428792"/>
          </a:xfrm>
          <a:prstGeom prst="rect">
            <a:avLst/>
          </a:prstGeom>
          <a:solidFill>
            <a:srgbClr val="92D050"/>
          </a:solidFill>
          <a:ln>
            <a:solidFill>
              <a:schemeClr val="bg1">
                <a:lumMod val="75000"/>
              </a:schemeClr>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lvl="0" indent="0" algn="l" defTabSz="478835"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バディ開発</a:t>
            </a:r>
            <a:endParaRPr kumimoji="1" lang="en-US" altLang="ja-JP" sz="14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endParaRPr>
          </a:p>
        </p:txBody>
      </p:sp>
      <p:sp>
        <p:nvSpPr>
          <p:cNvPr id="9" name="正方形/長方形 8">
            <a:extLst>
              <a:ext uri="{FF2B5EF4-FFF2-40B4-BE49-F238E27FC236}">
                <a16:creationId xmlns:a16="http://schemas.microsoft.com/office/drawing/2014/main" id="{3C2E270C-9200-5758-0C68-9F84E4DE13E3}"/>
              </a:ext>
            </a:extLst>
          </p:cNvPr>
          <p:cNvSpPr/>
          <p:nvPr/>
        </p:nvSpPr>
        <p:spPr>
          <a:xfrm>
            <a:off x="333515" y="2953765"/>
            <a:ext cx="298300" cy="428792"/>
          </a:xfrm>
          <a:prstGeom prst="rect">
            <a:avLst/>
          </a:prstGeom>
          <a:solidFill>
            <a:schemeClr val="accent5">
              <a:lumMod val="60000"/>
              <a:lumOff val="40000"/>
            </a:schemeClr>
          </a:solidFill>
          <a:ln>
            <a:solidFill>
              <a:schemeClr val="bg1">
                <a:lumMod val="75000"/>
              </a:schemeClr>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lvl="0" indent="0" algn="l" defTabSz="478835" rtl="0" eaLnBrk="1" fontAlgn="auto" latinLnBrk="0" hangingPunct="1">
              <a:lnSpc>
                <a:spcPct val="100000"/>
              </a:lnSpc>
              <a:spcBef>
                <a:spcPts val="0"/>
              </a:spcBef>
              <a:spcAft>
                <a:spcPts val="0"/>
              </a:spcAft>
              <a:buClrTx/>
              <a:buSzTx/>
              <a:buFontTx/>
              <a:buNone/>
              <a:tabLst/>
              <a:defRPr/>
            </a:pPr>
            <a:r>
              <a:rPr kumimoji="1" lang="en-US" altLang="ja-JP" sz="14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3</a:t>
            </a:r>
          </a:p>
        </p:txBody>
      </p:sp>
      <p:sp>
        <p:nvSpPr>
          <p:cNvPr id="11" name="正方形/長方形 10">
            <a:extLst>
              <a:ext uri="{FF2B5EF4-FFF2-40B4-BE49-F238E27FC236}">
                <a16:creationId xmlns:a16="http://schemas.microsoft.com/office/drawing/2014/main" id="{B3E6FD43-5156-0249-B25A-7308F94E61AF}"/>
              </a:ext>
            </a:extLst>
          </p:cNvPr>
          <p:cNvSpPr/>
          <p:nvPr/>
        </p:nvSpPr>
        <p:spPr>
          <a:xfrm>
            <a:off x="2078183" y="2953765"/>
            <a:ext cx="8307036" cy="428792"/>
          </a:xfrm>
          <a:prstGeom prst="rect">
            <a:avLst/>
          </a:prstGeom>
          <a:solidFill>
            <a:schemeClr val="bg1"/>
          </a:solidFill>
          <a:ln>
            <a:solidFill>
              <a:schemeClr val="bg1">
                <a:lumMod val="75000"/>
              </a:schemeClr>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79388" marR="0" lvl="0" indent="-179388" algn="l" defTabSz="478835"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en-US" altLang="ja-JP" sz="14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API</a:t>
            </a:r>
            <a:r>
              <a:rPr kumimoji="1" lang="ja-JP" altLang="en-US" sz="14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仕様書、及びレスポンスサンプルの連携</a:t>
            </a:r>
            <a:br>
              <a:rPr kumimoji="1" lang="en-US" altLang="ja-JP" sz="14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br>
            <a:r>
              <a:rPr kumimoji="1" lang="ja-JP" altLang="en-US" sz="1400" b="1" i="0" u="none" strike="noStrike" kern="1200" cap="none" spc="0" normalizeH="0" baseline="0" noProof="0">
                <a:ln>
                  <a:noFill/>
                </a:ln>
                <a:solidFill>
                  <a:srgbClr val="FF0000"/>
                </a:solidFill>
                <a:effectLst/>
                <a:uLnTx/>
                <a:uFillTx/>
                <a:latin typeface="Meiryo UI" panose="020B0604030504040204" pitchFamily="50" charset="-128"/>
                <a:ea typeface="Meiryo UI" panose="020B0604030504040204" pitchFamily="50" charset="-128"/>
                <a:cs typeface="+mn-cs"/>
              </a:rPr>
              <a:t>⇒手戻り防止の為、早期から適宜バディチームに連携の上、</a:t>
            </a:r>
            <a:r>
              <a:rPr kumimoji="1" lang="en-US" altLang="ja-JP" sz="1400" b="1" i="0" u="none" strike="noStrike" kern="1200" cap="none" spc="0" normalizeH="0" baseline="0" noProof="0">
                <a:ln>
                  <a:noFill/>
                </a:ln>
                <a:solidFill>
                  <a:srgbClr val="FF0000"/>
                </a:solidFill>
                <a:effectLst/>
                <a:uLnTx/>
                <a:uFillTx/>
                <a:latin typeface="Meiryo UI" panose="020B0604030504040204" pitchFamily="50" charset="-128"/>
                <a:ea typeface="Meiryo UI" panose="020B0604030504040204" pitchFamily="50" charset="-128"/>
                <a:cs typeface="+mn-cs"/>
              </a:rPr>
              <a:t>5</a:t>
            </a:r>
            <a:r>
              <a:rPr kumimoji="1" lang="ja-JP" altLang="en-US" sz="1400" b="1" i="0" u="none" strike="noStrike" kern="1200" cap="none" spc="0" normalizeH="0" baseline="0" noProof="0">
                <a:ln>
                  <a:noFill/>
                </a:ln>
                <a:solidFill>
                  <a:srgbClr val="FF0000"/>
                </a:solidFill>
                <a:effectLst/>
                <a:uLnTx/>
                <a:uFillTx/>
                <a:latin typeface="Meiryo UI" panose="020B0604030504040204" pitchFamily="50" charset="-128"/>
                <a:ea typeface="Meiryo UI" panose="020B0604030504040204" pitchFamily="50" charset="-128"/>
                <a:cs typeface="+mn-cs"/>
              </a:rPr>
              <a:t>月末をめがけて</a:t>
            </a:r>
            <a:r>
              <a:rPr kumimoji="1" lang="en-US" altLang="ja-JP" sz="1400" b="1" i="0" u="none" strike="noStrike" kern="1200" cap="none" spc="0" normalizeH="0" baseline="0" noProof="0">
                <a:ln>
                  <a:noFill/>
                </a:ln>
                <a:solidFill>
                  <a:srgbClr val="FF0000"/>
                </a:solidFill>
                <a:effectLst/>
                <a:uLnTx/>
                <a:uFillTx/>
                <a:latin typeface="Meiryo UI" panose="020B0604030504040204" pitchFamily="50" charset="-128"/>
                <a:ea typeface="Meiryo UI" panose="020B0604030504040204" pitchFamily="50" charset="-128"/>
                <a:cs typeface="+mn-cs"/>
              </a:rPr>
              <a:t>FIX</a:t>
            </a:r>
            <a:r>
              <a:rPr kumimoji="1" lang="ja-JP" altLang="en-US" sz="1400" b="1" i="0" u="none" strike="noStrike" kern="1200" cap="none" spc="0" normalizeH="0" baseline="0" noProof="0">
                <a:ln>
                  <a:noFill/>
                </a:ln>
                <a:solidFill>
                  <a:srgbClr val="FF0000"/>
                </a:solidFill>
                <a:effectLst/>
                <a:uLnTx/>
                <a:uFillTx/>
                <a:latin typeface="Meiryo UI" panose="020B0604030504040204" pitchFamily="50" charset="-128"/>
                <a:ea typeface="Meiryo UI" panose="020B0604030504040204" pitchFamily="50" charset="-128"/>
                <a:cs typeface="+mn-cs"/>
              </a:rPr>
              <a:t>予定</a:t>
            </a:r>
            <a:endParaRPr kumimoji="1" lang="en-US" altLang="ja-JP" sz="1400" b="1" i="0" u="none" strike="noStrike" kern="1200" cap="none" spc="0" normalizeH="0" baseline="0" noProof="0">
              <a:ln>
                <a:noFill/>
              </a:ln>
              <a:solidFill>
                <a:srgbClr val="FF0000"/>
              </a:solidFill>
              <a:effectLst/>
              <a:uLnTx/>
              <a:uFillTx/>
              <a:latin typeface="Meiryo UI" panose="020B0604030504040204" pitchFamily="50" charset="-128"/>
              <a:ea typeface="Meiryo UI" panose="020B0604030504040204" pitchFamily="50" charset="-128"/>
              <a:cs typeface="+mn-cs"/>
            </a:endParaRPr>
          </a:p>
        </p:txBody>
      </p:sp>
      <p:sp>
        <p:nvSpPr>
          <p:cNvPr id="12" name="正方形/長方形 11">
            <a:extLst>
              <a:ext uri="{FF2B5EF4-FFF2-40B4-BE49-F238E27FC236}">
                <a16:creationId xmlns:a16="http://schemas.microsoft.com/office/drawing/2014/main" id="{7E8FA0C2-E02F-1FCD-13F1-CEDD9718708A}"/>
              </a:ext>
            </a:extLst>
          </p:cNvPr>
          <p:cNvSpPr/>
          <p:nvPr/>
        </p:nvSpPr>
        <p:spPr>
          <a:xfrm>
            <a:off x="10512543" y="2953765"/>
            <a:ext cx="1157270" cy="428792"/>
          </a:xfrm>
          <a:prstGeom prst="rect">
            <a:avLst/>
          </a:prstGeom>
          <a:solidFill>
            <a:schemeClr val="accent2">
              <a:lumMod val="20000"/>
              <a:lumOff val="80000"/>
            </a:schemeClr>
          </a:solidFill>
          <a:ln>
            <a:solidFill>
              <a:schemeClr val="bg1">
                <a:lumMod val="75000"/>
              </a:schemeClr>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lvl="0" indent="0" algn="l" defTabSz="478835"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デジ棚</a:t>
            </a:r>
            <a:r>
              <a:rPr kumimoji="1" lang="en-US" altLang="ja-JP" sz="14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DLTX</a:t>
            </a:r>
          </a:p>
        </p:txBody>
      </p:sp>
      <p:sp>
        <p:nvSpPr>
          <p:cNvPr id="16" name="正方形/長方形 15">
            <a:extLst>
              <a:ext uri="{FF2B5EF4-FFF2-40B4-BE49-F238E27FC236}">
                <a16:creationId xmlns:a16="http://schemas.microsoft.com/office/drawing/2014/main" id="{D19BC08C-825E-4CD7-EE8A-58FB12C2BFC2}"/>
              </a:ext>
            </a:extLst>
          </p:cNvPr>
          <p:cNvSpPr/>
          <p:nvPr/>
        </p:nvSpPr>
        <p:spPr>
          <a:xfrm>
            <a:off x="333515" y="4038217"/>
            <a:ext cx="298300" cy="428792"/>
          </a:xfrm>
          <a:prstGeom prst="rect">
            <a:avLst/>
          </a:prstGeom>
          <a:solidFill>
            <a:schemeClr val="accent5">
              <a:lumMod val="60000"/>
              <a:lumOff val="40000"/>
            </a:schemeClr>
          </a:solidFill>
          <a:ln>
            <a:solidFill>
              <a:schemeClr val="bg1">
                <a:lumMod val="75000"/>
              </a:schemeClr>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lvl="0" indent="0" algn="l" defTabSz="478835" rtl="0" eaLnBrk="1" fontAlgn="auto" latinLnBrk="0" hangingPunct="1">
              <a:lnSpc>
                <a:spcPct val="100000"/>
              </a:lnSpc>
              <a:spcBef>
                <a:spcPts val="0"/>
              </a:spcBef>
              <a:spcAft>
                <a:spcPts val="0"/>
              </a:spcAft>
              <a:buClrTx/>
              <a:buSzTx/>
              <a:buFontTx/>
              <a:buNone/>
              <a:tabLst/>
              <a:defRPr/>
            </a:pPr>
            <a:r>
              <a:rPr kumimoji="1" lang="en-US" altLang="ja-JP" sz="14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5</a:t>
            </a:r>
          </a:p>
        </p:txBody>
      </p:sp>
      <p:sp>
        <p:nvSpPr>
          <p:cNvPr id="18" name="正方形/長方形 17">
            <a:extLst>
              <a:ext uri="{FF2B5EF4-FFF2-40B4-BE49-F238E27FC236}">
                <a16:creationId xmlns:a16="http://schemas.microsoft.com/office/drawing/2014/main" id="{48C5C18D-5A62-33EC-1E26-5F7EB5865F70}"/>
              </a:ext>
            </a:extLst>
          </p:cNvPr>
          <p:cNvSpPr/>
          <p:nvPr/>
        </p:nvSpPr>
        <p:spPr>
          <a:xfrm>
            <a:off x="2078183" y="4038217"/>
            <a:ext cx="8307036" cy="428792"/>
          </a:xfrm>
          <a:prstGeom prst="rect">
            <a:avLst/>
          </a:prstGeom>
          <a:solidFill>
            <a:schemeClr val="bg1"/>
          </a:solidFill>
          <a:ln>
            <a:solidFill>
              <a:schemeClr val="bg1">
                <a:lumMod val="75000"/>
              </a:schemeClr>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79388" marR="0" lvl="0" indent="-179388" algn="l" defTabSz="478835"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14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バディ・デジ棚それぞれにおける全国展開に向けた機能開発のマスタースケジュールの策定、及び認識合わせ</a:t>
            </a:r>
            <a:endParaRPr kumimoji="1" lang="en-US" altLang="ja-JP" sz="14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endParaRPr>
          </a:p>
        </p:txBody>
      </p:sp>
      <p:sp>
        <p:nvSpPr>
          <p:cNvPr id="19" name="正方形/長方形 18">
            <a:extLst>
              <a:ext uri="{FF2B5EF4-FFF2-40B4-BE49-F238E27FC236}">
                <a16:creationId xmlns:a16="http://schemas.microsoft.com/office/drawing/2014/main" id="{78993CE3-727A-4426-EC20-2C0D643F4AD7}"/>
              </a:ext>
            </a:extLst>
          </p:cNvPr>
          <p:cNvSpPr/>
          <p:nvPr/>
        </p:nvSpPr>
        <p:spPr>
          <a:xfrm>
            <a:off x="10512543" y="4038217"/>
            <a:ext cx="1157270" cy="428792"/>
          </a:xfrm>
          <a:prstGeom prst="rect">
            <a:avLst/>
          </a:prstGeom>
          <a:solidFill>
            <a:srgbClr val="BEF8ED"/>
          </a:solidFill>
          <a:ln>
            <a:solidFill>
              <a:schemeClr val="bg1">
                <a:lumMod val="75000"/>
              </a:schemeClr>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lvl="0" indent="0" algn="l" defTabSz="478835"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両チーム</a:t>
            </a:r>
            <a:endParaRPr kumimoji="1" lang="en-US" altLang="ja-JP" sz="14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endParaRPr>
          </a:p>
        </p:txBody>
      </p:sp>
      <p:sp>
        <p:nvSpPr>
          <p:cNvPr id="20" name="正方形/長方形 19">
            <a:extLst>
              <a:ext uri="{FF2B5EF4-FFF2-40B4-BE49-F238E27FC236}">
                <a16:creationId xmlns:a16="http://schemas.microsoft.com/office/drawing/2014/main" id="{F36CFB76-E45C-374B-337F-DF586452E01E}"/>
              </a:ext>
            </a:extLst>
          </p:cNvPr>
          <p:cNvSpPr/>
          <p:nvPr/>
        </p:nvSpPr>
        <p:spPr>
          <a:xfrm>
            <a:off x="333515" y="3495991"/>
            <a:ext cx="298300" cy="428792"/>
          </a:xfrm>
          <a:prstGeom prst="rect">
            <a:avLst/>
          </a:prstGeom>
          <a:solidFill>
            <a:schemeClr val="accent5">
              <a:lumMod val="60000"/>
              <a:lumOff val="40000"/>
            </a:schemeClr>
          </a:solidFill>
          <a:ln>
            <a:solidFill>
              <a:schemeClr val="bg1">
                <a:lumMod val="75000"/>
              </a:schemeClr>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lvl="0" indent="0" algn="l" defTabSz="478835" rtl="0" eaLnBrk="1" fontAlgn="auto" latinLnBrk="0" hangingPunct="1">
              <a:lnSpc>
                <a:spcPct val="100000"/>
              </a:lnSpc>
              <a:spcBef>
                <a:spcPts val="0"/>
              </a:spcBef>
              <a:spcAft>
                <a:spcPts val="0"/>
              </a:spcAft>
              <a:buClrTx/>
              <a:buSzTx/>
              <a:buFontTx/>
              <a:buNone/>
              <a:tabLst/>
              <a:defRPr/>
            </a:pPr>
            <a:r>
              <a:rPr kumimoji="1" lang="en-US" altLang="ja-JP" sz="14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4</a:t>
            </a:r>
          </a:p>
        </p:txBody>
      </p:sp>
      <p:sp>
        <p:nvSpPr>
          <p:cNvPr id="24" name="正方形/長方形 23">
            <a:extLst>
              <a:ext uri="{FF2B5EF4-FFF2-40B4-BE49-F238E27FC236}">
                <a16:creationId xmlns:a16="http://schemas.microsoft.com/office/drawing/2014/main" id="{D81F495C-99DF-6590-C389-F12C9EA66D27}"/>
              </a:ext>
            </a:extLst>
          </p:cNvPr>
          <p:cNvSpPr/>
          <p:nvPr/>
        </p:nvSpPr>
        <p:spPr>
          <a:xfrm>
            <a:off x="2078183" y="3495991"/>
            <a:ext cx="8307036" cy="428792"/>
          </a:xfrm>
          <a:prstGeom prst="rect">
            <a:avLst/>
          </a:prstGeom>
          <a:solidFill>
            <a:schemeClr val="bg1"/>
          </a:solidFill>
          <a:ln>
            <a:solidFill>
              <a:schemeClr val="bg1">
                <a:lumMod val="75000"/>
              </a:schemeClr>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79388" marR="0" lvl="0" indent="-179388" algn="l" defTabSz="478835"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14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新設バディカテゴリの内容最終決定</a:t>
            </a:r>
            <a:br>
              <a:rPr kumimoji="1" lang="en-US" altLang="ja-JP" sz="14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br>
            <a:r>
              <a:rPr kumimoji="1" lang="ja-JP" altLang="en-US" sz="1400" b="1" i="0" u="none" strike="noStrike" kern="1200" cap="none" spc="0" normalizeH="0" baseline="0" noProof="0">
                <a:ln>
                  <a:noFill/>
                </a:ln>
                <a:solidFill>
                  <a:srgbClr val="DF0010"/>
                </a:solidFill>
                <a:effectLst/>
                <a:uLnTx/>
                <a:uFillTx/>
                <a:latin typeface="Meiryo UI" panose="020B0604030504040204" pitchFamily="50" charset="-128"/>
                <a:ea typeface="Meiryo UI" panose="020B0604030504040204" pitchFamily="50" charset="-128"/>
                <a:cs typeface="+mn-cs"/>
              </a:rPr>
              <a:t>⇒</a:t>
            </a:r>
            <a:r>
              <a:rPr kumimoji="1" lang="en-US" altLang="ja-JP" sz="1400" b="1" i="0" u="none" strike="noStrike" kern="1200" cap="none" spc="0" normalizeH="0" baseline="0" noProof="0">
                <a:ln>
                  <a:noFill/>
                </a:ln>
                <a:solidFill>
                  <a:srgbClr val="DF0010"/>
                </a:solidFill>
                <a:effectLst/>
                <a:uLnTx/>
                <a:uFillTx/>
                <a:latin typeface="Meiryo UI" panose="020B0604030504040204" pitchFamily="50" charset="-128"/>
                <a:ea typeface="Meiryo UI" panose="020B0604030504040204" pitchFamily="50" charset="-128"/>
                <a:cs typeface="+mn-cs"/>
              </a:rPr>
              <a:t>4/24(</a:t>
            </a:r>
            <a:r>
              <a:rPr kumimoji="1" lang="ja-JP" altLang="en-US" sz="1400" b="1" i="0" u="none" strike="noStrike" kern="1200" cap="none" spc="0" normalizeH="0" baseline="0" noProof="0">
                <a:ln>
                  <a:noFill/>
                </a:ln>
                <a:solidFill>
                  <a:srgbClr val="DF0010"/>
                </a:solidFill>
                <a:effectLst/>
                <a:uLnTx/>
                <a:uFillTx/>
                <a:latin typeface="Meiryo UI" panose="020B0604030504040204" pitchFamily="50" charset="-128"/>
                <a:ea typeface="Meiryo UI" panose="020B0604030504040204" pitchFamily="50" charset="-128"/>
                <a:cs typeface="+mn-cs"/>
              </a:rPr>
              <a:t>木</a:t>
            </a:r>
            <a:r>
              <a:rPr kumimoji="1" lang="en-US" altLang="ja-JP" sz="1400" b="1" i="0" u="none" strike="noStrike" kern="1200" cap="none" spc="0" normalizeH="0" baseline="0" noProof="0">
                <a:ln>
                  <a:noFill/>
                </a:ln>
                <a:solidFill>
                  <a:srgbClr val="DF0010"/>
                </a:solidFill>
                <a:effectLst/>
                <a:uLnTx/>
                <a:uFillTx/>
                <a:latin typeface="Meiryo UI" panose="020B0604030504040204" pitchFamily="50" charset="-128"/>
                <a:ea typeface="Meiryo UI" panose="020B0604030504040204" pitchFamily="50" charset="-128"/>
                <a:cs typeface="+mn-cs"/>
              </a:rPr>
              <a:t>)</a:t>
            </a:r>
            <a:r>
              <a:rPr kumimoji="1" lang="ja-JP" altLang="en-US" sz="1400" b="1" i="0" u="none" strike="noStrike" kern="1200" cap="none" spc="0" normalizeH="0" baseline="0" noProof="0">
                <a:ln>
                  <a:noFill/>
                </a:ln>
                <a:solidFill>
                  <a:srgbClr val="DF0010"/>
                </a:solidFill>
                <a:effectLst/>
                <a:uLnTx/>
                <a:uFillTx/>
                <a:latin typeface="Meiryo UI" panose="020B0604030504040204" pitchFamily="50" charset="-128"/>
                <a:ea typeface="Meiryo UI" panose="020B0604030504040204" pitchFamily="50" charset="-128"/>
                <a:cs typeface="+mn-cs"/>
              </a:rPr>
              <a:t>に生涯教の担当内で確認の上、共有</a:t>
            </a:r>
            <a:endParaRPr kumimoji="1" lang="en-US" altLang="ja-JP" sz="1400" b="1" i="0" u="none" strike="noStrike" kern="1200" cap="none" spc="0" normalizeH="0" baseline="0" noProof="0">
              <a:ln>
                <a:noFill/>
              </a:ln>
              <a:solidFill>
                <a:srgbClr val="DF0010"/>
              </a:solidFill>
              <a:effectLst/>
              <a:uLnTx/>
              <a:uFillTx/>
              <a:latin typeface="Meiryo UI" panose="020B0604030504040204" pitchFamily="50" charset="-128"/>
              <a:ea typeface="Meiryo UI" panose="020B0604030504040204" pitchFamily="50" charset="-128"/>
              <a:cs typeface="+mn-cs"/>
            </a:endParaRPr>
          </a:p>
        </p:txBody>
      </p:sp>
      <p:sp>
        <p:nvSpPr>
          <p:cNvPr id="25" name="正方形/長方形 24">
            <a:extLst>
              <a:ext uri="{FF2B5EF4-FFF2-40B4-BE49-F238E27FC236}">
                <a16:creationId xmlns:a16="http://schemas.microsoft.com/office/drawing/2014/main" id="{9DC7EE2A-96C4-7D85-8589-EFE8DBC0B27D}"/>
              </a:ext>
            </a:extLst>
          </p:cNvPr>
          <p:cNvSpPr/>
          <p:nvPr/>
        </p:nvSpPr>
        <p:spPr>
          <a:xfrm>
            <a:off x="10512543" y="3495991"/>
            <a:ext cx="1157270" cy="428792"/>
          </a:xfrm>
          <a:prstGeom prst="rect">
            <a:avLst/>
          </a:prstGeom>
          <a:solidFill>
            <a:schemeClr val="tx2">
              <a:lumMod val="20000"/>
              <a:lumOff val="80000"/>
            </a:schemeClr>
          </a:solidFill>
          <a:ln>
            <a:solidFill>
              <a:schemeClr val="bg1">
                <a:lumMod val="75000"/>
              </a:schemeClr>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lvl="0" indent="0" algn="l" defTabSz="478835"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デジ棚生涯教</a:t>
            </a:r>
            <a:endParaRPr kumimoji="1" lang="en-US" altLang="ja-JP" sz="14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endParaRPr>
          </a:p>
        </p:txBody>
      </p:sp>
      <p:sp>
        <p:nvSpPr>
          <p:cNvPr id="26" name="正方形/長方形 25">
            <a:extLst>
              <a:ext uri="{FF2B5EF4-FFF2-40B4-BE49-F238E27FC236}">
                <a16:creationId xmlns:a16="http://schemas.microsoft.com/office/drawing/2014/main" id="{341C7DF1-EAE4-BC71-14A6-DF9D022C3A9A}"/>
              </a:ext>
            </a:extLst>
          </p:cNvPr>
          <p:cNvSpPr/>
          <p:nvPr/>
        </p:nvSpPr>
        <p:spPr>
          <a:xfrm>
            <a:off x="333515" y="4580443"/>
            <a:ext cx="298300" cy="428792"/>
          </a:xfrm>
          <a:prstGeom prst="rect">
            <a:avLst/>
          </a:prstGeom>
          <a:solidFill>
            <a:schemeClr val="accent5">
              <a:lumMod val="60000"/>
              <a:lumOff val="40000"/>
            </a:schemeClr>
          </a:solidFill>
          <a:ln>
            <a:solidFill>
              <a:schemeClr val="bg1">
                <a:lumMod val="75000"/>
              </a:schemeClr>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lvl="0" indent="0" algn="l" defTabSz="478835" rtl="0" eaLnBrk="1" fontAlgn="auto" latinLnBrk="0" hangingPunct="1">
              <a:lnSpc>
                <a:spcPct val="100000"/>
              </a:lnSpc>
              <a:spcBef>
                <a:spcPts val="0"/>
              </a:spcBef>
              <a:spcAft>
                <a:spcPts val="0"/>
              </a:spcAft>
              <a:buClrTx/>
              <a:buSzTx/>
              <a:buFontTx/>
              <a:buNone/>
              <a:tabLst/>
              <a:defRPr/>
            </a:pPr>
            <a:r>
              <a:rPr kumimoji="1" lang="en-US" altLang="ja-JP" sz="14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6</a:t>
            </a:r>
          </a:p>
        </p:txBody>
      </p:sp>
      <p:sp>
        <p:nvSpPr>
          <p:cNvPr id="32" name="正方形/長方形 31">
            <a:extLst>
              <a:ext uri="{FF2B5EF4-FFF2-40B4-BE49-F238E27FC236}">
                <a16:creationId xmlns:a16="http://schemas.microsoft.com/office/drawing/2014/main" id="{DA2E3D87-7DAD-9DC2-09CE-30A9E6F6F3EF}"/>
              </a:ext>
            </a:extLst>
          </p:cNvPr>
          <p:cNvSpPr/>
          <p:nvPr/>
        </p:nvSpPr>
        <p:spPr>
          <a:xfrm>
            <a:off x="2078183" y="4580443"/>
            <a:ext cx="8307036" cy="428792"/>
          </a:xfrm>
          <a:prstGeom prst="rect">
            <a:avLst/>
          </a:prstGeom>
          <a:solidFill>
            <a:schemeClr val="bg1"/>
          </a:solidFill>
          <a:ln>
            <a:solidFill>
              <a:schemeClr val="bg1">
                <a:lumMod val="75000"/>
              </a:schemeClr>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79388" marR="0" lvl="0" indent="-179388" algn="l" defTabSz="478835"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14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曖昧検索”の実装有無に関する生涯教内部での再検討</a:t>
            </a:r>
            <a:endParaRPr kumimoji="1" lang="en-US" altLang="ja-JP" sz="14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endParaRPr>
          </a:p>
        </p:txBody>
      </p:sp>
      <p:sp>
        <p:nvSpPr>
          <p:cNvPr id="34" name="正方形/長方形 33">
            <a:extLst>
              <a:ext uri="{FF2B5EF4-FFF2-40B4-BE49-F238E27FC236}">
                <a16:creationId xmlns:a16="http://schemas.microsoft.com/office/drawing/2014/main" id="{3C6DB859-4F99-42A6-88AE-5B0D054A7F94}"/>
              </a:ext>
            </a:extLst>
          </p:cNvPr>
          <p:cNvSpPr/>
          <p:nvPr/>
        </p:nvSpPr>
        <p:spPr>
          <a:xfrm>
            <a:off x="10512543" y="4580443"/>
            <a:ext cx="1157270" cy="428792"/>
          </a:xfrm>
          <a:prstGeom prst="rect">
            <a:avLst/>
          </a:prstGeom>
          <a:solidFill>
            <a:schemeClr val="tx2">
              <a:lumMod val="20000"/>
              <a:lumOff val="80000"/>
            </a:schemeClr>
          </a:solidFill>
          <a:ln>
            <a:solidFill>
              <a:schemeClr val="bg1">
                <a:lumMod val="75000"/>
              </a:schemeClr>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lvl="0" indent="0" algn="l" defTabSz="478835"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デジ棚生涯教</a:t>
            </a:r>
            <a:endParaRPr kumimoji="1" lang="en-US" altLang="ja-JP" sz="14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endParaRPr>
          </a:p>
        </p:txBody>
      </p:sp>
      <p:sp>
        <p:nvSpPr>
          <p:cNvPr id="37" name="正方形/長方形 36">
            <a:extLst>
              <a:ext uri="{FF2B5EF4-FFF2-40B4-BE49-F238E27FC236}">
                <a16:creationId xmlns:a16="http://schemas.microsoft.com/office/drawing/2014/main" id="{BB9777C2-663D-B56C-B73D-EA873D5D8AE9}"/>
              </a:ext>
            </a:extLst>
          </p:cNvPr>
          <p:cNvSpPr/>
          <p:nvPr/>
        </p:nvSpPr>
        <p:spPr>
          <a:xfrm>
            <a:off x="333515" y="5122669"/>
            <a:ext cx="298300" cy="428792"/>
          </a:xfrm>
          <a:prstGeom prst="rect">
            <a:avLst/>
          </a:prstGeom>
          <a:solidFill>
            <a:schemeClr val="accent5">
              <a:lumMod val="60000"/>
              <a:lumOff val="40000"/>
            </a:schemeClr>
          </a:solidFill>
          <a:ln>
            <a:solidFill>
              <a:schemeClr val="bg1">
                <a:lumMod val="75000"/>
              </a:schemeClr>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lvl="0" indent="0" algn="l" defTabSz="478835" rtl="0" eaLnBrk="1" fontAlgn="auto" latinLnBrk="0" hangingPunct="1">
              <a:lnSpc>
                <a:spcPct val="100000"/>
              </a:lnSpc>
              <a:spcBef>
                <a:spcPts val="0"/>
              </a:spcBef>
              <a:spcAft>
                <a:spcPts val="0"/>
              </a:spcAft>
              <a:buClrTx/>
              <a:buSzTx/>
              <a:buFontTx/>
              <a:buNone/>
              <a:tabLst/>
              <a:defRPr/>
            </a:pPr>
            <a:r>
              <a:rPr kumimoji="1" lang="en-US" altLang="ja-JP" sz="14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7</a:t>
            </a:r>
          </a:p>
        </p:txBody>
      </p:sp>
      <p:sp>
        <p:nvSpPr>
          <p:cNvPr id="39" name="正方形/長方形 38">
            <a:extLst>
              <a:ext uri="{FF2B5EF4-FFF2-40B4-BE49-F238E27FC236}">
                <a16:creationId xmlns:a16="http://schemas.microsoft.com/office/drawing/2014/main" id="{A2EF1FF2-58E7-8B53-97DC-388932B8FA1D}"/>
              </a:ext>
            </a:extLst>
          </p:cNvPr>
          <p:cNvSpPr/>
          <p:nvPr/>
        </p:nvSpPr>
        <p:spPr>
          <a:xfrm>
            <a:off x="2078183" y="5122669"/>
            <a:ext cx="8307036" cy="428792"/>
          </a:xfrm>
          <a:prstGeom prst="rect">
            <a:avLst/>
          </a:prstGeom>
          <a:solidFill>
            <a:schemeClr val="bg1"/>
          </a:solidFill>
          <a:ln>
            <a:solidFill>
              <a:schemeClr val="bg1">
                <a:lumMod val="75000"/>
              </a:schemeClr>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79388" marR="0" lvl="0" indent="-179388" algn="l" defTabSz="478835"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14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お気に入り追加”機能におけるユースケースの整理</a:t>
            </a:r>
            <a:endParaRPr kumimoji="1" lang="en-US" altLang="ja-JP" sz="14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endParaRPr>
          </a:p>
        </p:txBody>
      </p:sp>
      <p:sp>
        <p:nvSpPr>
          <p:cNvPr id="42" name="正方形/長方形 41">
            <a:extLst>
              <a:ext uri="{FF2B5EF4-FFF2-40B4-BE49-F238E27FC236}">
                <a16:creationId xmlns:a16="http://schemas.microsoft.com/office/drawing/2014/main" id="{BB7E0B70-65A5-0AF5-95AC-B105C237A697}"/>
              </a:ext>
            </a:extLst>
          </p:cNvPr>
          <p:cNvSpPr/>
          <p:nvPr/>
        </p:nvSpPr>
        <p:spPr>
          <a:xfrm>
            <a:off x="10512543" y="5122669"/>
            <a:ext cx="1157270" cy="428792"/>
          </a:xfrm>
          <a:prstGeom prst="rect">
            <a:avLst/>
          </a:prstGeom>
          <a:solidFill>
            <a:srgbClr val="B7F094"/>
          </a:solidFill>
          <a:ln>
            <a:solidFill>
              <a:schemeClr val="bg1">
                <a:lumMod val="75000"/>
              </a:schemeClr>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lvl="0" indent="0" algn="l" defTabSz="478835"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バディビジネス</a:t>
            </a:r>
            <a:endParaRPr kumimoji="1" lang="en-US" altLang="ja-JP" sz="14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endParaRPr>
          </a:p>
        </p:txBody>
      </p:sp>
      <p:sp>
        <p:nvSpPr>
          <p:cNvPr id="44" name="正方形/長方形 43">
            <a:extLst>
              <a:ext uri="{FF2B5EF4-FFF2-40B4-BE49-F238E27FC236}">
                <a16:creationId xmlns:a16="http://schemas.microsoft.com/office/drawing/2014/main" id="{2E80DACB-F966-2590-0D90-FFFB34C1ABB5}"/>
              </a:ext>
            </a:extLst>
          </p:cNvPr>
          <p:cNvSpPr/>
          <p:nvPr/>
        </p:nvSpPr>
        <p:spPr>
          <a:xfrm>
            <a:off x="333515" y="5664895"/>
            <a:ext cx="298300" cy="428792"/>
          </a:xfrm>
          <a:prstGeom prst="rect">
            <a:avLst/>
          </a:prstGeom>
          <a:solidFill>
            <a:schemeClr val="accent5">
              <a:lumMod val="60000"/>
              <a:lumOff val="40000"/>
            </a:schemeClr>
          </a:solidFill>
          <a:ln>
            <a:solidFill>
              <a:schemeClr val="bg1">
                <a:lumMod val="75000"/>
              </a:schemeClr>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lvl="0" indent="0" algn="l" defTabSz="478835" rtl="0" eaLnBrk="1" fontAlgn="auto" latinLnBrk="0" hangingPunct="1">
              <a:lnSpc>
                <a:spcPct val="100000"/>
              </a:lnSpc>
              <a:spcBef>
                <a:spcPts val="0"/>
              </a:spcBef>
              <a:spcAft>
                <a:spcPts val="0"/>
              </a:spcAft>
              <a:buClrTx/>
              <a:buSzTx/>
              <a:buFontTx/>
              <a:buNone/>
              <a:tabLst/>
              <a:defRPr/>
            </a:pPr>
            <a:r>
              <a:rPr kumimoji="1" lang="en-US" altLang="ja-JP" sz="14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8</a:t>
            </a:r>
          </a:p>
        </p:txBody>
      </p:sp>
      <p:sp>
        <p:nvSpPr>
          <p:cNvPr id="47" name="正方形/長方形 46">
            <a:extLst>
              <a:ext uri="{FF2B5EF4-FFF2-40B4-BE49-F238E27FC236}">
                <a16:creationId xmlns:a16="http://schemas.microsoft.com/office/drawing/2014/main" id="{DCB5321A-2E67-95AC-70CB-D0A9FBCC9E4D}"/>
              </a:ext>
            </a:extLst>
          </p:cNvPr>
          <p:cNvSpPr/>
          <p:nvPr/>
        </p:nvSpPr>
        <p:spPr>
          <a:xfrm>
            <a:off x="2078183" y="5664895"/>
            <a:ext cx="8307036" cy="428792"/>
          </a:xfrm>
          <a:prstGeom prst="rect">
            <a:avLst/>
          </a:prstGeom>
          <a:solidFill>
            <a:schemeClr val="bg1"/>
          </a:solidFill>
          <a:ln>
            <a:solidFill>
              <a:schemeClr val="bg1">
                <a:lumMod val="75000"/>
              </a:schemeClr>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79388" marR="0" lvl="0" indent="-179388" algn="l" defTabSz="478835"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14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ユースケースを元にした“お気に入り追加”機能の要件定義、及び両チームでの認識合わせ</a:t>
            </a:r>
            <a:endParaRPr kumimoji="1" lang="en-US" altLang="ja-JP" sz="14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endParaRPr>
          </a:p>
        </p:txBody>
      </p:sp>
      <p:sp>
        <p:nvSpPr>
          <p:cNvPr id="49" name="正方形/長方形 48">
            <a:extLst>
              <a:ext uri="{FF2B5EF4-FFF2-40B4-BE49-F238E27FC236}">
                <a16:creationId xmlns:a16="http://schemas.microsoft.com/office/drawing/2014/main" id="{0353F36F-BF31-8A99-E4CE-B4EC86BF03D1}"/>
              </a:ext>
            </a:extLst>
          </p:cNvPr>
          <p:cNvSpPr/>
          <p:nvPr/>
        </p:nvSpPr>
        <p:spPr>
          <a:xfrm>
            <a:off x="10512543" y="5664895"/>
            <a:ext cx="1157270" cy="428792"/>
          </a:xfrm>
          <a:prstGeom prst="rect">
            <a:avLst/>
          </a:prstGeom>
          <a:solidFill>
            <a:schemeClr val="tx2">
              <a:lumMod val="20000"/>
              <a:lumOff val="80000"/>
            </a:schemeClr>
          </a:solidFill>
          <a:ln>
            <a:solidFill>
              <a:schemeClr val="bg1">
                <a:lumMod val="75000"/>
              </a:schemeClr>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lvl="0" indent="0" algn="l" defTabSz="478835"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デジ棚生涯教</a:t>
            </a:r>
            <a:endParaRPr kumimoji="1" lang="en-US" altLang="ja-JP" sz="14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endParaRPr>
          </a:p>
        </p:txBody>
      </p:sp>
      <p:sp>
        <p:nvSpPr>
          <p:cNvPr id="50" name="正方形/長方形 49">
            <a:extLst>
              <a:ext uri="{FF2B5EF4-FFF2-40B4-BE49-F238E27FC236}">
                <a16:creationId xmlns:a16="http://schemas.microsoft.com/office/drawing/2014/main" id="{33329839-7084-E51A-0C7C-B4D2DBDF6AAD}"/>
              </a:ext>
            </a:extLst>
          </p:cNvPr>
          <p:cNvSpPr/>
          <p:nvPr/>
        </p:nvSpPr>
        <p:spPr>
          <a:xfrm>
            <a:off x="333515" y="6207121"/>
            <a:ext cx="298300" cy="428792"/>
          </a:xfrm>
          <a:prstGeom prst="rect">
            <a:avLst/>
          </a:prstGeom>
          <a:solidFill>
            <a:schemeClr val="accent5">
              <a:lumMod val="60000"/>
              <a:lumOff val="40000"/>
            </a:schemeClr>
          </a:solidFill>
          <a:ln>
            <a:solidFill>
              <a:schemeClr val="bg1">
                <a:lumMod val="75000"/>
              </a:schemeClr>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lvl="0" indent="0" algn="l" defTabSz="478835" rtl="0" eaLnBrk="1" fontAlgn="auto" latinLnBrk="0" hangingPunct="1">
              <a:lnSpc>
                <a:spcPct val="100000"/>
              </a:lnSpc>
              <a:spcBef>
                <a:spcPts val="0"/>
              </a:spcBef>
              <a:spcAft>
                <a:spcPts val="0"/>
              </a:spcAft>
              <a:buClrTx/>
              <a:buSzTx/>
              <a:buFontTx/>
              <a:buNone/>
              <a:tabLst/>
              <a:defRPr/>
            </a:pPr>
            <a:r>
              <a:rPr kumimoji="1" lang="en-US" altLang="ja-JP" sz="14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9</a:t>
            </a:r>
          </a:p>
        </p:txBody>
      </p:sp>
      <p:sp>
        <p:nvSpPr>
          <p:cNvPr id="51" name="正方形/長方形 50">
            <a:extLst>
              <a:ext uri="{FF2B5EF4-FFF2-40B4-BE49-F238E27FC236}">
                <a16:creationId xmlns:a16="http://schemas.microsoft.com/office/drawing/2014/main" id="{77832E12-EB36-727C-5B2A-D3060A4ED96D}"/>
              </a:ext>
            </a:extLst>
          </p:cNvPr>
          <p:cNvSpPr/>
          <p:nvPr/>
        </p:nvSpPr>
        <p:spPr>
          <a:xfrm>
            <a:off x="2078183" y="6207121"/>
            <a:ext cx="8307036" cy="428792"/>
          </a:xfrm>
          <a:prstGeom prst="rect">
            <a:avLst/>
          </a:prstGeom>
          <a:solidFill>
            <a:schemeClr val="bg1"/>
          </a:solidFill>
          <a:ln>
            <a:solidFill>
              <a:schemeClr val="bg1">
                <a:lumMod val="75000"/>
              </a:schemeClr>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79388" marR="0" lvl="0" indent="-179388" algn="l" defTabSz="478835"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14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お気に入り追加”機能の開発に向けたスケジュールの策定</a:t>
            </a:r>
            <a:endParaRPr kumimoji="1" lang="en-US" altLang="ja-JP" sz="14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endParaRPr>
          </a:p>
        </p:txBody>
      </p:sp>
      <p:sp>
        <p:nvSpPr>
          <p:cNvPr id="52" name="正方形/長方形 51">
            <a:extLst>
              <a:ext uri="{FF2B5EF4-FFF2-40B4-BE49-F238E27FC236}">
                <a16:creationId xmlns:a16="http://schemas.microsoft.com/office/drawing/2014/main" id="{03AB01C5-2B62-74C6-FA27-8C05A06C3BCA}"/>
              </a:ext>
            </a:extLst>
          </p:cNvPr>
          <p:cNvSpPr/>
          <p:nvPr/>
        </p:nvSpPr>
        <p:spPr>
          <a:xfrm>
            <a:off x="10512543" y="6207121"/>
            <a:ext cx="1157270" cy="428792"/>
          </a:xfrm>
          <a:prstGeom prst="rect">
            <a:avLst/>
          </a:prstGeom>
          <a:solidFill>
            <a:schemeClr val="accent2">
              <a:lumMod val="20000"/>
              <a:lumOff val="80000"/>
            </a:schemeClr>
          </a:solidFill>
          <a:ln>
            <a:solidFill>
              <a:schemeClr val="bg1">
                <a:lumMod val="75000"/>
              </a:schemeClr>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lvl="0" indent="0" algn="l" defTabSz="478835"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デジ棚</a:t>
            </a:r>
            <a:r>
              <a:rPr kumimoji="1" lang="en-US" altLang="ja-JP" sz="14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DLTX</a:t>
            </a:r>
          </a:p>
        </p:txBody>
      </p:sp>
      <p:sp>
        <p:nvSpPr>
          <p:cNvPr id="56" name="正方形/長方形 55">
            <a:extLst>
              <a:ext uri="{FF2B5EF4-FFF2-40B4-BE49-F238E27FC236}">
                <a16:creationId xmlns:a16="http://schemas.microsoft.com/office/drawing/2014/main" id="{B842FD81-FFC9-B44A-95CF-C9925CEEB60B}"/>
              </a:ext>
            </a:extLst>
          </p:cNvPr>
          <p:cNvSpPr/>
          <p:nvPr/>
        </p:nvSpPr>
        <p:spPr>
          <a:xfrm>
            <a:off x="759139" y="1869313"/>
            <a:ext cx="1191720" cy="1513244"/>
          </a:xfrm>
          <a:prstGeom prst="rect">
            <a:avLst/>
          </a:prstGeom>
          <a:solidFill>
            <a:schemeClr val="accent5">
              <a:lumMod val="20000"/>
              <a:lumOff val="80000"/>
            </a:schemeClr>
          </a:solidFill>
          <a:ln>
            <a:solidFill>
              <a:schemeClr val="bg1">
                <a:lumMod val="75000"/>
              </a:schemeClr>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lvl="0" indent="0" algn="l" defTabSz="478835" rtl="0" eaLnBrk="1" fontAlgn="auto" latinLnBrk="0" hangingPunct="1">
              <a:lnSpc>
                <a:spcPct val="100000"/>
              </a:lnSpc>
              <a:spcBef>
                <a:spcPts val="0"/>
              </a:spcBef>
              <a:spcAft>
                <a:spcPts val="0"/>
              </a:spcAft>
              <a:buClrTx/>
              <a:buSzTx/>
              <a:buFontTx/>
              <a:buNone/>
              <a:tabLst/>
              <a:defRPr/>
            </a:pPr>
            <a:r>
              <a:rPr kumimoji="1" lang="en-US" altLang="ja-JP" sz="14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API</a:t>
            </a:r>
            <a:r>
              <a:rPr kumimoji="1" lang="ja-JP" altLang="en-US" sz="14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連携</a:t>
            </a:r>
            <a:endParaRPr kumimoji="1" lang="en-US" altLang="ja-JP" sz="14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endParaRPr>
          </a:p>
        </p:txBody>
      </p:sp>
      <p:sp>
        <p:nvSpPr>
          <p:cNvPr id="64" name="正方形/長方形 63">
            <a:extLst>
              <a:ext uri="{FF2B5EF4-FFF2-40B4-BE49-F238E27FC236}">
                <a16:creationId xmlns:a16="http://schemas.microsoft.com/office/drawing/2014/main" id="{52442BB9-0809-1D9E-8A2B-F268C7BC48E2}"/>
              </a:ext>
            </a:extLst>
          </p:cNvPr>
          <p:cNvSpPr/>
          <p:nvPr/>
        </p:nvSpPr>
        <p:spPr>
          <a:xfrm>
            <a:off x="759139" y="5122669"/>
            <a:ext cx="1191720" cy="1513244"/>
          </a:xfrm>
          <a:prstGeom prst="rect">
            <a:avLst/>
          </a:prstGeom>
          <a:solidFill>
            <a:schemeClr val="accent5">
              <a:lumMod val="20000"/>
              <a:lumOff val="80000"/>
            </a:schemeClr>
          </a:solidFill>
          <a:ln>
            <a:solidFill>
              <a:schemeClr val="bg1">
                <a:lumMod val="75000"/>
              </a:schemeClr>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lvl="0" indent="0" algn="l" defTabSz="478835"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お気に入り</a:t>
            </a:r>
            <a:endParaRPr kumimoji="1" lang="en-US" altLang="ja-JP" sz="14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endParaRPr>
          </a:p>
          <a:p>
            <a:pPr marL="0" marR="0" lvl="0" indent="0" algn="l" defTabSz="478835"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追加”機能</a:t>
            </a:r>
            <a:endParaRPr kumimoji="1" lang="en-US" altLang="ja-JP" sz="14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endParaRPr>
          </a:p>
        </p:txBody>
      </p:sp>
      <p:sp>
        <p:nvSpPr>
          <p:cNvPr id="65" name="正方形/長方形 64">
            <a:extLst>
              <a:ext uri="{FF2B5EF4-FFF2-40B4-BE49-F238E27FC236}">
                <a16:creationId xmlns:a16="http://schemas.microsoft.com/office/drawing/2014/main" id="{920BE824-3C9F-3C1C-FDB2-CF3933F7D2B2}"/>
              </a:ext>
            </a:extLst>
          </p:cNvPr>
          <p:cNvSpPr/>
          <p:nvPr/>
        </p:nvSpPr>
        <p:spPr>
          <a:xfrm>
            <a:off x="759139" y="4580443"/>
            <a:ext cx="1191720" cy="428792"/>
          </a:xfrm>
          <a:prstGeom prst="rect">
            <a:avLst/>
          </a:prstGeom>
          <a:solidFill>
            <a:schemeClr val="accent5">
              <a:lumMod val="20000"/>
              <a:lumOff val="80000"/>
            </a:schemeClr>
          </a:solidFill>
          <a:ln>
            <a:solidFill>
              <a:schemeClr val="bg1">
                <a:lumMod val="75000"/>
              </a:schemeClr>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lvl="0" indent="0" algn="l" defTabSz="478835"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曖昧検索</a:t>
            </a:r>
            <a:endParaRPr kumimoji="1" lang="en-US" altLang="ja-JP" sz="14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endParaRPr>
          </a:p>
        </p:txBody>
      </p:sp>
      <p:sp>
        <p:nvSpPr>
          <p:cNvPr id="66" name="正方形/長方形 65">
            <a:extLst>
              <a:ext uri="{FF2B5EF4-FFF2-40B4-BE49-F238E27FC236}">
                <a16:creationId xmlns:a16="http://schemas.microsoft.com/office/drawing/2014/main" id="{9992FC25-4944-F38D-BF2A-EDD7329D1F12}"/>
              </a:ext>
            </a:extLst>
          </p:cNvPr>
          <p:cNvSpPr/>
          <p:nvPr/>
        </p:nvSpPr>
        <p:spPr>
          <a:xfrm>
            <a:off x="759139" y="4038217"/>
            <a:ext cx="1191720" cy="428792"/>
          </a:xfrm>
          <a:prstGeom prst="rect">
            <a:avLst/>
          </a:prstGeom>
          <a:solidFill>
            <a:schemeClr val="accent5">
              <a:lumMod val="20000"/>
              <a:lumOff val="80000"/>
            </a:schemeClr>
          </a:solidFill>
          <a:ln>
            <a:solidFill>
              <a:schemeClr val="bg1">
                <a:lumMod val="75000"/>
              </a:schemeClr>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lvl="0" indent="0" algn="l" defTabSz="478835"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マススケ</a:t>
            </a:r>
            <a:endParaRPr kumimoji="1" lang="en-US" altLang="ja-JP" sz="14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endParaRPr>
          </a:p>
        </p:txBody>
      </p:sp>
      <p:sp>
        <p:nvSpPr>
          <p:cNvPr id="67" name="正方形/長方形 66">
            <a:extLst>
              <a:ext uri="{FF2B5EF4-FFF2-40B4-BE49-F238E27FC236}">
                <a16:creationId xmlns:a16="http://schemas.microsoft.com/office/drawing/2014/main" id="{B6690984-51FF-D6BC-AFDA-843EFBA69110}"/>
              </a:ext>
            </a:extLst>
          </p:cNvPr>
          <p:cNvSpPr/>
          <p:nvPr/>
        </p:nvSpPr>
        <p:spPr>
          <a:xfrm>
            <a:off x="759139" y="3495991"/>
            <a:ext cx="1191720" cy="428792"/>
          </a:xfrm>
          <a:prstGeom prst="rect">
            <a:avLst/>
          </a:prstGeom>
          <a:solidFill>
            <a:schemeClr val="accent5">
              <a:lumMod val="20000"/>
              <a:lumOff val="80000"/>
            </a:schemeClr>
          </a:solidFill>
          <a:ln>
            <a:solidFill>
              <a:schemeClr val="bg1">
                <a:lumMod val="75000"/>
              </a:schemeClr>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lvl="0" indent="0" algn="l" defTabSz="478835"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カテゴリ</a:t>
            </a:r>
            <a:endParaRPr kumimoji="1" lang="en-US" altLang="ja-JP" sz="14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endParaRPr>
          </a:p>
        </p:txBody>
      </p:sp>
      <p:sp>
        <p:nvSpPr>
          <p:cNvPr id="8" name="正方形/長方形 7">
            <a:extLst>
              <a:ext uri="{FF2B5EF4-FFF2-40B4-BE49-F238E27FC236}">
                <a16:creationId xmlns:a16="http://schemas.microsoft.com/office/drawing/2014/main" id="{8E37D84A-3C0F-EAAF-2EAD-5F766B3954DC}"/>
              </a:ext>
            </a:extLst>
          </p:cNvPr>
          <p:cNvSpPr/>
          <p:nvPr/>
        </p:nvSpPr>
        <p:spPr>
          <a:xfrm>
            <a:off x="333515" y="1869313"/>
            <a:ext cx="298300" cy="428792"/>
          </a:xfrm>
          <a:prstGeom prst="rect">
            <a:avLst/>
          </a:prstGeom>
          <a:solidFill>
            <a:schemeClr val="accent5">
              <a:lumMod val="60000"/>
              <a:lumOff val="40000"/>
            </a:schemeClr>
          </a:solidFill>
          <a:ln>
            <a:solidFill>
              <a:schemeClr val="bg1">
                <a:lumMod val="75000"/>
              </a:schemeClr>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lvl="0" indent="0" algn="l" defTabSz="478835" rtl="0" eaLnBrk="1" fontAlgn="auto" latinLnBrk="0" hangingPunct="1">
              <a:lnSpc>
                <a:spcPct val="100000"/>
              </a:lnSpc>
              <a:spcBef>
                <a:spcPts val="0"/>
              </a:spcBef>
              <a:spcAft>
                <a:spcPts val="0"/>
              </a:spcAft>
              <a:buClrTx/>
              <a:buSzTx/>
              <a:buFontTx/>
              <a:buNone/>
              <a:tabLst/>
              <a:defRPr/>
            </a:pPr>
            <a:r>
              <a:rPr kumimoji="1" lang="en-US" altLang="ja-JP" sz="14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1</a:t>
            </a:r>
          </a:p>
        </p:txBody>
      </p:sp>
      <p:sp>
        <p:nvSpPr>
          <p:cNvPr id="10" name="正方形/長方形 9">
            <a:extLst>
              <a:ext uri="{FF2B5EF4-FFF2-40B4-BE49-F238E27FC236}">
                <a16:creationId xmlns:a16="http://schemas.microsoft.com/office/drawing/2014/main" id="{5FB98CD3-7724-A5DA-53FB-585CC851DAF8}"/>
              </a:ext>
            </a:extLst>
          </p:cNvPr>
          <p:cNvSpPr/>
          <p:nvPr/>
        </p:nvSpPr>
        <p:spPr>
          <a:xfrm>
            <a:off x="2078183" y="1869313"/>
            <a:ext cx="8307036" cy="428792"/>
          </a:xfrm>
          <a:prstGeom prst="rect">
            <a:avLst/>
          </a:prstGeom>
          <a:solidFill>
            <a:schemeClr val="bg1"/>
          </a:solidFill>
          <a:ln>
            <a:solidFill>
              <a:schemeClr val="bg1">
                <a:lumMod val="75000"/>
              </a:schemeClr>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79388" marR="0" lvl="0" indent="-179388" algn="l" defTabSz="478835"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14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バディ側との</a:t>
            </a:r>
            <a:r>
              <a:rPr kumimoji="1" lang="en-US" altLang="ja-JP" sz="14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API</a:t>
            </a:r>
            <a:r>
              <a:rPr kumimoji="1" lang="ja-JP" altLang="en-US" sz="14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連携テストの具体日程の提示</a:t>
            </a:r>
            <a:br>
              <a:rPr kumimoji="1" lang="en-US" altLang="ja-JP" sz="14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br>
            <a:r>
              <a:rPr kumimoji="1" lang="ja-JP" altLang="en-US" sz="1400" b="1" i="0" u="none" strike="noStrike" kern="1200" cap="none" spc="0" normalizeH="0" baseline="0" noProof="0">
                <a:ln>
                  <a:noFill/>
                </a:ln>
                <a:solidFill>
                  <a:srgbClr val="FF0000"/>
                </a:solidFill>
                <a:effectLst/>
                <a:uLnTx/>
                <a:uFillTx/>
                <a:latin typeface="Meiryo UI" panose="020B0604030504040204" pitchFamily="50" charset="-128"/>
                <a:ea typeface="Meiryo UI" panose="020B0604030504040204" pitchFamily="50" charset="-128"/>
                <a:cs typeface="+mn-cs"/>
              </a:rPr>
              <a:t>⇒今週中に可能であれば資料を送付の上、</a:t>
            </a:r>
            <a:r>
              <a:rPr kumimoji="1" lang="en-US" altLang="ja-JP" sz="1400" b="1" i="0" u="none" strike="noStrike" kern="1200" cap="none" spc="0" normalizeH="0" baseline="0" noProof="0">
                <a:ln>
                  <a:noFill/>
                </a:ln>
                <a:solidFill>
                  <a:srgbClr val="FF0000"/>
                </a:solidFill>
                <a:effectLst/>
                <a:uLnTx/>
                <a:uFillTx/>
                <a:latin typeface="Meiryo UI" panose="020B0604030504040204" pitchFamily="50" charset="-128"/>
                <a:ea typeface="Meiryo UI" panose="020B0604030504040204" pitchFamily="50" charset="-128"/>
                <a:cs typeface="+mn-cs"/>
              </a:rPr>
              <a:t>4/30(</a:t>
            </a:r>
            <a:r>
              <a:rPr kumimoji="1" lang="ja-JP" altLang="en-US" sz="1400" b="1" i="0" u="none" strike="noStrike" kern="1200" cap="none" spc="0" normalizeH="0" baseline="0" noProof="0">
                <a:ln>
                  <a:noFill/>
                </a:ln>
                <a:solidFill>
                  <a:srgbClr val="FF0000"/>
                </a:solidFill>
                <a:effectLst/>
                <a:uLnTx/>
                <a:uFillTx/>
                <a:latin typeface="Meiryo UI" panose="020B0604030504040204" pitchFamily="50" charset="-128"/>
                <a:ea typeface="Meiryo UI" panose="020B0604030504040204" pitchFamily="50" charset="-128"/>
                <a:cs typeface="+mn-cs"/>
              </a:rPr>
              <a:t>水</a:t>
            </a:r>
            <a:r>
              <a:rPr kumimoji="1" lang="en-US" altLang="ja-JP" sz="1400" b="1" i="0" u="none" strike="noStrike" kern="1200" cap="none" spc="0" normalizeH="0" baseline="0" noProof="0">
                <a:ln>
                  <a:noFill/>
                </a:ln>
                <a:solidFill>
                  <a:srgbClr val="FF0000"/>
                </a:solidFill>
                <a:effectLst/>
                <a:uLnTx/>
                <a:uFillTx/>
                <a:latin typeface="Meiryo UI" panose="020B0604030504040204" pitchFamily="50" charset="-128"/>
                <a:ea typeface="Meiryo UI" panose="020B0604030504040204" pitchFamily="50" charset="-128"/>
                <a:cs typeface="+mn-cs"/>
              </a:rPr>
              <a:t>)</a:t>
            </a:r>
            <a:r>
              <a:rPr kumimoji="1" lang="ja-JP" altLang="en-US" sz="1400" b="1" i="0" u="none" strike="noStrike" kern="1200" cap="none" spc="0" normalizeH="0" baseline="0" noProof="0">
                <a:ln>
                  <a:noFill/>
                </a:ln>
                <a:solidFill>
                  <a:srgbClr val="FF0000"/>
                </a:solidFill>
                <a:effectLst/>
                <a:uLnTx/>
                <a:uFillTx/>
                <a:latin typeface="Meiryo UI" panose="020B0604030504040204" pitchFamily="50" charset="-128"/>
                <a:ea typeface="Meiryo UI" panose="020B0604030504040204" pitchFamily="50" charset="-128"/>
                <a:cs typeface="+mn-cs"/>
              </a:rPr>
              <a:t>定例</a:t>
            </a:r>
            <a:r>
              <a:rPr kumimoji="1" lang="en-US" altLang="ja-JP" sz="1400" b="1" i="0" u="none" strike="noStrike" kern="1200" cap="none" spc="0" normalizeH="0" baseline="0" noProof="0">
                <a:ln>
                  <a:noFill/>
                </a:ln>
                <a:solidFill>
                  <a:srgbClr val="FF0000"/>
                </a:solidFill>
                <a:effectLst/>
                <a:uLnTx/>
                <a:uFillTx/>
                <a:latin typeface="Meiryo UI" panose="020B0604030504040204" pitchFamily="50" charset="-128"/>
                <a:ea typeface="Meiryo UI" panose="020B0604030504040204" pitchFamily="50" charset="-128"/>
                <a:cs typeface="+mn-cs"/>
              </a:rPr>
              <a:t>MTG</a:t>
            </a:r>
            <a:r>
              <a:rPr kumimoji="1" lang="ja-JP" altLang="en-US" sz="1400" b="1" i="0" u="none" strike="noStrike" kern="1200" cap="none" spc="0" normalizeH="0" baseline="0" noProof="0">
                <a:ln>
                  <a:noFill/>
                </a:ln>
                <a:solidFill>
                  <a:srgbClr val="FF0000"/>
                </a:solidFill>
                <a:effectLst/>
                <a:uLnTx/>
                <a:uFillTx/>
                <a:latin typeface="Meiryo UI" panose="020B0604030504040204" pitchFamily="50" charset="-128"/>
                <a:ea typeface="Meiryo UI" panose="020B0604030504040204" pitchFamily="50" charset="-128"/>
                <a:cs typeface="+mn-cs"/>
              </a:rPr>
              <a:t>にて共有</a:t>
            </a:r>
            <a:endParaRPr kumimoji="1" lang="en-US" altLang="ja-JP" sz="1400" b="1" i="0" u="none" strike="noStrike" kern="1200" cap="none" spc="0" normalizeH="0" baseline="0" noProof="0">
              <a:ln>
                <a:noFill/>
              </a:ln>
              <a:solidFill>
                <a:srgbClr val="FF0000"/>
              </a:solidFill>
              <a:effectLst/>
              <a:uLnTx/>
              <a:uFillTx/>
              <a:latin typeface="Meiryo UI" panose="020B0604030504040204" pitchFamily="50" charset="-128"/>
              <a:ea typeface="Meiryo UI" panose="020B0604030504040204" pitchFamily="50" charset="-128"/>
              <a:cs typeface="+mn-cs"/>
            </a:endParaRPr>
          </a:p>
        </p:txBody>
      </p:sp>
      <p:sp>
        <p:nvSpPr>
          <p:cNvPr id="13" name="正方形/長方形 12">
            <a:extLst>
              <a:ext uri="{FF2B5EF4-FFF2-40B4-BE49-F238E27FC236}">
                <a16:creationId xmlns:a16="http://schemas.microsoft.com/office/drawing/2014/main" id="{2E93E8F6-96B8-26B6-C6D4-61C523F8A187}"/>
              </a:ext>
            </a:extLst>
          </p:cNvPr>
          <p:cNvSpPr/>
          <p:nvPr/>
        </p:nvSpPr>
        <p:spPr>
          <a:xfrm>
            <a:off x="10512543" y="1869313"/>
            <a:ext cx="1157270" cy="428792"/>
          </a:xfrm>
          <a:prstGeom prst="rect">
            <a:avLst/>
          </a:prstGeom>
          <a:solidFill>
            <a:schemeClr val="accent2">
              <a:lumMod val="20000"/>
              <a:lumOff val="80000"/>
            </a:schemeClr>
          </a:solidFill>
          <a:ln>
            <a:solidFill>
              <a:schemeClr val="bg1">
                <a:lumMod val="75000"/>
              </a:schemeClr>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lvl="0" indent="0" algn="l" defTabSz="478835"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デジ棚</a:t>
            </a:r>
            <a:r>
              <a:rPr kumimoji="1" lang="en-US" altLang="ja-JP" sz="14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DLTX</a:t>
            </a:r>
          </a:p>
        </p:txBody>
      </p:sp>
      <p:sp>
        <p:nvSpPr>
          <p:cNvPr id="7" name="正方形/長方形 6">
            <a:extLst>
              <a:ext uri="{FF2B5EF4-FFF2-40B4-BE49-F238E27FC236}">
                <a16:creationId xmlns:a16="http://schemas.microsoft.com/office/drawing/2014/main" id="{D4C15D76-7E06-8F94-2E80-859659AF6808}"/>
              </a:ext>
            </a:extLst>
          </p:cNvPr>
          <p:cNvSpPr/>
          <p:nvPr/>
        </p:nvSpPr>
        <p:spPr>
          <a:xfrm>
            <a:off x="231479" y="3429000"/>
            <a:ext cx="11438334" cy="495781"/>
          </a:xfrm>
          <a:prstGeom prst="rect">
            <a:avLst/>
          </a:prstGeom>
          <a:noFill/>
          <a:ln w="57150">
            <a:solidFill>
              <a:srgbClr val="FF0000"/>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ja-JP" altLang="en-US">
              <a:solidFill>
                <a:schemeClr val="tx1"/>
              </a:solidFill>
            </a:endParaRPr>
          </a:p>
        </p:txBody>
      </p:sp>
      <p:sp>
        <p:nvSpPr>
          <p:cNvPr id="30" name="正方形/長方形 29">
            <a:extLst>
              <a:ext uri="{FF2B5EF4-FFF2-40B4-BE49-F238E27FC236}">
                <a16:creationId xmlns:a16="http://schemas.microsoft.com/office/drawing/2014/main" id="{2934B67A-C298-3479-2238-6694BF37A8DF}"/>
              </a:ext>
            </a:extLst>
          </p:cNvPr>
          <p:cNvSpPr/>
          <p:nvPr/>
        </p:nvSpPr>
        <p:spPr>
          <a:xfrm>
            <a:off x="231479" y="4542759"/>
            <a:ext cx="11438334" cy="495781"/>
          </a:xfrm>
          <a:prstGeom prst="rect">
            <a:avLst/>
          </a:prstGeom>
          <a:noFill/>
          <a:ln w="57150">
            <a:solidFill>
              <a:srgbClr val="FF0000"/>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ja-JP" altLang="en-US">
              <a:solidFill>
                <a:schemeClr val="tx1"/>
              </a:solidFill>
            </a:endParaRPr>
          </a:p>
        </p:txBody>
      </p:sp>
      <p:sp>
        <p:nvSpPr>
          <p:cNvPr id="31" name="正方形/長方形 30">
            <a:extLst>
              <a:ext uri="{FF2B5EF4-FFF2-40B4-BE49-F238E27FC236}">
                <a16:creationId xmlns:a16="http://schemas.microsoft.com/office/drawing/2014/main" id="{AEA426CE-6992-E5DC-99CF-2EA138FEA8B4}"/>
              </a:ext>
            </a:extLst>
          </p:cNvPr>
          <p:cNvSpPr/>
          <p:nvPr/>
        </p:nvSpPr>
        <p:spPr>
          <a:xfrm>
            <a:off x="231479" y="5635590"/>
            <a:ext cx="11438334" cy="495781"/>
          </a:xfrm>
          <a:prstGeom prst="rect">
            <a:avLst/>
          </a:prstGeom>
          <a:noFill/>
          <a:ln w="57150">
            <a:solidFill>
              <a:srgbClr val="FF0000"/>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ja-JP" altLang="en-US">
              <a:solidFill>
                <a:schemeClr val="tx1"/>
              </a:solidFill>
            </a:endParaRPr>
          </a:p>
        </p:txBody>
      </p:sp>
      <p:sp>
        <p:nvSpPr>
          <p:cNvPr id="33" name="四角形: 角を丸くする 32">
            <a:extLst>
              <a:ext uri="{FF2B5EF4-FFF2-40B4-BE49-F238E27FC236}">
                <a16:creationId xmlns:a16="http://schemas.microsoft.com/office/drawing/2014/main" id="{9AF589B6-00D0-AE3A-2BCF-746E0CDCFCD1}"/>
              </a:ext>
            </a:extLst>
          </p:cNvPr>
          <p:cNvSpPr/>
          <p:nvPr/>
        </p:nvSpPr>
        <p:spPr>
          <a:xfrm>
            <a:off x="-93429" y="3315572"/>
            <a:ext cx="1152187" cy="267952"/>
          </a:xfrm>
          <a:prstGeom prst="roundRect">
            <a:avLst/>
          </a:prstGeom>
          <a:solidFill>
            <a:schemeClr val="tx2">
              <a:lumMod val="20000"/>
              <a:lumOff val="80000"/>
            </a:schemeClr>
          </a:solidFill>
          <a:ln w="9525" cap="flat" cmpd="sng" algn="ctr">
            <a:noFill/>
            <a:prstDash val="solid"/>
          </a:ln>
          <a:effectLst/>
        </p:spPr>
        <p:txBody>
          <a:bodyPr rtlCol="0" anchor="ctr"/>
          <a:lstStyle/>
          <a:p>
            <a:pPr marL="0" marR="0" lvl="0" indent="0" algn="ctr" defTabSz="609585" eaLnBrk="1" fontAlgn="auto" latinLnBrk="0" hangingPunct="1">
              <a:lnSpc>
                <a:spcPct val="100000"/>
              </a:lnSpc>
              <a:spcBef>
                <a:spcPts val="0"/>
              </a:spcBef>
              <a:spcAft>
                <a:spcPts val="0"/>
              </a:spcAft>
              <a:buClrTx/>
              <a:buSzTx/>
              <a:buFontTx/>
              <a:buNone/>
              <a:tabLst/>
              <a:defRPr/>
            </a:pPr>
            <a:r>
              <a:rPr kumimoji="0" lang="en-US" altLang="ja-JP" sz="1600" kern="0" dirty="0">
                <a:solidFill>
                  <a:srgbClr val="000000"/>
                </a:solidFill>
                <a:latin typeface="Meiryo UI"/>
                <a:ea typeface="Meiryo UI"/>
              </a:rPr>
              <a:t>3</a:t>
            </a:r>
            <a:r>
              <a:rPr kumimoji="0" lang="ja-JP" altLang="en-US" sz="1600" b="0" i="0" u="none" strike="noStrike" kern="0" cap="none" spc="0" normalizeH="0" baseline="0" noProof="0" dirty="0">
                <a:ln>
                  <a:noFill/>
                </a:ln>
                <a:solidFill>
                  <a:srgbClr val="000000"/>
                </a:solidFill>
                <a:effectLst/>
                <a:uLnTx/>
                <a:uFillTx/>
                <a:latin typeface="Meiryo UI"/>
                <a:ea typeface="Meiryo UI"/>
                <a:cs typeface="+mn-cs"/>
              </a:rPr>
              <a:t>スラ</a:t>
            </a:r>
          </a:p>
        </p:txBody>
      </p:sp>
      <p:sp>
        <p:nvSpPr>
          <p:cNvPr id="35" name="四角形: 角を丸くする 34">
            <a:extLst>
              <a:ext uri="{FF2B5EF4-FFF2-40B4-BE49-F238E27FC236}">
                <a16:creationId xmlns:a16="http://schemas.microsoft.com/office/drawing/2014/main" id="{537ED23D-CFA8-0503-9D44-3E3FA0589778}"/>
              </a:ext>
            </a:extLst>
          </p:cNvPr>
          <p:cNvSpPr/>
          <p:nvPr/>
        </p:nvSpPr>
        <p:spPr>
          <a:xfrm>
            <a:off x="-93429" y="4382886"/>
            <a:ext cx="1152187" cy="267952"/>
          </a:xfrm>
          <a:prstGeom prst="roundRect">
            <a:avLst/>
          </a:prstGeom>
          <a:solidFill>
            <a:schemeClr val="tx2">
              <a:lumMod val="20000"/>
              <a:lumOff val="80000"/>
            </a:schemeClr>
          </a:solidFill>
          <a:ln w="9525" cap="flat" cmpd="sng" algn="ctr">
            <a:noFill/>
            <a:prstDash val="solid"/>
          </a:ln>
          <a:effectLst/>
        </p:spPr>
        <p:txBody>
          <a:bodyPr rtlCol="0" anchor="ctr"/>
          <a:lstStyle/>
          <a:p>
            <a:pPr marL="0" marR="0" lvl="0" indent="0" algn="ctr" defTabSz="609585" eaLnBrk="1" fontAlgn="auto" latinLnBrk="0" hangingPunct="1">
              <a:lnSpc>
                <a:spcPct val="100000"/>
              </a:lnSpc>
              <a:spcBef>
                <a:spcPts val="0"/>
              </a:spcBef>
              <a:spcAft>
                <a:spcPts val="0"/>
              </a:spcAft>
              <a:buClrTx/>
              <a:buSzTx/>
              <a:buFontTx/>
              <a:buNone/>
              <a:tabLst/>
              <a:defRPr/>
            </a:pPr>
            <a:r>
              <a:rPr kumimoji="0" lang="en-US" altLang="ja-JP" sz="1600" b="0" i="0" u="none" strike="noStrike" kern="0" cap="none" spc="0" normalizeH="0" baseline="0" noProof="0" dirty="0">
                <a:ln>
                  <a:noFill/>
                </a:ln>
                <a:solidFill>
                  <a:srgbClr val="000000"/>
                </a:solidFill>
                <a:effectLst/>
                <a:uLnTx/>
                <a:uFillTx/>
                <a:latin typeface="Meiryo UI"/>
                <a:ea typeface="Meiryo UI"/>
                <a:cs typeface="+mn-cs"/>
              </a:rPr>
              <a:t>4</a:t>
            </a:r>
            <a:r>
              <a:rPr kumimoji="0" lang="ja-JP" altLang="en-US" sz="1600" b="0" i="0" u="none" strike="noStrike" kern="0" cap="none" spc="0" normalizeH="0" baseline="0" noProof="0" dirty="0">
                <a:ln>
                  <a:noFill/>
                </a:ln>
                <a:solidFill>
                  <a:srgbClr val="000000"/>
                </a:solidFill>
                <a:effectLst/>
                <a:uLnTx/>
                <a:uFillTx/>
                <a:latin typeface="Meiryo UI"/>
                <a:ea typeface="Meiryo UI"/>
                <a:cs typeface="+mn-cs"/>
              </a:rPr>
              <a:t>スラ</a:t>
            </a:r>
          </a:p>
        </p:txBody>
      </p:sp>
      <p:sp>
        <p:nvSpPr>
          <p:cNvPr id="36" name="四角形: 角を丸くする 35">
            <a:extLst>
              <a:ext uri="{FF2B5EF4-FFF2-40B4-BE49-F238E27FC236}">
                <a16:creationId xmlns:a16="http://schemas.microsoft.com/office/drawing/2014/main" id="{E3B18542-B005-FF00-62AD-40B1A7378958}"/>
              </a:ext>
            </a:extLst>
          </p:cNvPr>
          <p:cNvSpPr/>
          <p:nvPr/>
        </p:nvSpPr>
        <p:spPr>
          <a:xfrm>
            <a:off x="-93430" y="5511815"/>
            <a:ext cx="1152187" cy="267952"/>
          </a:xfrm>
          <a:prstGeom prst="roundRect">
            <a:avLst/>
          </a:prstGeom>
          <a:solidFill>
            <a:schemeClr val="tx2">
              <a:lumMod val="20000"/>
              <a:lumOff val="80000"/>
            </a:schemeClr>
          </a:solidFill>
          <a:ln w="9525" cap="flat" cmpd="sng" algn="ctr">
            <a:noFill/>
            <a:prstDash val="solid"/>
          </a:ln>
          <a:effectLst/>
        </p:spPr>
        <p:txBody>
          <a:bodyPr rtlCol="0" anchor="ctr"/>
          <a:lstStyle/>
          <a:p>
            <a:pPr marL="0" marR="0" lvl="0" indent="0" algn="ctr" defTabSz="609585" eaLnBrk="1" fontAlgn="auto" latinLnBrk="0" hangingPunct="1">
              <a:lnSpc>
                <a:spcPct val="100000"/>
              </a:lnSpc>
              <a:spcBef>
                <a:spcPts val="0"/>
              </a:spcBef>
              <a:spcAft>
                <a:spcPts val="0"/>
              </a:spcAft>
              <a:buClrTx/>
              <a:buSzTx/>
              <a:buFontTx/>
              <a:buNone/>
              <a:tabLst/>
              <a:defRPr/>
            </a:pPr>
            <a:r>
              <a:rPr kumimoji="0" lang="en-US" altLang="ja-JP" sz="1600" b="0" i="0" u="none" strike="noStrike" kern="0" cap="none" spc="0" normalizeH="0" baseline="0" noProof="0" dirty="0">
                <a:ln>
                  <a:noFill/>
                </a:ln>
                <a:solidFill>
                  <a:srgbClr val="000000"/>
                </a:solidFill>
                <a:effectLst/>
                <a:uLnTx/>
                <a:uFillTx/>
                <a:latin typeface="Meiryo UI"/>
                <a:ea typeface="Meiryo UI"/>
                <a:cs typeface="+mn-cs"/>
              </a:rPr>
              <a:t>8</a:t>
            </a:r>
            <a:r>
              <a:rPr kumimoji="0" lang="ja-JP" altLang="en-US" sz="1600" b="0" i="0" u="none" strike="noStrike" kern="0" cap="none" spc="0" normalizeH="0" baseline="0" noProof="0" dirty="0">
                <a:ln>
                  <a:noFill/>
                </a:ln>
                <a:solidFill>
                  <a:srgbClr val="000000"/>
                </a:solidFill>
                <a:effectLst/>
                <a:uLnTx/>
                <a:uFillTx/>
                <a:latin typeface="Meiryo UI"/>
                <a:ea typeface="Meiryo UI"/>
                <a:cs typeface="+mn-cs"/>
              </a:rPr>
              <a:t>スラ</a:t>
            </a:r>
          </a:p>
        </p:txBody>
      </p:sp>
    </p:spTree>
    <p:extLst>
      <p:ext uri="{BB962C8B-B14F-4D97-AF65-F5344CB8AC3E}">
        <p14:creationId xmlns:p14="http://schemas.microsoft.com/office/powerpoint/2010/main" val="287773723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A6D08E4-4FAC-314D-507C-C820D5E017D2}"/>
            </a:ext>
          </a:extLst>
        </p:cNvPr>
        <p:cNvGrpSpPr/>
        <p:nvPr/>
      </p:nvGrpSpPr>
      <p:grpSpPr>
        <a:xfrm>
          <a:off x="0" y="0"/>
          <a:ext cx="0" cy="0"/>
          <a:chOff x="0" y="0"/>
          <a:chExt cx="0" cy="0"/>
        </a:xfrm>
      </p:grpSpPr>
      <p:sp>
        <p:nvSpPr>
          <p:cNvPr id="18" name="タイトル 1">
            <a:extLst>
              <a:ext uri="{FF2B5EF4-FFF2-40B4-BE49-F238E27FC236}">
                <a16:creationId xmlns:a16="http://schemas.microsoft.com/office/drawing/2014/main" id="{7DB2E13A-85A5-3A60-A233-1DE70984E0E1}"/>
              </a:ext>
            </a:extLst>
          </p:cNvPr>
          <p:cNvSpPr>
            <a:spLocks noGrp="1"/>
          </p:cNvSpPr>
          <p:nvPr>
            <p:ph type="title"/>
          </p:nvPr>
        </p:nvSpPr>
        <p:spPr>
          <a:xfrm>
            <a:off x="243910" y="210462"/>
            <a:ext cx="9782983" cy="521706"/>
          </a:xfrm>
        </p:spPr>
        <p:txBody>
          <a:bodyPr lIns="95767" tIns="47884" rIns="95767" bIns="47884" anchor="ctr" anchorCtr="0"/>
          <a:lstStyle/>
          <a:p>
            <a:r>
              <a:rPr kumimoji="1" lang="ja-JP" altLang="en-US" sz="2400" b="1"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新設バディカテゴリの内容最終決定について</a:t>
            </a:r>
            <a:endParaRPr lang="ja-JP" altLang="en-US" sz="2400" b="1"/>
          </a:p>
        </p:txBody>
      </p:sp>
      <p:sp>
        <p:nvSpPr>
          <p:cNvPr id="19" name="スライド番号プレースホルダー 2">
            <a:extLst>
              <a:ext uri="{FF2B5EF4-FFF2-40B4-BE49-F238E27FC236}">
                <a16:creationId xmlns:a16="http://schemas.microsoft.com/office/drawing/2014/main" id="{88B13E56-00A8-53F8-CC9D-E2B60CD64562}"/>
              </a:ext>
            </a:extLst>
          </p:cNvPr>
          <p:cNvSpPr txBox="1">
            <a:spLocks/>
          </p:cNvSpPr>
          <p:nvPr/>
        </p:nvSpPr>
        <p:spPr>
          <a:xfrm>
            <a:off x="11610324" y="6536197"/>
            <a:ext cx="555812" cy="289299"/>
          </a:xfrm>
          <a:prstGeom prst="rect">
            <a:avLst/>
          </a:prstGeom>
        </p:spPr>
        <p:txBody>
          <a:bodyPr vert="horz" lIns="91440" tIns="45720" rIns="91440" bIns="45720" rtlCol="0" anchor="ctr"/>
          <a:lstStyle>
            <a:defPPr>
              <a:defRPr lang="ja-JP"/>
            </a:defPPr>
            <a:lvl1pPr marL="0" algn="r" defTabSz="914400" rtl="0" eaLnBrk="1" latinLnBrk="0" hangingPunct="1">
              <a:defRPr kumimoji="1" sz="1100" kern="1200">
                <a:solidFill>
                  <a:srgbClr val="000000"/>
                </a:solidFill>
                <a:latin typeface="+mj-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2FF5E1DE-7B95-8A44-8552-65323269AE41}" type="slidenum">
              <a:rPr kumimoji="0" lang="ja-JP" altLang="en-US" sz="1400" b="0" i="0" u="none" strike="noStrike" kern="1200" cap="none" spc="0" normalizeH="0" baseline="0" noProof="0" smtClean="0">
                <a:ln>
                  <a:noFill/>
                </a:ln>
                <a:solidFill>
                  <a:srgbClr val="000000"/>
                </a:solidFill>
                <a:effectLst/>
                <a:uLnTx/>
                <a:uFillTx/>
                <a:latin typeface="Meiryo UI" panose="020B0604030504040204" pitchFamily="50" charset="-128"/>
                <a:ea typeface="Meiryo UI" panose="020B0604030504040204" pitchFamily="50" charset="-128"/>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3</a:t>
            </a:fld>
            <a:endParaRPr kumimoji="0" lang="ja-JP" altLang="en-US" sz="14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Arial" charset="0"/>
            </a:endParaRPr>
          </a:p>
        </p:txBody>
      </p:sp>
      <p:sp>
        <p:nvSpPr>
          <p:cNvPr id="20" name="正方形/長方形 19">
            <a:extLst>
              <a:ext uri="{FF2B5EF4-FFF2-40B4-BE49-F238E27FC236}">
                <a16:creationId xmlns:a16="http://schemas.microsoft.com/office/drawing/2014/main" id="{B265A741-5A80-D420-0DB9-BE3552926F45}"/>
              </a:ext>
            </a:extLst>
          </p:cNvPr>
          <p:cNvSpPr/>
          <p:nvPr/>
        </p:nvSpPr>
        <p:spPr>
          <a:xfrm>
            <a:off x="87086" y="2416375"/>
            <a:ext cx="12039666" cy="4254563"/>
          </a:xfrm>
          <a:prstGeom prst="rect">
            <a:avLst/>
          </a:prstGeom>
          <a:solidFill>
            <a:schemeClr val="bg1"/>
          </a:solidFill>
          <a:ln w="12700" cap="flat" cmpd="sng" algn="ctr">
            <a:solidFill>
              <a:srgbClr val="000000"/>
            </a:solidFill>
            <a:prstDash val="solid"/>
            <a:miter lim="800000"/>
          </a:ln>
          <a:effectLst/>
        </p:spPr>
        <p:txBody>
          <a:bodyPr rtlCol="0" anchor="ctr"/>
          <a:lstStyle/>
          <a:p>
            <a:pPr algn="ctr" defTabSz="742950">
              <a:defRPr/>
            </a:pPr>
            <a:endParaRPr kumimoji="0" lang="ja-JP" altLang="en-US" sz="975" kern="0">
              <a:solidFill>
                <a:srgbClr val="ED7D31">
                  <a:lumMod val="75000"/>
                </a:srgbClr>
              </a:solidFill>
              <a:latin typeface="Meiryo UI"/>
              <a:ea typeface="Meiryo UI"/>
              <a:cs typeface="Arial"/>
            </a:endParaRPr>
          </a:p>
        </p:txBody>
      </p:sp>
      <p:pic>
        <p:nvPicPr>
          <p:cNvPr id="21" name="図 20">
            <a:extLst>
              <a:ext uri="{FF2B5EF4-FFF2-40B4-BE49-F238E27FC236}">
                <a16:creationId xmlns:a16="http://schemas.microsoft.com/office/drawing/2014/main" id="{C3525579-1D54-0A2C-47FD-26D2AA7C6B8F}"/>
              </a:ext>
            </a:extLst>
          </p:cNvPr>
          <p:cNvPicPr>
            <a:picLocks noChangeAspect="1"/>
          </p:cNvPicPr>
          <p:nvPr/>
        </p:nvPicPr>
        <p:blipFill>
          <a:blip r:embed="rId3"/>
          <a:stretch>
            <a:fillRect/>
          </a:stretch>
        </p:blipFill>
        <p:spPr>
          <a:xfrm>
            <a:off x="1497532" y="3972070"/>
            <a:ext cx="931358" cy="1380459"/>
          </a:xfrm>
          <a:prstGeom prst="rect">
            <a:avLst/>
          </a:prstGeom>
        </p:spPr>
      </p:pic>
      <p:pic>
        <p:nvPicPr>
          <p:cNvPr id="22" name="図 21">
            <a:extLst>
              <a:ext uri="{FF2B5EF4-FFF2-40B4-BE49-F238E27FC236}">
                <a16:creationId xmlns:a16="http://schemas.microsoft.com/office/drawing/2014/main" id="{2983EB49-E259-5E1B-56D6-62434426C316}"/>
              </a:ext>
            </a:extLst>
          </p:cNvPr>
          <p:cNvPicPr>
            <a:picLocks noChangeAspect="1"/>
          </p:cNvPicPr>
          <p:nvPr/>
        </p:nvPicPr>
        <p:blipFill>
          <a:blip r:embed="rId4"/>
          <a:stretch>
            <a:fillRect/>
          </a:stretch>
        </p:blipFill>
        <p:spPr>
          <a:xfrm>
            <a:off x="5500907" y="4007425"/>
            <a:ext cx="934124" cy="1351209"/>
          </a:xfrm>
          <a:prstGeom prst="rect">
            <a:avLst/>
          </a:prstGeom>
        </p:spPr>
      </p:pic>
      <p:sp>
        <p:nvSpPr>
          <p:cNvPr id="23" name="テキスト ボックス 18">
            <a:extLst>
              <a:ext uri="{FF2B5EF4-FFF2-40B4-BE49-F238E27FC236}">
                <a16:creationId xmlns:a16="http://schemas.microsoft.com/office/drawing/2014/main" id="{CDE62663-B425-D64B-F333-C778B9FD6E3D}"/>
              </a:ext>
            </a:extLst>
          </p:cNvPr>
          <p:cNvSpPr txBox="1"/>
          <p:nvPr/>
        </p:nvSpPr>
        <p:spPr bwMode="gray">
          <a:xfrm>
            <a:off x="1183940" y="5489827"/>
            <a:ext cx="1306765" cy="517114"/>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defTabSz="371433">
              <a:defRPr/>
            </a:pPr>
            <a:r>
              <a:rPr lang="ja-JP" altLang="en-US" sz="1000" kern="0">
                <a:solidFill>
                  <a:srgbClr val="000000"/>
                </a:solidFill>
                <a:latin typeface="Meiryo UI"/>
                <a:ea typeface="Meiryo UI"/>
              </a:rPr>
              <a:t>生活習慣病重症化</a:t>
            </a:r>
            <a:endParaRPr lang="en-US" altLang="ja-JP" sz="1000" kern="0">
              <a:solidFill>
                <a:srgbClr val="000000"/>
              </a:solidFill>
              <a:latin typeface="Meiryo UI"/>
              <a:ea typeface="Meiryo UI"/>
            </a:endParaRPr>
          </a:p>
          <a:p>
            <a:pPr algn="ctr" defTabSz="371433">
              <a:defRPr/>
            </a:pPr>
            <a:r>
              <a:rPr lang="ja-JP" altLang="en-US" sz="1000" kern="0">
                <a:solidFill>
                  <a:srgbClr val="000000"/>
                </a:solidFill>
                <a:latin typeface="Meiryo UI"/>
                <a:ea typeface="Meiryo UI"/>
              </a:rPr>
              <a:t>予防応援保険リーフ</a:t>
            </a:r>
            <a:endParaRPr lang="en-US" altLang="ja-JP" sz="1000" kern="0">
              <a:solidFill>
                <a:srgbClr val="000000"/>
              </a:solidFill>
              <a:latin typeface="Meiryo UI"/>
              <a:ea typeface="Meiryo UI"/>
            </a:endParaRPr>
          </a:p>
        </p:txBody>
      </p:sp>
      <p:pic>
        <p:nvPicPr>
          <p:cNvPr id="24" name="図 23">
            <a:extLst>
              <a:ext uri="{FF2B5EF4-FFF2-40B4-BE49-F238E27FC236}">
                <a16:creationId xmlns:a16="http://schemas.microsoft.com/office/drawing/2014/main" id="{0442EAC4-21AD-8C72-6AA2-9DADC84A3B78}"/>
              </a:ext>
            </a:extLst>
          </p:cNvPr>
          <p:cNvPicPr>
            <a:picLocks noChangeAspect="1"/>
          </p:cNvPicPr>
          <p:nvPr/>
        </p:nvPicPr>
        <p:blipFill>
          <a:blip r:embed="rId5"/>
          <a:stretch>
            <a:fillRect/>
          </a:stretch>
        </p:blipFill>
        <p:spPr>
          <a:xfrm>
            <a:off x="3485358" y="3986099"/>
            <a:ext cx="966183" cy="1415476"/>
          </a:xfrm>
          <a:prstGeom prst="rect">
            <a:avLst/>
          </a:prstGeom>
        </p:spPr>
      </p:pic>
      <p:pic>
        <p:nvPicPr>
          <p:cNvPr id="25" name="図 24">
            <a:extLst>
              <a:ext uri="{FF2B5EF4-FFF2-40B4-BE49-F238E27FC236}">
                <a16:creationId xmlns:a16="http://schemas.microsoft.com/office/drawing/2014/main" id="{A5378AD0-AC7C-0C10-CF37-AEFACF8B240D}"/>
              </a:ext>
            </a:extLst>
          </p:cNvPr>
          <p:cNvPicPr>
            <a:picLocks noChangeAspect="1"/>
          </p:cNvPicPr>
          <p:nvPr/>
        </p:nvPicPr>
        <p:blipFill>
          <a:blip r:embed="rId6"/>
          <a:stretch>
            <a:fillRect/>
          </a:stretch>
        </p:blipFill>
        <p:spPr>
          <a:xfrm>
            <a:off x="7576390" y="3971655"/>
            <a:ext cx="963327" cy="1412479"/>
          </a:xfrm>
          <a:prstGeom prst="rect">
            <a:avLst/>
          </a:prstGeom>
        </p:spPr>
      </p:pic>
      <p:sp>
        <p:nvSpPr>
          <p:cNvPr id="26" name="テキスト ボックス 18">
            <a:extLst>
              <a:ext uri="{FF2B5EF4-FFF2-40B4-BE49-F238E27FC236}">
                <a16:creationId xmlns:a16="http://schemas.microsoft.com/office/drawing/2014/main" id="{B302F971-07AF-DBF8-6337-D3AFE90BA50C}"/>
              </a:ext>
            </a:extLst>
          </p:cNvPr>
          <p:cNvSpPr txBox="1"/>
          <p:nvPr/>
        </p:nvSpPr>
        <p:spPr bwMode="gray">
          <a:xfrm>
            <a:off x="3297516" y="5453155"/>
            <a:ext cx="1193462" cy="500751"/>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defTabSz="371433">
              <a:defRPr/>
            </a:pPr>
            <a:r>
              <a:rPr lang="ja-JP" altLang="en-US" sz="1000" kern="0">
                <a:solidFill>
                  <a:srgbClr val="000000"/>
                </a:solidFill>
                <a:latin typeface="Meiryo UI"/>
                <a:ea typeface="Meiryo UI"/>
              </a:rPr>
              <a:t>保険契約者代理特約のご案内</a:t>
            </a:r>
          </a:p>
        </p:txBody>
      </p:sp>
      <p:sp>
        <p:nvSpPr>
          <p:cNvPr id="27" name="テキスト ボックス 18">
            <a:extLst>
              <a:ext uri="{FF2B5EF4-FFF2-40B4-BE49-F238E27FC236}">
                <a16:creationId xmlns:a16="http://schemas.microsoft.com/office/drawing/2014/main" id="{B6407F73-5169-4B58-3B0A-B97CCAA45949}"/>
              </a:ext>
            </a:extLst>
          </p:cNvPr>
          <p:cNvSpPr txBox="1"/>
          <p:nvPr/>
        </p:nvSpPr>
        <p:spPr bwMode="gray">
          <a:xfrm>
            <a:off x="5239524" y="5436088"/>
            <a:ext cx="1195507" cy="507101"/>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defTabSz="371433">
              <a:defRPr/>
            </a:pPr>
            <a:r>
              <a:rPr lang="ja-JP" altLang="en-US" sz="1000" kern="0">
                <a:solidFill>
                  <a:srgbClr val="000000"/>
                </a:solidFill>
                <a:latin typeface="Meiryo UI"/>
                <a:ea typeface="Meiryo UI"/>
              </a:rPr>
              <a:t>保険契約者代理特約のご案内</a:t>
            </a:r>
          </a:p>
        </p:txBody>
      </p:sp>
      <p:sp>
        <p:nvSpPr>
          <p:cNvPr id="28" name="テキスト ボックス 18">
            <a:extLst>
              <a:ext uri="{FF2B5EF4-FFF2-40B4-BE49-F238E27FC236}">
                <a16:creationId xmlns:a16="http://schemas.microsoft.com/office/drawing/2014/main" id="{BEDA591D-9418-2DDC-3430-6DDF836D95CC}"/>
              </a:ext>
            </a:extLst>
          </p:cNvPr>
          <p:cNvSpPr txBox="1"/>
          <p:nvPr/>
        </p:nvSpPr>
        <p:spPr bwMode="gray">
          <a:xfrm>
            <a:off x="7373759" y="5448085"/>
            <a:ext cx="1204789" cy="529814"/>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defTabSz="371433">
              <a:defRPr/>
            </a:pPr>
            <a:r>
              <a:rPr lang="ja-JP" altLang="en-US" sz="1000" kern="0">
                <a:solidFill>
                  <a:srgbClr val="000000"/>
                </a:solidFill>
                <a:latin typeface="Meiryo UI"/>
                <a:ea typeface="Meiryo UI"/>
              </a:rPr>
              <a:t>保険契約者代理特約のご案内</a:t>
            </a:r>
          </a:p>
        </p:txBody>
      </p:sp>
      <p:pic>
        <p:nvPicPr>
          <p:cNvPr id="29" name="図 28">
            <a:extLst>
              <a:ext uri="{FF2B5EF4-FFF2-40B4-BE49-F238E27FC236}">
                <a16:creationId xmlns:a16="http://schemas.microsoft.com/office/drawing/2014/main" id="{11058407-E5D2-BAFB-1B81-B93030D428C0}"/>
              </a:ext>
            </a:extLst>
          </p:cNvPr>
          <p:cNvPicPr>
            <a:picLocks noChangeAspect="1"/>
          </p:cNvPicPr>
          <p:nvPr/>
        </p:nvPicPr>
        <p:blipFill>
          <a:blip r:embed="rId3"/>
          <a:stretch>
            <a:fillRect/>
          </a:stretch>
        </p:blipFill>
        <p:spPr>
          <a:xfrm>
            <a:off x="9657668" y="3984096"/>
            <a:ext cx="931359" cy="1387970"/>
          </a:xfrm>
          <a:prstGeom prst="rect">
            <a:avLst/>
          </a:prstGeom>
        </p:spPr>
      </p:pic>
      <p:sp>
        <p:nvSpPr>
          <p:cNvPr id="30" name="テキスト ボックス 29">
            <a:extLst>
              <a:ext uri="{FF2B5EF4-FFF2-40B4-BE49-F238E27FC236}">
                <a16:creationId xmlns:a16="http://schemas.microsoft.com/office/drawing/2014/main" id="{85510D53-44F7-27C1-93D6-7E7376292128}"/>
              </a:ext>
            </a:extLst>
          </p:cNvPr>
          <p:cNvSpPr txBox="1"/>
          <p:nvPr/>
        </p:nvSpPr>
        <p:spPr bwMode="gray">
          <a:xfrm>
            <a:off x="9407778" y="5475567"/>
            <a:ext cx="1189387" cy="500751"/>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defTabSz="371433">
              <a:defRPr/>
            </a:pPr>
            <a:r>
              <a:rPr lang="ja-JP" altLang="en-US" sz="1000" kern="0">
                <a:solidFill>
                  <a:srgbClr val="000000"/>
                </a:solidFill>
                <a:latin typeface="Meiryo UI"/>
                <a:ea typeface="Meiryo UI"/>
              </a:rPr>
              <a:t>保険契約者代理特約のご案内</a:t>
            </a:r>
          </a:p>
        </p:txBody>
      </p:sp>
      <p:pic>
        <p:nvPicPr>
          <p:cNvPr id="31" name="グラフィックス 30" descr="ハート 単色塗りつぶし">
            <a:extLst>
              <a:ext uri="{FF2B5EF4-FFF2-40B4-BE49-F238E27FC236}">
                <a16:creationId xmlns:a16="http://schemas.microsoft.com/office/drawing/2014/main" id="{46F38636-3D39-60C2-0A6F-2A2DCD50F21D}"/>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3564514" y="5451744"/>
            <a:ext cx="366915" cy="366915"/>
          </a:xfrm>
          <a:prstGeom prst="rect">
            <a:avLst/>
          </a:prstGeom>
        </p:spPr>
      </p:pic>
      <p:pic>
        <p:nvPicPr>
          <p:cNvPr id="32" name="グラフィックス 31" descr="ハート 単色塗りつぶし">
            <a:extLst>
              <a:ext uri="{FF2B5EF4-FFF2-40B4-BE49-F238E27FC236}">
                <a16:creationId xmlns:a16="http://schemas.microsoft.com/office/drawing/2014/main" id="{B89BDC35-0EB9-9E3D-476F-DDEA2FED2335}"/>
              </a:ext>
            </a:extLst>
          </p:cNvPr>
          <p:cNvPicPr>
            <a:picLocks noChangeAspect="1"/>
          </p:cNvPicPr>
          <p:nvPr/>
        </p:nvPicPr>
        <p:blipFill>
          <a:blip r:embed="rId9" cstate="print">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4401635" y="5529534"/>
            <a:ext cx="366915" cy="366915"/>
          </a:xfrm>
          <a:prstGeom prst="rect">
            <a:avLst/>
          </a:prstGeom>
        </p:spPr>
      </p:pic>
      <p:pic>
        <p:nvPicPr>
          <p:cNvPr id="33" name="グラフィックス 32" descr="ハート 単色塗りつぶし">
            <a:extLst>
              <a:ext uri="{FF2B5EF4-FFF2-40B4-BE49-F238E27FC236}">
                <a16:creationId xmlns:a16="http://schemas.microsoft.com/office/drawing/2014/main" id="{5E023072-1CE6-C5E9-F2D6-15FA23B152B7}"/>
              </a:ext>
            </a:extLst>
          </p:cNvPr>
          <p:cNvPicPr>
            <a:picLocks noChangeAspect="1"/>
          </p:cNvPicPr>
          <p:nvPr/>
        </p:nvPicPr>
        <p:blipFill>
          <a:blip r:embed="rId9" cstate="print">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6361071" y="5529534"/>
            <a:ext cx="366915" cy="366915"/>
          </a:xfrm>
          <a:prstGeom prst="rect">
            <a:avLst/>
          </a:prstGeom>
        </p:spPr>
      </p:pic>
      <p:pic>
        <p:nvPicPr>
          <p:cNvPr id="34" name="グラフィックス 33" descr="ハート 単色塗りつぶし">
            <a:extLst>
              <a:ext uri="{FF2B5EF4-FFF2-40B4-BE49-F238E27FC236}">
                <a16:creationId xmlns:a16="http://schemas.microsoft.com/office/drawing/2014/main" id="{BB64FD23-EC77-10E0-9356-4C86E34E2EC0}"/>
              </a:ext>
            </a:extLst>
          </p:cNvPr>
          <p:cNvPicPr>
            <a:picLocks noChangeAspect="1"/>
          </p:cNvPicPr>
          <p:nvPr/>
        </p:nvPicPr>
        <p:blipFill>
          <a:blip r:embed="rId9" cstate="print">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8575239" y="5529534"/>
            <a:ext cx="366915" cy="366915"/>
          </a:xfrm>
          <a:prstGeom prst="rect">
            <a:avLst/>
          </a:prstGeom>
        </p:spPr>
      </p:pic>
      <p:pic>
        <p:nvPicPr>
          <p:cNvPr id="35" name="グラフィックス 34" descr="ハート 単色塗りつぶし">
            <a:extLst>
              <a:ext uri="{FF2B5EF4-FFF2-40B4-BE49-F238E27FC236}">
                <a16:creationId xmlns:a16="http://schemas.microsoft.com/office/drawing/2014/main" id="{D3949DB2-AFA3-E716-328F-D6CDD2F5D4DB}"/>
              </a:ext>
            </a:extLst>
          </p:cNvPr>
          <p:cNvPicPr>
            <a:picLocks noChangeAspect="1"/>
          </p:cNvPicPr>
          <p:nvPr/>
        </p:nvPicPr>
        <p:blipFill>
          <a:blip r:embed="rId9" cstate="print">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10669642" y="5529534"/>
            <a:ext cx="366915" cy="366915"/>
          </a:xfrm>
          <a:prstGeom prst="rect">
            <a:avLst/>
          </a:prstGeom>
        </p:spPr>
      </p:pic>
      <p:sp>
        <p:nvSpPr>
          <p:cNvPr id="36" name="正方形/長方形 35">
            <a:extLst>
              <a:ext uri="{FF2B5EF4-FFF2-40B4-BE49-F238E27FC236}">
                <a16:creationId xmlns:a16="http://schemas.microsoft.com/office/drawing/2014/main" id="{24984B80-3B35-A887-618C-6888CCCB4086}"/>
              </a:ext>
            </a:extLst>
          </p:cNvPr>
          <p:cNvSpPr/>
          <p:nvPr/>
        </p:nvSpPr>
        <p:spPr>
          <a:xfrm>
            <a:off x="103232" y="6296896"/>
            <a:ext cx="12007373" cy="339814"/>
          </a:xfrm>
          <a:prstGeom prst="rect">
            <a:avLst/>
          </a:prstGeom>
          <a:solidFill>
            <a:srgbClr val="00B050"/>
          </a:solidFill>
          <a:ln w="12700" cap="flat" cmpd="sng" algn="ctr">
            <a:noFill/>
            <a:prstDash val="solid"/>
            <a:miter lim="800000"/>
          </a:ln>
          <a:effectLst/>
        </p:spPr>
        <p:txBody>
          <a:bodyPr wrap="square" rtlCol="0"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defTabSz="742950" eaLnBrk="1" fontAlgn="auto" latinLnBrk="0" hangingPunct="1">
              <a:lnSpc>
                <a:spcPct val="100000"/>
              </a:lnSpc>
              <a:spcBef>
                <a:spcPts val="0"/>
              </a:spcBef>
              <a:spcAft>
                <a:spcPts val="0"/>
              </a:spcAft>
              <a:buClrTx/>
              <a:buSzTx/>
              <a:buFontTx/>
              <a:buNone/>
              <a:tabLst/>
              <a:defRPr/>
            </a:pPr>
            <a:r>
              <a:rPr kumimoji="0" lang="ja-JP" altLang="en-US" sz="1400" b="1" i="0" u="none" strike="noStrike" kern="0" cap="none" spc="0" normalizeH="0" baseline="0" noProof="0">
                <a:ln>
                  <a:noFill/>
                </a:ln>
                <a:solidFill>
                  <a:schemeClr val="bg1"/>
                </a:solidFill>
                <a:effectLst/>
                <a:uLnTx/>
                <a:uFillTx/>
                <a:latin typeface="Meiryo UI"/>
                <a:ea typeface="Meiryo UI"/>
                <a:cs typeface="Arial"/>
              </a:rPr>
              <a:t>新着</a:t>
            </a:r>
          </a:p>
        </p:txBody>
      </p:sp>
      <p:pic>
        <p:nvPicPr>
          <p:cNvPr id="37" name="グラフィックス 36" descr="物語 単色塗りつぶし">
            <a:extLst>
              <a:ext uri="{FF2B5EF4-FFF2-40B4-BE49-F238E27FC236}">
                <a16:creationId xmlns:a16="http://schemas.microsoft.com/office/drawing/2014/main" id="{77F616A6-2A4D-63CC-9F9D-B4AF9BAB43A1}"/>
              </a:ext>
            </a:extLst>
          </p:cNvPr>
          <p:cNvPicPr>
            <a:picLocks noChangeAspect="1"/>
          </p:cNvPicPr>
          <p:nvPr/>
        </p:nvPicPr>
        <p:blipFill>
          <a:blip r:embed="rId11" cstate="print">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3967223" y="5464908"/>
            <a:ext cx="317500" cy="317500"/>
          </a:xfrm>
          <a:prstGeom prst="rect">
            <a:avLst/>
          </a:prstGeom>
        </p:spPr>
      </p:pic>
      <p:pic>
        <p:nvPicPr>
          <p:cNvPr id="38" name="グラフィックス 37" descr="物語 単色塗りつぶし">
            <a:extLst>
              <a:ext uri="{FF2B5EF4-FFF2-40B4-BE49-F238E27FC236}">
                <a16:creationId xmlns:a16="http://schemas.microsoft.com/office/drawing/2014/main" id="{67C7583A-6F0E-7A16-053E-25B2AC578055}"/>
              </a:ext>
            </a:extLst>
          </p:cNvPr>
          <p:cNvPicPr>
            <a:picLocks noChangeAspect="1"/>
          </p:cNvPicPr>
          <p:nvPr/>
        </p:nvPicPr>
        <p:blipFill>
          <a:blip r:embed="rId11" cstate="print">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4770350" y="5530888"/>
            <a:ext cx="317500" cy="317500"/>
          </a:xfrm>
          <a:prstGeom prst="rect">
            <a:avLst/>
          </a:prstGeom>
        </p:spPr>
      </p:pic>
      <p:pic>
        <p:nvPicPr>
          <p:cNvPr id="39" name="グラフィックス 38" descr="物語 単色塗りつぶし">
            <a:extLst>
              <a:ext uri="{FF2B5EF4-FFF2-40B4-BE49-F238E27FC236}">
                <a16:creationId xmlns:a16="http://schemas.microsoft.com/office/drawing/2014/main" id="{6844BECF-370E-A4FB-4491-6F986666E52C}"/>
              </a:ext>
            </a:extLst>
          </p:cNvPr>
          <p:cNvPicPr>
            <a:picLocks noChangeAspect="1"/>
          </p:cNvPicPr>
          <p:nvPr/>
        </p:nvPicPr>
        <p:blipFill>
          <a:blip r:embed="rId11" cstate="print">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6763304" y="5542698"/>
            <a:ext cx="317500" cy="317500"/>
          </a:xfrm>
          <a:prstGeom prst="rect">
            <a:avLst/>
          </a:prstGeom>
        </p:spPr>
      </p:pic>
      <p:pic>
        <p:nvPicPr>
          <p:cNvPr id="40" name="グラフィックス 39" descr="物語 単色塗りつぶし">
            <a:extLst>
              <a:ext uri="{FF2B5EF4-FFF2-40B4-BE49-F238E27FC236}">
                <a16:creationId xmlns:a16="http://schemas.microsoft.com/office/drawing/2014/main" id="{E8F27B79-B302-CF56-5345-6A117DEEB3C2}"/>
              </a:ext>
            </a:extLst>
          </p:cNvPr>
          <p:cNvPicPr>
            <a:picLocks noChangeAspect="1"/>
          </p:cNvPicPr>
          <p:nvPr/>
        </p:nvPicPr>
        <p:blipFill>
          <a:blip r:embed="rId11" cstate="print">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8973667" y="5522958"/>
            <a:ext cx="317500" cy="317500"/>
          </a:xfrm>
          <a:prstGeom prst="rect">
            <a:avLst/>
          </a:prstGeom>
        </p:spPr>
      </p:pic>
      <p:pic>
        <p:nvPicPr>
          <p:cNvPr id="41" name="グラフィックス 40" descr="物語 単色塗りつぶし">
            <a:extLst>
              <a:ext uri="{FF2B5EF4-FFF2-40B4-BE49-F238E27FC236}">
                <a16:creationId xmlns:a16="http://schemas.microsoft.com/office/drawing/2014/main" id="{18A11B99-8712-B22A-1612-E2FB15AB2F40}"/>
              </a:ext>
            </a:extLst>
          </p:cNvPr>
          <p:cNvPicPr>
            <a:picLocks noChangeAspect="1"/>
          </p:cNvPicPr>
          <p:nvPr/>
        </p:nvPicPr>
        <p:blipFill>
          <a:blip r:embed="rId11" cstate="print">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11089526" y="5522958"/>
            <a:ext cx="317500" cy="317500"/>
          </a:xfrm>
          <a:prstGeom prst="rect">
            <a:avLst/>
          </a:prstGeom>
        </p:spPr>
      </p:pic>
      <p:sp>
        <p:nvSpPr>
          <p:cNvPr id="42" name="正方形/長方形 41">
            <a:extLst>
              <a:ext uri="{FF2B5EF4-FFF2-40B4-BE49-F238E27FC236}">
                <a16:creationId xmlns:a16="http://schemas.microsoft.com/office/drawing/2014/main" id="{35FEE47F-9B5C-E393-4FE6-F8C5ECAE749F}"/>
              </a:ext>
            </a:extLst>
          </p:cNvPr>
          <p:cNvSpPr/>
          <p:nvPr/>
        </p:nvSpPr>
        <p:spPr>
          <a:xfrm>
            <a:off x="182459" y="3268645"/>
            <a:ext cx="11889755" cy="300918"/>
          </a:xfrm>
          <a:prstGeom prst="rect">
            <a:avLst/>
          </a:prstGeom>
          <a:solidFill>
            <a:schemeClr val="tx2"/>
          </a:solidFill>
          <a:ln w="12700" cap="flat" cmpd="sng" algn="ctr">
            <a:noFill/>
            <a:prstDash val="solid"/>
            <a:miter lim="800000"/>
          </a:ln>
          <a:effectLst/>
        </p:spPr>
        <p:txBody>
          <a:bodyPr wrap="square" rtlCol="0"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defTabSz="742950" eaLnBrk="1" fontAlgn="auto" latinLnBrk="0" hangingPunct="1">
              <a:lnSpc>
                <a:spcPct val="100000"/>
              </a:lnSpc>
              <a:spcBef>
                <a:spcPts val="0"/>
              </a:spcBef>
              <a:spcAft>
                <a:spcPts val="0"/>
              </a:spcAft>
              <a:buClrTx/>
              <a:buSzTx/>
              <a:buFontTx/>
              <a:buNone/>
              <a:tabLst/>
              <a:defRPr/>
            </a:pPr>
            <a:r>
              <a:rPr kumimoji="0" lang="ja-JP" altLang="en-US" sz="1400" b="1" i="0" u="none" strike="noStrike" kern="0" cap="none" spc="0" normalizeH="0" baseline="0" noProof="0">
                <a:ln>
                  <a:noFill/>
                </a:ln>
                <a:solidFill>
                  <a:schemeClr val="bg1"/>
                </a:solidFill>
                <a:effectLst/>
                <a:uLnTx/>
                <a:uFillTx/>
                <a:latin typeface="Meiryo UI"/>
                <a:ea typeface="Meiryo UI"/>
                <a:cs typeface="Arial"/>
              </a:rPr>
              <a:t>ランキング</a:t>
            </a:r>
          </a:p>
        </p:txBody>
      </p:sp>
      <p:sp>
        <p:nvSpPr>
          <p:cNvPr id="43" name="テキスト ボックス 16">
            <a:extLst>
              <a:ext uri="{FF2B5EF4-FFF2-40B4-BE49-F238E27FC236}">
                <a16:creationId xmlns:a16="http://schemas.microsoft.com/office/drawing/2014/main" id="{8ED5E10F-258A-9562-E202-F6FE367727EF}"/>
              </a:ext>
            </a:extLst>
          </p:cNvPr>
          <p:cNvSpPr txBox="1"/>
          <p:nvPr/>
        </p:nvSpPr>
        <p:spPr bwMode="gray">
          <a:xfrm>
            <a:off x="1719133" y="3603005"/>
            <a:ext cx="529419" cy="418862"/>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371433">
              <a:lnSpc>
                <a:spcPct val="120000"/>
              </a:lnSpc>
              <a:spcAft>
                <a:spcPts val="244"/>
              </a:spcAft>
              <a:defRPr/>
            </a:pPr>
            <a:r>
              <a:rPr lang="en-US" altLang="ja-JP" sz="1200" kern="0">
                <a:solidFill>
                  <a:srgbClr val="000000">
                    <a:lumMod val="75000"/>
                    <a:lumOff val="25000"/>
                  </a:srgbClr>
                </a:solidFill>
                <a:latin typeface="Meiryo UI"/>
                <a:ea typeface="Meiryo UI"/>
              </a:rPr>
              <a:t>1</a:t>
            </a:r>
            <a:r>
              <a:rPr lang="ja-JP" altLang="en-US" sz="1200" kern="0">
                <a:solidFill>
                  <a:srgbClr val="000000">
                    <a:lumMod val="75000"/>
                    <a:lumOff val="25000"/>
                  </a:srgbClr>
                </a:solidFill>
                <a:latin typeface="Meiryo UI"/>
                <a:ea typeface="Meiryo UI"/>
              </a:rPr>
              <a:t>位</a:t>
            </a:r>
            <a:endParaRPr lang="en-US" altLang="ja-JP" sz="1200" kern="0">
              <a:solidFill>
                <a:srgbClr val="000000">
                  <a:lumMod val="75000"/>
                  <a:lumOff val="25000"/>
                </a:srgbClr>
              </a:solidFill>
              <a:latin typeface="Meiryo UI"/>
              <a:ea typeface="Meiryo UI"/>
            </a:endParaRPr>
          </a:p>
        </p:txBody>
      </p:sp>
      <p:sp>
        <p:nvSpPr>
          <p:cNvPr id="44" name="テキスト ボックス 16">
            <a:extLst>
              <a:ext uri="{FF2B5EF4-FFF2-40B4-BE49-F238E27FC236}">
                <a16:creationId xmlns:a16="http://schemas.microsoft.com/office/drawing/2014/main" id="{B728795D-73B4-BB89-C474-84B5625C9E63}"/>
              </a:ext>
            </a:extLst>
          </p:cNvPr>
          <p:cNvSpPr txBox="1"/>
          <p:nvPr/>
        </p:nvSpPr>
        <p:spPr bwMode="gray">
          <a:xfrm>
            <a:off x="3760665" y="3613966"/>
            <a:ext cx="528008" cy="387112"/>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371433">
              <a:lnSpc>
                <a:spcPct val="120000"/>
              </a:lnSpc>
              <a:spcAft>
                <a:spcPts val="244"/>
              </a:spcAft>
              <a:defRPr/>
            </a:pPr>
            <a:r>
              <a:rPr lang="en-US" altLang="ja-JP" sz="1200" kern="0">
                <a:solidFill>
                  <a:srgbClr val="000000">
                    <a:lumMod val="75000"/>
                    <a:lumOff val="25000"/>
                  </a:srgbClr>
                </a:solidFill>
                <a:latin typeface="Meiryo UI"/>
                <a:ea typeface="Meiryo UI"/>
              </a:rPr>
              <a:t>2</a:t>
            </a:r>
            <a:r>
              <a:rPr lang="ja-JP" altLang="en-US" sz="1200" kern="0">
                <a:solidFill>
                  <a:srgbClr val="000000">
                    <a:lumMod val="75000"/>
                    <a:lumOff val="25000"/>
                  </a:srgbClr>
                </a:solidFill>
                <a:latin typeface="Meiryo UI"/>
                <a:ea typeface="Meiryo UI"/>
              </a:rPr>
              <a:t>位</a:t>
            </a:r>
            <a:endParaRPr lang="en-US" altLang="ja-JP" sz="1200" kern="0">
              <a:solidFill>
                <a:srgbClr val="000000">
                  <a:lumMod val="75000"/>
                  <a:lumOff val="25000"/>
                </a:srgbClr>
              </a:solidFill>
              <a:latin typeface="Meiryo UI"/>
              <a:ea typeface="Meiryo UI"/>
            </a:endParaRPr>
          </a:p>
        </p:txBody>
      </p:sp>
      <p:sp>
        <p:nvSpPr>
          <p:cNvPr id="45" name="テキスト ボックス 16">
            <a:extLst>
              <a:ext uri="{FF2B5EF4-FFF2-40B4-BE49-F238E27FC236}">
                <a16:creationId xmlns:a16="http://schemas.microsoft.com/office/drawing/2014/main" id="{934DB6BF-2209-9DD3-ACF7-A39A600B3557}"/>
              </a:ext>
            </a:extLst>
          </p:cNvPr>
          <p:cNvSpPr txBox="1"/>
          <p:nvPr/>
        </p:nvSpPr>
        <p:spPr bwMode="gray">
          <a:xfrm>
            <a:off x="5706126" y="3638548"/>
            <a:ext cx="523069" cy="399812"/>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371433">
              <a:lnSpc>
                <a:spcPct val="120000"/>
              </a:lnSpc>
              <a:spcAft>
                <a:spcPts val="244"/>
              </a:spcAft>
              <a:defRPr/>
            </a:pPr>
            <a:r>
              <a:rPr lang="en-US" altLang="ja-JP" sz="1200" kern="0">
                <a:solidFill>
                  <a:srgbClr val="000000">
                    <a:lumMod val="75000"/>
                    <a:lumOff val="25000"/>
                  </a:srgbClr>
                </a:solidFill>
                <a:latin typeface="Meiryo UI"/>
                <a:ea typeface="Meiryo UI"/>
              </a:rPr>
              <a:t>3</a:t>
            </a:r>
            <a:r>
              <a:rPr lang="ja-JP" altLang="en-US" sz="1200" kern="0">
                <a:solidFill>
                  <a:srgbClr val="000000">
                    <a:lumMod val="75000"/>
                    <a:lumOff val="25000"/>
                  </a:srgbClr>
                </a:solidFill>
                <a:latin typeface="Meiryo UI"/>
                <a:ea typeface="Meiryo UI"/>
              </a:rPr>
              <a:t>位</a:t>
            </a:r>
            <a:endParaRPr lang="en-US" altLang="ja-JP" sz="1200" kern="0">
              <a:solidFill>
                <a:srgbClr val="000000">
                  <a:lumMod val="75000"/>
                  <a:lumOff val="25000"/>
                </a:srgbClr>
              </a:solidFill>
              <a:latin typeface="Meiryo UI"/>
              <a:ea typeface="Meiryo UI"/>
            </a:endParaRPr>
          </a:p>
        </p:txBody>
      </p:sp>
      <p:sp>
        <p:nvSpPr>
          <p:cNvPr id="46" name="テキスト ボックス 16">
            <a:extLst>
              <a:ext uri="{FF2B5EF4-FFF2-40B4-BE49-F238E27FC236}">
                <a16:creationId xmlns:a16="http://schemas.microsoft.com/office/drawing/2014/main" id="{297D6981-C118-C679-F980-1551C4037FF7}"/>
              </a:ext>
            </a:extLst>
          </p:cNvPr>
          <p:cNvSpPr txBox="1"/>
          <p:nvPr/>
        </p:nvSpPr>
        <p:spPr bwMode="gray">
          <a:xfrm>
            <a:off x="7834126" y="3647484"/>
            <a:ext cx="535768" cy="377587"/>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371433">
              <a:lnSpc>
                <a:spcPct val="120000"/>
              </a:lnSpc>
              <a:spcAft>
                <a:spcPts val="244"/>
              </a:spcAft>
              <a:defRPr/>
            </a:pPr>
            <a:r>
              <a:rPr lang="en-US" altLang="ja-JP" sz="1200" kern="0">
                <a:solidFill>
                  <a:srgbClr val="000000">
                    <a:lumMod val="75000"/>
                    <a:lumOff val="25000"/>
                  </a:srgbClr>
                </a:solidFill>
                <a:latin typeface="Meiryo UI"/>
                <a:ea typeface="Meiryo UI"/>
              </a:rPr>
              <a:t>4</a:t>
            </a:r>
            <a:r>
              <a:rPr lang="ja-JP" altLang="en-US" sz="1200" kern="0">
                <a:solidFill>
                  <a:srgbClr val="000000">
                    <a:lumMod val="75000"/>
                    <a:lumOff val="25000"/>
                  </a:srgbClr>
                </a:solidFill>
                <a:latin typeface="Meiryo UI"/>
                <a:ea typeface="Meiryo UI"/>
              </a:rPr>
              <a:t>位</a:t>
            </a:r>
            <a:endParaRPr lang="en-US" altLang="ja-JP" sz="1200" kern="0">
              <a:solidFill>
                <a:srgbClr val="000000">
                  <a:lumMod val="75000"/>
                  <a:lumOff val="25000"/>
                </a:srgbClr>
              </a:solidFill>
              <a:latin typeface="Meiryo UI"/>
              <a:ea typeface="Meiryo UI"/>
            </a:endParaRPr>
          </a:p>
        </p:txBody>
      </p:sp>
      <p:cxnSp>
        <p:nvCxnSpPr>
          <p:cNvPr id="47" name="直線コネクタ 46">
            <a:extLst>
              <a:ext uri="{FF2B5EF4-FFF2-40B4-BE49-F238E27FC236}">
                <a16:creationId xmlns:a16="http://schemas.microsoft.com/office/drawing/2014/main" id="{DD6E744B-EC5E-8A15-088B-A9416224FDD0}"/>
              </a:ext>
            </a:extLst>
          </p:cNvPr>
          <p:cNvCxnSpPr>
            <a:cxnSpLocks/>
          </p:cNvCxnSpPr>
          <p:nvPr/>
        </p:nvCxnSpPr>
        <p:spPr>
          <a:xfrm>
            <a:off x="179879" y="3205954"/>
            <a:ext cx="1508664" cy="0"/>
          </a:xfrm>
          <a:prstGeom prst="line">
            <a:avLst/>
          </a:prstGeom>
          <a:ln w="12700">
            <a:solidFill>
              <a:srgbClr val="FF0000"/>
            </a:solidFill>
          </a:ln>
          <a:effectLst/>
        </p:spPr>
        <p:style>
          <a:lnRef idx="2">
            <a:schemeClr val="accent1"/>
          </a:lnRef>
          <a:fillRef idx="0">
            <a:schemeClr val="accent1"/>
          </a:fillRef>
          <a:effectRef idx="1">
            <a:schemeClr val="accent1"/>
          </a:effectRef>
          <a:fontRef idx="minor">
            <a:schemeClr val="tx1"/>
          </a:fontRef>
        </p:style>
      </p:cxnSp>
      <p:sp>
        <p:nvSpPr>
          <p:cNvPr id="48" name="テキスト ボックス 143">
            <a:extLst>
              <a:ext uri="{FF2B5EF4-FFF2-40B4-BE49-F238E27FC236}">
                <a16:creationId xmlns:a16="http://schemas.microsoft.com/office/drawing/2014/main" id="{C1A7D483-6D32-6048-9D2B-3DAD19A1FBBF}"/>
              </a:ext>
            </a:extLst>
          </p:cNvPr>
          <p:cNvSpPr txBox="1"/>
          <p:nvPr/>
        </p:nvSpPr>
        <p:spPr>
          <a:xfrm>
            <a:off x="199955" y="2807054"/>
            <a:ext cx="1508667" cy="389660"/>
          </a:xfrm>
          <a:prstGeom prst="rect">
            <a:avLst/>
          </a:prstGeom>
          <a:noFill/>
          <a:ln w="9525" cmpd="sng">
            <a:noFill/>
          </a:ln>
          <a:effectLst/>
        </p:spPr>
        <p:txBody>
          <a:bodyPr wrap="square"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1" lang="ja-JP" altLang="en-US" sz="1400" b="0" i="0" u="none" strike="noStrike" kern="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cs typeface="+mn-cs"/>
              </a:rPr>
              <a:t>募集</a:t>
            </a:r>
            <a:r>
              <a:rPr lang="ja-JP" altLang="en-US" sz="1400" kern="0">
                <a:solidFill>
                  <a:sysClr val="windowText" lastClr="000000"/>
                </a:solidFill>
                <a:latin typeface="Meiryo UI" panose="020B0604030504040204" pitchFamily="50" charset="-128"/>
                <a:ea typeface="Meiryo UI" panose="020B0604030504040204" pitchFamily="50" charset="-128"/>
              </a:rPr>
              <a:t>資料</a:t>
            </a:r>
            <a:endParaRPr kumimoji="1" lang="ja-JP" altLang="en-US" sz="1400" b="0" i="0" u="none" strike="noStrike" kern="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cs typeface="+mn-cs"/>
            </a:endParaRPr>
          </a:p>
        </p:txBody>
      </p:sp>
      <p:cxnSp>
        <p:nvCxnSpPr>
          <p:cNvPr id="49" name="直線コネクタ 48">
            <a:extLst>
              <a:ext uri="{FF2B5EF4-FFF2-40B4-BE49-F238E27FC236}">
                <a16:creationId xmlns:a16="http://schemas.microsoft.com/office/drawing/2014/main" id="{A982B093-C0C2-7C17-C501-0D0368A3ECB2}"/>
              </a:ext>
            </a:extLst>
          </p:cNvPr>
          <p:cNvCxnSpPr>
            <a:cxnSpLocks/>
          </p:cNvCxnSpPr>
          <p:nvPr/>
        </p:nvCxnSpPr>
        <p:spPr>
          <a:xfrm>
            <a:off x="179879" y="2888065"/>
            <a:ext cx="0" cy="264222"/>
          </a:xfrm>
          <a:prstGeom prst="line">
            <a:avLst/>
          </a:prstGeom>
          <a:ln w="3175">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50" name="直線コネクタ 49">
            <a:extLst>
              <a:ext uri="{FF2B5EF4-FFF2-40B4-BE49-F238E27FC236}">
                <a16:creationId xmlns:a16="http://schemas.microsoft.com/office/drawing/2014/main" id="{BD1E8AD0-7525-DD3C-43E0-247997C3245F}"/>
              </a:ext>
            </a:extLst>
          </p:cNvPr>
          <p:cNvCxnSpPr>
            <a:cxnSpLocks/>
          </p:cNvCxnSpPr>
          <p:nvPr/>
        </p:nvCxnSpPr>
        <p:spPr>
          <a:xfrm>
            <a:off x="1688545" y="2888065"/>
            <a:ext cx="0" cy="264222"/>
          </a:xfrm>
          <a:prstGeom prst="line">
            <a:avLst/>
          </a:prstGeom>
          <a:ln w="3175">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sp>
        <p:nvSpPr>
          <p:cNvPr id="51" name="テキスト ボックス 143">
            <a:extLst>
              <a:ext uri="{FF2B5EF4-FFF2-40B4-BE49-F238E27FC236}">
                <a16:creationId xmlns:a16="http://schemas.microsoft.com/office/drawing/2014/main" id="{20B7F592-4A1F-BEE4-F3D5-7613CD6BBE96}"/>
              </a:ext>
            </a:extLst>
          </p:cNvPr>
          <p:cNvSpPr txBox="1"/>
          <p:nvPr/>
        </p:nvSpPr>
        <p:spPr>
          <a:xfrm>
            <a:off x="1688543" y="2816933"/>
            <a:ext cx="1508667" cy="389660"/>
          </a:xfrm>
          <a:prstGeom prst="rect">
            <a:avLst/>
          </a:prstGeom>
          <a:noFill/>
          <a:ln w="9525" cmpd="sng">
            <a:noFill/>
          </a:ln>
          <a:effectLst/>
        </p:spPr>
        <p:txBody>
          <a:bodyPr wrap="square"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1" lang="ja-JP" altLang="en-US" sz="1400" b="0" i="0" u="none" strike="noStrike" kern="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cs typeface="+mn-cs"/>
              </a:rPr>
              <a:t>募集教材</a:t>
            </a:r>
          </a:p>
        </p:txBody>
      </p:sp>
      <p:cxnSp>
        <p:nvCxnSpPr>
          <p:cNvPr id="52" name="直線コネクタ 51">
            <a:extLst>
              <a:ext uri="{FF2B5EF4-FFF2-40B4-BE49-F238E27FC236}">
                <a16:creationId xmlns:a16="http://schemas.microsoft.com/office/drawing/2014/main" id="{A07344A0-6091-EC46-E7B3-4502353955B9}"/>
              </a:ext>
            </a:extLst>
          </p:cNvPr>
          <p:cNvCxnSpPr>
            <a:cxnSpLocks/>
          </p:cNvCxnSpPr>
          <p:nvPr/>
        </p:nvCxnSpPr>
        <p:spPr>
          <a:xfrm>
            <a:off x="3197210" y="2892491"/>
            <a:ext cx="0" cy="264222"/>
          </a:xfrm>
          <a:prstGeom prst="line">
            <a:avLst/>
          </a:prstGeom>
          <a:ln w="3175">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sp>
        <p:nvSpPr>
          <p:cNvPr id="53" name="テキスト ボックス 143">
            <a:extLst>
              <a:ext uri="{FF2B5EF4-FFF2-40B4-BE49-F238E27FC236}">
                <a16:creationId xmlns:a16="http://schemas.microsoft.com/office/drawing/2014/main" id="{55CF101B-E732-21B5-0F6A-705D373EF15D}"/>
              </a:ext>
            </a:extLst>
          </p:cNvPr>
          <p:cNvSpPr txBox="1"/>
          <p:nvPr/>
        </p:nvSpPr>
        <p:spPr>
          <a:xfrm>
            <a:off x="3197206" y="2823685"/>
            <a:ext cx="1508667" cy="389660"/>
          </a:xfrm>
          <a:prstGeom prst="rect">
            <a:avLst/>
          </a:prstGeom>
          <a:noFill/>
          <a:ln w="9525" cmpd="sng">
            <a:noFill/>
          </a:ln>
          <a:effectLst/>
        </p:spPr>
        <p:txBody>
          <a:bodyPr wrap="square"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1" lang="ja-JP" altLang="en-US" sz="1400" b="0" i="0" u="none" strike="noStrike" kern="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cs typeface="+mn-cs"/>
              </a:rPr>
              <a:t>事務手続書類</a:t>
            </a:r>
          </a:p>
        </p:txBody>
      </p:sp>
      <p:cxnSp>
        <p:nvCxnSpPr>
          <p:cNvPr id="54" name="直線コネクタ 53">
            <a:extLst>
              <a:ext uri="{FF2B5EF4-FFF2-40B4-BE49-F238E27FC236}">
                <a16:creationId xmlns:a16="http://schemas.microsoft.com/office/drawing/2014/main" id="{7DA0D58D-88C2-E440-CFC3-13D8D462B0FE}"/>
              </a:ext>
            </a:extLst>
          </p:cNvPr>
          <p:cNvCxnSpPr>
            <a:cxnSpLocks/>
          </p:cNvCxnSpPr>
          <p:nvPr/>
        </p:nvCxnSpPr>
        <p:spPr>
          <a:xfrm>
            <a:off x="4705873" y="2899243"/>
            <a:ext cx="0" cy="264222"/>
          </a:xfrm>
          <a:prstGeom prst="line">
            <a:avLst/>
          </a:prstGeom>
          <a:ln w="3175">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sp>
        <p:nvSpPr>
          <p:cNvPr id="55" name="テキスト ボックス 143">
            <a:extLst>
              <a:ext uri="{FF2B5EF4-FFF2-40B4-BE49-F238E27FC236}">
                <a16:creationId xmlns:a16="http://schemas.microsoft.com/office/drawing/2014/main" id="{AA6651C4-D2A1-ABCA-16F6-DBD1CEEB9133}"/>
              </a:ext>
            </a:extLst>
          </p:cNvPr>
          <p:cNvSpPr txBox="1"/>
          <p:nvPr/>
        </p:nvSpPr>
        <p:spPr>
          <a:xfrm>
            <a:off x="4705870" y="2827779"/>
            <a:ext cx="1836139" cy="389660"/>
          </a:xfrm>
          <a:prstGeom prst="rect">
            <a:avLst/>
          </a:prstGeom>
          <a:noFill/>
          <a:ln w="9525" cmpd="sng">
            <a:noFill/>
          </a:ln>
          <a:effectLst/>
        </p:spPr>
        <p:txBody>
          <a:bodyPr wrap="square"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lang="ja-JP" altLang="en-US" sz="1400" kern="0">
                <a:solidFill>
                  <a:sysClr val="windowText" lastClr="000000"/>
                </a:solidFill>
                <a:latin typeface="Meiryo UI" panose="020B0604030504040204" pitchFamily="50" charset="-128"/>
                <a:ea typeface="Meiryo UI" panose="020B0604030504040204" pitchFamily="50" charset="-128"/>
              </a:rPr>
              <a:t>マニュアル・その他教材</a:t>
            </a:r>
            <a:endParaRPr kumimoji="1" lang="ja-JP" altLang="en-US" sz="1400" b="0" i="0" u="none" strike="noStrike" kern="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cs typeface="+mn-cs"/>
            </a:endParaRPr>
          </a:p>
        </p:txBody>
      </p:sp>
      <p:cxnSp>
        <p:nvCxnSpPr>
          <p:cNvPr id="56" name="直線コネクタ 55">
            <a:extLst>
              <a:ext uri="{FF2B5EF4-FFF2-40B4-BE49-F238E27FC236}">
                <a16:creationId xmlns:a16="http://schemas.microsoft.com/office/drawing/2014/main" id="{BD98F12A-4A31-0E69-CDFF-5A6B39D44CC2}"/>
              </a:ext>
            </a:extLst>
          </p:cNvPr>
          <p:cNvCxnSpPr>
            <a:cxnSpLocks/>
          </p:cNvCxnSpPr>
          <p:nvPr/>
        </p:nvCxnSpPr>
        <p:spPr>
          <a:xfrm>
            <a:off x="6542009" y="2888065"/>
            <a:ext cx="0" cy="264222"/>
          </a:xfrm>
          <a:prstGeom prst="line">
            <a:avLst/>
          </a:prstGeom>
          <a:ln w="3175">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sp>
        <p:nvSpPr>
          <p:cNvPr id="57" name="テキスト ボックス 143">
            <a:extLst>
              <a:ext uri="{FF2B5EF4-FFF2-40B4-BE49-F238E27FC236}">
                <a16:creationId xmlns:a16="http://schemas.microsoft.com/office/drawing/2014/main" id="{645D1B95-A62D-F5AB-740E-47E35F16762E}"/>
              </a:ext>
            </a:extLst>
          </p:cNvPr>
          <p:cNvSpPr txBox="1"/>
          <p:nvPr/>
        </p:nvSpPr>
        <p:spPr>
          <a:xfrm>
            <a:off x="6542009" y="2816934"/>
            <a:ext cx="1508658" cy="389660"/>
          </a:xfrm>
          <a:prstGeom prst="rect">
            <a:avLst/>
          </a:prstGeom>
          <a:noFill/>
          <a:ln w="9525" cmpd="sng">
            <a:noFill/>
          </a:ln>
          <a:effectLst/>
        </p:spPr>
        <p:txBody>
          <a:bodyPr wrap="square"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1" lang="ja-JP" altLang="en-US" sz="1400" b="0" i="0" u="none" strike="noStrike" kern="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cs typeface="+mn-cs"/>
              </a:rPr>
              <a:t>お気に入り</a:t>
            </a:r>
          </a:p>
        </p:txBody>
      </p:sp>
      <p:cxnSp>
        <p:nvCxnSpPr>
          <p:cNvPr id="58" name="直線コネクタ 57">
            <a:extLst>
              <a:ext uri="{FF2B5EF4-FFF2-40B4-BE49-F238E27FC236}">
                <a16:creationId xmlns:a16="http://schemas.microsoft.com/office/drawing/2014/main" id="{D1B645FA-B591-4421-A9A7-CBEC28DDED95}"/>
              </a:ext>
            </a:extLst>
          </p:cNvPr>
          <p:cNvCxnSpPr>
            <a:cxnSpLocks/>
          </p:cNvCxnSpPr>
          <p:nvPr/>
        </p:nvCxnSpPr>
        <p:spPr>
          <a:xfrm>
            <a:off x="8057811" y="2888065"/>
            <a:ext cx="0" cy="264222"/>
          </a:xfrm>
          <a:prstGeom prst="line">
            <a:avLst/>
          </a:prstGeom>
          <a:ln w="3175">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59" name="直線コネクタ 58">
            <a:extLst>
              <a:ext uri="{FF2B5EF4-FFF2-40B4-BE49-F238E27FC236}">
                <a16:creationId xmlns:a16="http://schemas.microsoft.com/office/drawing/2014/main" id="{C8DB0021-C00B-42CB-4FFB-ABEA3E26E2B6}"/>
              </a:ext>
            </a:extLst>
          </p:cNvPr>
          <p:cNvCxnSpPr>
            <a:cxnSpLocks/>
          </p:cNvCxnSpPr>
          <p:nvPr/>
        </p:nvCxnSpPr>
        <p:spPr>
          <a:xfrm>
            <a:off x="160158" y="3228555"/>
            <a:ext cx="11128074" cy="0"/>
          </a:xfrm>
          <a:prstGeom prst="line">
            <a:avLst/>
          </a:prstGeom>
          <a:ln w="3175">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sp>
        <p:nvSpPr>
          <p:cNvPr id="60" name="正方形/長方形 59">
            <a:extLst>
              <a:ext uri="{FF2B5EF4-FFF2-40B4-BE49-F238E27FC236}">
                <a16:creationId xmlns:a16="http://schemas.microsoft.com/office/drawing/2014/main" id="{C5B63D5D-C756-CCAA-BF0B-3D7B12026199}"/>
              </a:ext>
            </a:extLst>
          </p:cNvPr>
          <p:cNvSpPr/>
          <p:nvPr/>
        </p:nvSpPr>
        <p:spPr>
          <a:xfrm>
            <a:off x="3240985" y="2805939"/>
            <a:ext cx="1305060" cy="389656"/>
          </a:xfrm>
          <a:prstGeom prst="rect">
            <a:avLst/>
          </a:prstGeom>
          <a:solidFill>
            <a:srgbClr val="002060">
              <a:alpha val="50196"/>
            </a:srgbClr>
          </a:solidFill>
          <a:ln>
            <a:solidFill>
              <a:srgbClr val="002060"/>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kumimoji="1" lang="ja-JP" altLang="en-US"/>
              <a:t>二次稼働</a:t>
            </a:r>
          </a:p>
        </p:txBody>
      </p:sp>
      <p:sp>
        <p:nvSpPr>
          <p:cNvPr id="61" name="テキスト ボックス 143">
            <a:extLst>
              <a:ext uri="{FF2B5EF4-FFF2-40B4-BE49-F238E27FC236}">
                <a16:creationId xmlns:a16="http://schemas.microsoft.com/office/drawing/2014/main" id="{7E07A51C-60DD-241D-2667-AA861AC745B1}"/>
              </a:ext>
            </a:extLst>
          </p:cNvPr>
          <p:cNvSpPr txBox="1"/>
          <p:nvPr/>
        </p:nvSpPr>
        <p:spPr>
          <a:xfrm>
            <a:off x="8057811" y="2838895"/>
            <a:ext cx="2096771" cy="389660"/>
          </a:xfrm>
          <a:prstGeom prst="rect">
            <a:avLst/>
          </a:prstGeom>
          <a:noFill/>
          <a:ln w="9525" cmpd="sng">
            <a:noFill/>
          </a:ln>
          <a:effectLst/>
        </p:spPr>
        <p:txBody>
          <a:bodyPr wrap="square"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1" lang="ja-JP" altLang="en-US" sz="1400" b="0" i="0" u="none" strike="noStrike" kern="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cs typeface="+mn-cs"/>
              </a:rPr>
              <a:t>提案ストーリー</a:t>
            </a:r>
          </a:p>
        </p:txBody>
      </p:sp>
      <p:cxnSp>
        <p:nvCxnSpPr>
          <p:cNvPr id="62" name="直線コネクタ 61">
            <a:extLst>
              <a:ext uri="{FF2B5EF4-FFF2-40B4-BE49-F238E27FC236}">
                <a16:creationId xmlns:a16="http://schemas.microsoft.com/office/drawing/2014/main" id="{DD3B7A09-C8BF-CE54-4974-78F44B204930}"/>
              </a:ext>
            </a:extLst>
          </p:cNvPr>
          <p:cNvCxnSpPr>
            <a:cxnSpLocks/>
          </p:cNvCxnSpPr>
          <p:nvPr/>
        </p:nvCxnSpPr>
        <p:spPr>
          <a:xfrm>
            <a:off x="10120035" y="2888065"/>
            <a:ext cx="0" cy="264222"/>
          </a:xfrm>
          <a:prstGeom prst="line">
            <a:avLst/>
          </a:prstGeom>
          <a:ln w="3175">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sp>
        <p:nvSpPr>
          <p:cNvPr id="63" name="フローチャート: 代替処理 62">
            <a:extLst>
              <a:ext uri="{FF2B5EF4-FFF2-40B4-BE49-F238E27FC236}">
                <a16:creationId xmlns:a16="http://schemas.microsoft.com/office/drawing/2014/main" id="{26869A95-AC60-2767-9F56-BD4784603652}"/>
              </a:ext>
            </a:extLst>
          </p:cNvPr>
          <p:cNvSpPr/>
          <p:nvPr/>
        </p:nvSpPr>
        <p:spPr>
          <a:xfrm>
            <a:off x="10170985" y="2760880"/>
            <a:ext cx="1934359" cy="445074"/>
          </a:xfrm>
          <a:prstGeom prst="flowChartAlternateProcess">
            <a:avLst/>
          </a:prstGeom>
          <a:solidFill>
            <a:schemeClr val="bg1">
              <a:lumMod val="95000"/>
            </a:schemeClr>
          </a:solidFill>
          <a:ln>
            <a:solidFill>
              <a:schemeClr val="bg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ja-JP" altLang="en-US"/>
          </a:p>
        </p:txBody>
      </p:sp>
      <p:cxnSp>
        <p:nvCxnSpPr>
          <p:cNvPr id="64" name="直線コネクタ 63">
            <a:extLst>
              <a:ext uri="{FF2B5EF4-FFF2-40B4-BE49-F238E27FC236}">
                <a16:creationId xmlns:a16="http://schemas.microsoft.com/office/drawing/2014/main" id="{311F5617-1DB2-6044-139D-873743EF6CB8}"/>
              </a:ext>
            </a:extLst>
          </p:cNvPr>
          <p:cNvCxnSpPr>
            <a:cxnSpLocks/>
          </p:cNvCxnSpPr>
          <p:nvPr/>
        </p:nvCxnSpPr>
        <p:spPr>
          <a:xfrm>
            <a:off x="10127915" y="2873096"/>
            <a:ext cx="0" cy="264222"/>
          </a:xfrm>
          <a:prstGeom prst="line">
            <a:avLst/>
          </a:prstGeom>
          <a:ln w="3175">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sp>
        <p:nvSpPr>
          <p:cNvPr id="65" name="テキスト ボックス 18">
            <a:extLst>
              <a:ext uri="{FF2B5EF4-FFF2-40B4-BE49-F238E27FC236}">
                <a16:creationId xmlns:a16="http://schemas.microsoft.com/office/drawing/2014/main" id="{9AA3A464-A678-B726-3758-463B7EF9F7EE}"/>
              </a:ext>
            </a:extLst>
          </p:cNvPr>
          <p:cNvSpPr txBox="1"/>
          <p:nvPr/>
        </p:nvSpPr>
        <p:spPr bwMode="gray">
          <a:xfrm>
            <a:off x="10498509" y="2725005"/>
            <a:ext cx="1344927" cy="523220"/>
          </a:xfrm>
          <a:prstGeom prst="rect">
            <a:avLst/>
          </a:prstGeom>
          <a:noFill/>
          <a:ln w="9525" cmpd="sng">
            <a:noFill/>
          </a:ln>
          <a:effectLst/>
        </p:spPr>
        <p:txBody>
          <a:bodyPr wrap="square" rtlCol="0" anchor="ctr"/>
          <a:lstStyle>
            <a:defPPr>
              <a:defRPr lang="ja-JP"/>
            </a:defPPr>
            <a:lvl1pPr marR="0" lvl="0" indent="0" algn="ctr" fontAlgn="auto">
              <a:lnSpc>
                <a:spcPct val="100000"/>
              </a:lnSpc>
              <a:spcBef>
                <a:spcPts val="0"/>
              </a:spcBef>
              <a:spcAft>
                <a:spcPts val="0"/>
              </a:spcAft>
              <a:buClrTx/>
              <a:buSzTx/>
              <a:buFontTx/>
              <a:buNone/>
              <a:tabLst/>
              <a:defRPr sz="1400" b="0" i="0" u="none" strike="noStrike" kern="0" cap="none" spc="0" normalizeH="0" baseline="0">
                <a:ln>
                  <a:noFill/>
                </a:ln>
                <a:solidFill>
                  <a:sysClr val="windowText" lastClr="000000"/>
                </a:solidFill>
                <a:effectLst/>
                <a:uLnTx/>
                <a:uFillTx/>
                <a:latin typeface="Meiryo UI" panose="020B0604030504040204" pitchFamily="50" charset="-128"/>
                <a:ea typeface="Meiryo UI" panose="020B0604030504040204" pitchFamily="50" charset="-128"/>
              </a:defRPr>
            </a:lvl1pPr>
            <a:lvl2pPr indent="0">
              <a:defRPr sz="1100">
                <a:solidFill>
                  <a:schemeClr val="dk1"/>
                </a:solidFill>
              </a:defRPr>
            </a:lvl2pPr>
            <a:lvl3pPr indent="0">
              <a:defRPr sz="1100">
                <a:solidFill>
                  <a:schemeClr val="dk1"/>
                </a:solidFill>
              </a:defRPr>
            </a:lvl3pPr>
            <a:lvl4pPr indent="0">
              <a:defRPr sz="1100">
                <a:solidFill>
                  <a:schemeClr val="dk1"/>
                </a:solidFill>
              </a:defRPr>
            </a:lvl4pPr>
            <a:lvl5pPr indent="0">
              <a:defRPr sz="1100">
                <a:solidFill>
                  <a:schemeClr val="dk1"/>
                </a:solidFill>
              </a:defRPr>
            </a:lvl5pPr>
            <a:lvl6pPr indent="0">
              <a:defRPr sz="1100">
                <a:solidFill>
                  <a:schemeClr val="dk1"/>
                </a:solidFill>
              </a:defRPr>
            </a:lvl6pPr>
            <a:lvl7pPr indent="0">
              <a:defRPr sz="1100">
                <a:solidFill>
                  <a:schemeClr val="dk1"/>
                </a:solidFill>
              </a:defRPr>
            </a:lvl7pPr>
            <a:lvl8pPr indent="0">
              <a:defRPr sz="1100">
                <a:solidFill>
                  <a:schemeClr val="dk1"/>
                </a:solidFill>
              </a:defRPr>
            </a:lvl8pPr>
            <a:lvl9pPr indent="0">
              <a:defRPr sz="1100">
                <a:solidFill>
                  <a:schemeClr val="dk1"/>
                </a:solidFill>
              </a:defRPr>
            </a:lvl9pPr>
          </a:lstStyle>
          <a:p>
            <a:r>
              <a:rPr lang="ja-JP" altLang="en-US"/>
              <a:t>ストーリー候補</a:t>
            </a:r>
          </a:p>
        </p:txBody>
      </p:sp>
      <p:pic>
        <p:nvPicPr>
          <p:cNvPr id="66" name="グラフィックス 65" descr="物語 単色塗りつぶし">
            <a:extLst>
              <a:ext uri="{FF2B5EF4-FFF2-40B4-BE49-F238E27FC236}">
                <a16:creationId xmlns:a16="http://schemas.microsoft.com/office/drawing/2014/main" id="{33495D8E-54A6-E8E6-0D5C-7CE3C1A488D0}"/>
              </a:ext>
            </a:extLst>
          </p:cNvPr>
          <p:cNvPicPr>
            <a:picLocks noChangeAspect="1"/>
          </p:cNvPicPr>
          <p:nvPr/>
        </p:nvPicPr>
        <p:blipFill>
          <a:blip r:embed="rId11" cstate="print">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10271159" y="2818372"/>
            <a:ext cx="317500" cy="317500"/>
          </a:xfrm>
          <a:prstGeom prst="rect">
            <a:avLst/>
          </a:prstGeom>
        </p:spPr>
      </p:pic>
      <p:grpSp>
        <p:nvGrpSpPr>
          <p:cNvPr id="67" name="グループ化 66">
            <a:extLst>
              <a:ext uri="{FF2B5EF4-FFF2-40B4-BE49-F238E27FC236}">
                <a16:creationId xmlns:a16="http://schemas.microsoft.com/office/drawing/2014/main" id="{ED8DA0A8-0B6C-87BB-9DE8-EEBBE3668B8C}"/>
              </a:ext>
            </a:extLst>
          </p:cNvPr>
          <p:cNvGrpSpPr/>
          <p:nvPr/>
        </p:nvGrpSpPr>
        <p:grpSpPr>
          <a:xfrm>
            <a:off x="10940548" y="2445729"/>
            <a:ext cx="1164535" cy="337530"/>
            <a:chOff x="10987682" y="867752"/>
            <a:chExt cx="1164535" cy="337530"/>
          </a:xfrm>
        </p:grpSpPr>
        <p:pic>
          <p:nvPicPr>
            <p:cNvPr id="68" name="図 67">
              <a:extLst>
                <a:ext uri="{FF2B5EF4-FFF2-40B4-BE49-F238E27FC236}">
                  <a16:creationId xmlns:a16="http://schemas.microsoft.com/office/drawing/2014/main" id="{717DC96C-813C-1F6D-C228-0916FAD96D08}"/>
                </a:ext>
              </a:extLst>
            </p:cNvPr>
            <p:cNvPicPr>
              <a:picLocks noChangeAspect="1"/>
            </p:cNvPicPr>
            <p:nvPr/>
          </p:nvPicPr>
          <p:blipFill>
            <a:blip r:embed="rId13"/>
            <a:stretch>
              <a:fillRect/>
            </a:stretch>
          </p:blipFill>
          <p:spPr>
            <a:xfrm>
              <a:off x="11040691" y="867752"/>
              <a:ext cx="1111526" cy="306161"/>
            </a:xfrm>
            <a:prstGeom prst="rect">
              <a:avLst/>
            </a:prstGeom>
          </p:spPr>
        </p:pic>
        <p:pic>
          <p:nvPicPr>
            <p:cNvPr id="69" name="図 68">
              <a:extLst>
                <a:ext uri="{FF2B5EF4-FFF2-40B4-BE49-F238E27FC236}">
                  <a16:creationId xmlns:a16="http://schemas.microsoft.com/office/drawing/2014/main" id="{B3245FA6-AAE8-88CA-10C8-D80C79D6A65F}"/>
                </a:ext>
              </a:extLst>
            </p:cNvPr>
            <p:cNvPicPr>
              <a:picLocks noChangeAspect="1"/>
            </p:cNvPicPr>
            <p:nvPr/>
          </p:nvPicPr>
          <p:blipFill>
            <a:blip r:embed="rId14"/>
            <a:stretch>
              <a:fillRect/>
            </a:stretch>
          </p:blipFill>
          <p:spPr>
            <a:xfrm>
              <a:off x="11276744" y="912775"/>
              <a:ext cx="536905" cy="186151"/>
            </a:xfrm>
            <a:prstGeom prst="rect">
              <a:avLst/>
            </a:prstGeom>
          </p:spPr>
        </p:pic>
        <p:sp>
          <p:nvSpPr>
            <p:cNvPr id="70" name="テキスト ボックス 267">
              <a:extLst>
                <a:ext uri="{FF2B5EF4-FFF2-40B4-BE49-F238E27FC236}">
                  <a16:creationId xmlns:a16="http://schemas.microsoft.com/office/drawing/2014/main" id="{6862262A-C0A9-7255-3C69-A817090F171C}"/>
                </a:ext>
              </a:extLst>
            </p:cNvPr>
            <p:cNvSpPr txBox="1"/>
            <p:nvPr/>
          </p:nvSpPr>
          <p:spPr>
            <a:xfrm>
              <a:off x="10987682" y="899536"/>
              <a:ext cx="1164535" cy="305746"/>
            </a:xfrm>
            <a:prstGeom prst="rect">
              <a:avLst/>
            </a:prstGeom>
            <a:noFill/>
            <a:ln w="9525" cmpd="sng">
              <a:noFill/>
            </a:ln>
          </p:spPr>
          <p:style>
            <a:lnRef idx="0">
              <a:scrgbClr r="0" g="0" b="0"/>
            </a:lnRef>
            <a:fillRef idx="0">
              <a:scrgbClr r="0" g="0" b="0"/>
            </a:fillRef>
            <a:effectRef idx="0">
              <a:scrgbClr r="0" g="0" b="0"/>
            </a:effectRef>
            <a:fontRef idx="minor">
              <a:schemeClr val="dk1"/>
            </a:fontRef>
          </p:style>
          <p:txBody>
            <a:bodyPr wrap="square" rtlCol="0" anchor="t"/>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algn="ctr"/>
              <a:r>
                <a:rPr kumimoji="1" lang="ja-JP" altLang="en-US" sz="1000">
                  <a:solidFill>
                    <a:schemeClr val="tx1"/>
                  </a:solidFill>
                  <a:latin typeface="Meiryo UI" panose="020B0604030504040204" pitchFamily="50" charset="-128"/>
                  <a:ea typeface="Meiryo UI" panose="020B0604030504040204" pitchFamily="50" charset="-128"/>
                </a:rPr>
                <a:t>アーカイブ</a:t>
              </a:r>
            </a:p>
          </p:txBody>
        </p:sp>
      </p:grpSp>
      <p:grpSp>
        <p:nvGrpSpPr>
          <p:cNvPr id="71" name="グループ化 70">
            <a:extLst>
              <a:ext uri="{FF2B5EF4-FFF2-40B4-BE49-F238E27FC236}">
                <a16:creationId xmlns:a16="http://schemas.microsoft.com/office/drawing/2014/main" id="{13395D7A-C96E-3B9B-FF49-C15ACFA8B57E}"/>
              </a:ext>
            </a:extLst>
          </p:cNvPr>
          <p:cNvGrpSpPr/>
          <p:nvPr/>
        </p:nvGrpSpPr>
        <p:grpSpPr>
          <a:xfrm>
            <a:off x="9646515" y="2441839"/>
            <a:ext cx="1207008" cy="308146"/>
            <a:chOff x="9833683" y="867752"/>
            <a:chExt cx="1207008" cy="308146"/>
          </a:xfrm>
        </p:grpSpPr>
        <p:pic>
          <p:nvPicPr>
            <p:cNvPr id="72" name="図 71">
              <a:extLst>
                <a:ext uri="{FF2B5EF4-FFF2-40B4-BE49-F238E27FC236}">
                  <a16:creationId xmlns:a16="http://schemas.microsoft.com/office/drawing/2014/main" id="{EB2C15E4-3F5F-6835-2CC2-69D17C4988B7}"/>
                </a:ext>
              </a:extLst>
            </p:cNvPr>
            <p:cNvPicPr>
              <a:picLocks noChangeAspect="1"/>
            </p:cNvPicPr>
            <p:nvPr/>
          </p:nvPicPr>
          <p:blipFill>
            <a:blip r:embed="rId13"/>
            <a:stretch>
              <a:fillRect/>
            </a:stretch>
          </p:blipFill>
          <p:spPr>
            <a:xfrm>
              <a:off x="9929165" y="867752"/>
              <a:ext cx="1111526" cy="306161"/>
            </a:xfrm>
            <a:prstGeom prst="rect">
              <a:avLst/>
            </a:prstGeom>
          </p:spPr>
        </p:pic>
        <p:pic>
          <p:nvPicPr>
            <p:cNvPr id="73" name="図 72">
              <a:extLst>
                <a:ext uri="{FF2B5EF4-FFF2-40B4-BE49-F238E27FC236}">
                  <a16:creationId xmlns:a16="http://schemas.microsoft.com/office/drawing/2014/main" id="{96ACA22A-8C1D-73AC-A449-A8E6E55B6805}"/>
                </a:ext>
              </a:extLst>
            </p:cNvPr>
            <p:cNvPicPr>
              <a:picLocks noChangeAspect="1"/>
            </p:cNvPicPr>
            <p:nvPr/>
          </p:nvPicPr>
          <p:blipFill>
            <a:blip r:embed="rId14"/>
            <a:stretch>
              <a:fillRect/>
            </a:stretch>
          </p:blipFill>
          <p:spPr>
            <a:xfrm>
              <a:off x="10165218" y="912775"/>
              <a:ext cx="536905" cy="186151"/>
            </a:xfrm>
            <a:prstGeom prst="rect">
              <a:avLst/>
            </a:prstGeom>
          </p:spPr>
        </p:pic>
        <p:sp>
          <p:nvSpPr>
            <p:cNvPr id="74" name="テキスト ボックス 264">
              <a:extLst>
                <a:ext uri="{FF2B5EF4-FFF2-40B4-BE49-F238E27FC236}">
                  <a16:creationId xmlns:a16="http://schemas.microsoft.com/office/drawing/2014/main" id="{5E25599D-CF7C-444A-04E2-E687B314CCF7}"/>
                </a:ext>
              </a:extLst>
            </p:cNvPr>
            <p:cNvSpPr txBox="1"/>
            <p:nvPr/>
          </p:nvSpPr>
          <p:spPr>
            <a:xfrm>
              <a:off x="9833683" y="870152"/>
              <a:ext cx="1166192" cy="305746"/>
            </a:xfrm>
            <a:prstGeom prst="rect">
              <a:avLst/>
            </a:prstGeom>
            <a:noFill/>
            <a:ln w="9525" cmpd="sng">
              <a:noFill/>
            </a:ln>
          </p:spPr>
          <p:style>
            <a:lnRef idx="0">
              <a:scrgbClr r="0" g="0" b="0"/>
            </a:lnRef>
            <a:fillRef idx="0">
              <a:scrgbClr r="0" g="0" b="0"/>
            </a:fillRef>
            <a:effectRef idx="0">
              <a:scrgbClr r="0" g="0" b="0"/>
            </a:effectRef>
            <a:fontRef idx="minor">
              <a:schemeClr val="dk1"/>
            </a:fontRef>
          </p:style>
          <p:txBody>
            <a:bodyPr wrap="square" rtlCol="0" anchor="t"/>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algn="ctr"/>
              <a:r>
                <a:rPr kumimoji="1" lang="ja-JP" altLang="en-US" sz="1000">
                  <a:solidFill>
                    <a:schemeClr val="tx1"/>
                  </a:solidFill>
                  <a:latin typeface="Meiryo UI" panose="020B0604030504040204" pitchFamily="50" charset="-128"/>
                  <a:ea typeface="Meiryo UI" panose="020B0604030504040204" pitchFamily="50" charset="-128"/>
                </a:rPr>
                <a:t>ツール登録</a:t>
              </a:r>
            </a:p>
          </p:txBody>
        </p:sp>
      </p:grpSp>
      <p:pic>
        <p:nvPicPr>
          <p:cNvPr id="75" name="図 74">
            <a:extLst>
              <a:ext uri="{FF2B5EF4-FFF2-40B4-BE49-F238E27FC236}">
                <a16:creationId xmlns:a16="http://schemas.microsoft.com/office/drawing/2014/main" id="{EB32F43F-5860-28DC-CBA4-9AFBAED4EF33}"/>
              </a:ext>
            </a:extLst>
          </p:cNvPr>
          <p:cNvPicPr>
            <a:picLocks noChangeAspect="1"/>
          </p:cNvPicPr>
          <p:nvPr/>
        </p:nvPicPr>
        <p:blipFill>
          <a:blip r:embed="rId15"/>
          <a:stretch>
            <a:fillRect/>
          </a:stretch>
        </p:blipFill>
        <p:spPr>
          <a:xfrm>
            <a:off x="112930" y="2467245"/>
            <a:ext cx="831533" cy="378886"/>
          </a:xfrm>
          <a:prstGeom prst="rect">
            <a:avLst/>
          </a:prstGeom>
        </p:spPr>
      </p:pic>
      <p:cxnSp>
        <p:nvCxnSpPr>
          <p:cNvPr id="76" name="直線コネクタ 75">
            <a:extLst>
              <a:ext uri="{FF2B5EF4-FFF2-40B4-BE49-F238E27FC236}">
                <a16:creationId xmlns:a16="http://schemas.microsoft.com/office/drawing/2014/main" id="{821EA184-67A9-5B10-B213-53AF5DA5EBA1}"/>
              </a:ext>
            </a:extLst>
          </p:cNvPr>
          <p:cNvCxnSpPr>
            <a:cxnSpLocks/>
          </p:cNvCxnSpPr>
          <p:nvPr/>
        </p:nvCxnSpPr>
        <p:spPr>
          <a:xfrm flipV="1">
            <a:off x="179879" y="2780096"/>
            <a:ext cx="11626243" cy="9123"/>
          </a:xfrm>
          <a:prstGeom prst="line">
            <a:avLst/>
          </a:prstGeom>
          <a:ln w="3175">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sp>
        <p:nvSpPr>
          <p:cNvPr id="77" name="テキスト ボックス 16">
            <a:extLst>
              <a:ext uri="{FF2B5EF4-FFF2-40B4-BE49-F238E27FC236}">
                <a16:creationId xmlns:a16="http://schemas.microsoft.com/office/drawing/2014/main" id="{153A3E9D-ED0A-6F21-E712-E8B856FB751F}"/>
              </a:ext>
            </a:extLst>
          </p:cNvPr>
          <p:cNvSpPr txBox="1"/>
          <p:nvPr/>
        </p:nvSpPr>
        <p:spPr bwMode="gray">
          <a:xfrm>
            <a:off x="9761182" y="3622834"/>
            <a:ext cx="535768" cy="289053"/>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371433">
              <a:lnSpc>
                <a:spcPct val="120000"/>
              </a:lnSpc>
              <a:spcAft>
                <a:spcPts val="244"/>
              </a:spcAft>
              <a:defRPr/>
            </a:pPr>
            <a:r>
              <a:rPr lang="en-US" altLang="ja-JP" sz="1200" kern="0">
                <a:solidFill>
                  <a:srgbClr val="000000">
                    <a:lumMod val="75000"/>
                    <a:lumOff val="25000"/>
                  </a:srgbClr>
                </a:solidFill>
                <a:latin typeface="Meiryo UI"/>
                <a:ea typeface="Meiryo UI"/>
              </a:rPr>
              <a:t>5</a:t>
            </a:r>
            <a:r>
              <a:rPr lang="ja-JP" altLang="en-US" sz="1200" kern="0">
                <a:solidFill>
                  <a:srgbClr val="000000">
                    <a:lumMod val="75000"/>
                    <a:lumOff val="25000"/>
                  </a:srgbClr>
                </a:solidFill>
                <a:latin typeface="Meiryo UI"/>
                <a:ea typeface="Meiryo UI"/>
              </a:rPr>
              <a:t>位</a:t>
            </a:r>
            <a:endParaRPr lang="en-US" altLang="ja-JP" sz="1200" kern="0">
              <a:solidFill>
                <a:srgbClr val="000000">
                  <a:lumMod val="75000"/>
                  <a:lumOff val="25000"/>
                </a:srgbClr>
              </a:solidFill>
              <a:latin typeface="Meiryo UI"/>
              <a:ea typeface="Meiryo UI"/>
            </a:endParaRPr>
          </a:p>
        </p:txBody>
      </p:sp>
      <p:sp>
        <p:nvSpPr>
          <p:cNvPr id="78" name="テキスト ボックス 18">
            <a:extLst>
              <a:ext uri="{FF2B5EF4-FFF2-40B4-BE49-F238E27FC236}">
                <a16:creationId xmlns:a16="http://schemas.microsoft.com/office/drawing/2014/main" id="{E3FF96AB-A300-D06D-5C2C-4B67F5CD1B31}"/>
              </a:ext>
            </a:extLst>
          </p:cNvPr>
          <p:cNvSpPr txBox="1"/>
          <p:nvPr/>
        </p:nvSpPr>
        <p:spPr bwMode="gray">
          <a:xfrm>
            <a:off x="11684031" y="2737706"/>
            <a:ext cx="454999" cy="523220"/>
          </a:xfrm>
          <a:prstGeom prst="rect">
            <a:avLst/>
          </a:prstGeom>
          <a:noFill/>
          <a:ln w="9525" cmpd="sng">
            <a:noFill/>
          </a:ln>
          <a:effectLst/>
        </p:spPr>
        <p:txBody>
          <a:bodyPr wrap="square" rtlCol="0" anchor="ctr"/>
          <a:lstStyle>
            <a:defPPr>
              <a:defRPr lang="ja-JP"/>
            </a:defPPr>
            <a:lvl1pPr marR="0" lvl="0" indent="0" algn="ctr" fontAlgn="auto">
              <a:lnSpc>
                <a:spcPct val="100000"/>
              </a:lnSpc>
              <a:spcBef>
                <a:spcPts val="0"/>
              </a:spcBef>
              <a:spcAft>
                <a:spcPts val="0"/>
              </a:spcAft>
              <a:buClrTx/>
              <a:buSzTx/>
              <a:buFontTx/>
              <a:buNone/>
              <a:tabLst/>
              <a:defRPr sz="1400" b="0" i="0" u="none" strike="noStrike" kern="0" cap="none" spc="0" normalizeH="0" baseline="0">
                <a:ln>
                  <a:noFill/>
                </a:ln>
                <a:solidFill>
                  <a:sysClr val="windowText" lastClr="000000"/>
                </a:solidFill>
                <a:effectLst/>
                <a:uLnTx/>
                <a:uFillTx/>
                <a:latin typeface="Meiryo UI" panose="020B0604030504040204" pitchFamily="50" charset="-128"/>
                <a:ea typeface="Meiryo UI" panose="020B0604030504040204" pitchFamily="50" charset="-128"/>
              </a:defRPr>
            </a:lvl1pPr>
            <a:lvl2pPr indent="0">
              <a:defRPr sz="1100">
                <a:solidFill>
                  <a:schemeClr val="dk1"/>
                </a:solidFill>
              </a:defRPr>
            </a:lvl2pPr>
            <a:lvl3pPr indent="0">
              <a:defRPr sz="1100">
                <a:solidFill>
                  <a:schemeClr val="dk1"/>
                </a:solidFill>
              </a:defRPr>
            </a:lvl3pPr>
            <a:lvl4pPr indent="0">
              <a:defRPr sz="1100">
                <a:solidFill>
                  <a:schemeClr val="dk1"/>
                </a:solidFill>
              </a:defRPr>
            </a:lvl4pPr>
            <a:lvl5pPr indent="0">
              <a:defRPr sz="1100">
                <a:solidFill>
                  <a:schemeClr val="dk1"/>
                </a:solidFill>
              </a:defRPr>
            </a:lvl5pPr>
            <a:lvl6pPr indent="0">
              <a:defRPr sz="1100">
                <a:solidFill>
                  <a:schemeClr val="dk1"/>
                </a:solidFill>
              </a:defRPr>
            </a:lvl6pPr>
            <a:lvl7pPr indent="0">
              <a:defRPr sz="1100">
                <a:solidFill>
                  <a:schemeClr val="dk1"/>
                </a:solidFill>
              </a:defRPr>
            </a:lvl7pPr>
            <a:lvl8pPr indent="0">
              <a:defRPr sz="1100">
                <a:solidFill>
                  <a:schemeClr val="dk1"/>
                </a:solidFill>
              </a:defRPr>
            </a:lvl8pPr>
            <a:lvl9pPr indent="0">
              <a:defRPr sz="1100">
                <a:solidFill>
                  <a:schemeClr val="dk1"/>
                </a:solidFill>
              </a:defRPr>
            </a:lvl9pPr>
          </a:lstStyle>
          <a:p>
            <a:r>
              <a:rPr lang="ja-JP" altLang="en-US" sz="2000" b="1">
                <a:solidFill>
                  <a:srgbClr val="002060"/>
                </a:solidFill>
              </a:rPr>
              <a:t>⑤</a:t>
            </a:r>
          </a:p>
        </p:txBody>
      </p:sp>
      <p:sp>
        <p:nvSpPr>
          <p:cNvPr id="79" name="矢印: 右 78">
            <a:extLst>
              <a:ext uri="{FF2B5EF4-FFF2-40B4-BE49-F238E27FC236}">
                <a16:creationId xmlns:a16="http://schemas.microsoft.com/office/drawing/2014/main" id="{D9F0E414-6913-E351-21ED-31CAA2C5698B}"/>
              </a:ext>
            </a:extLst>
          </p:cNvPr>
          <p:cNvSpPr/>
          <p:nvPr/>
        </p:nvSpPr>
        <p:spPr>
          <a:xfrm>
            <a:off x="11806795" y="4190534"/>
            <a:ext cx="247984" cy="983431"/>
          </a:xfrm>
          <a:prstGeom prst="rightArrow">
            <a:avLst>
              <a:gd name="adj1" fmla="val 50000"/>
              <a:gd name="adj2" fmla="val 100000"/>
            </a:avLst>
          </a:prstGeom>
          <a:solidFill>
            <a:sysClr val="window" lastClr="FFFFFF">
              <a:lumMod val="50000"/>
            </a:sysClr>
          </a:solidFill>
          <a:ln w="6350" cap="flat" cmpd="sng" algn="ctr">
            <a:noFill/>
            <a:prstDash val="solid"/>
            <a:miter lim="800000"/>
          </a:ln>
          <a:effectLst/>
        </p:spPr>
        <p:txBody>
          <a:bodyPr wrap="square"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ctr" defTabSz="495288" rtl="0" eaLnBrk="1" fontAlgn="auto" latinLnBrk="0" hangingPunct="1">
              <a:lnSpc>
                <a:spcPct val="100000"/>
              </a:lnSpc>
              <a:spcBef>
                <a:spcPts val="0"/>
              </a:spcBef>
              <a:spcAft>
                <a:spcPts val="0"/>
              </a:spcAft>
              <a:buClrTx/>
              <a:buSzTx/>
              <a:buFontTx/>
              <a:buNone/>
              <a:tabLst/>
              <a:defRPr/>
            </a:pPr>
            <a:endParaRPr kumimoji="0" lang="ja-JP" altLang="en-US" sz="1950" b="0" i="0" u="none" strike="noStrike" kern="0" cap="none" spc="0" normalizeH="0" baseline="0" noProof="0">
              <a:ln>
                <a:noFill/>
              </a:ln>
              <a:solidFill>
                <a:prstClr val="white"/>
              </a:solidFill>
              <a:effectLst/>
              <a:uLnTx/>
              <a:uFillTx/>
              <a:latin typeface="Meiryo UI"/>
              <a:ea typeface="Meiryo UI"/>
              <a:cs typeface="+mn-cs"/>
            </a:endParaRPr>
          </a:p>
        </p:txBody>
      </p:sp>
      <p:sp>
        <p:nvSpPr>
          <p:cNvPr id="80" name="正方形/長方形 79">
            <a:extLst>
              <a:ext uri="{FF2B5EF4-FFF2-40B4-BE49-F238E27FC236}">
                <a16:creationId xmlns:a16="http://schemas.microsoft.com/office/drawing/2014/main" id="{259FFA70-B00E-EA35-784C-D1307824C272}"/>
              </a:ext>
            </a:extLst>
          </p:cNvPr>
          <p:cNvSpPr/>
          <p:nvPr/>
        </p:nvSpPr>
        <p:spPr>
          <a:xfrm>
            <a:off x="14147" y="3840436"/>
            <a:ext cx="12007373" cy="410886"/>
          </a:xfrm>
          <a:prstGeom prst="rect">
            <a:avLst/>
          </a:prstGeom>
          <a:solidFill>
            <a:schemeClr val="tx2"/>
          </a:solidFill>
          <a:ln w="12700" cap="flat" cmpd="sng" algn="ctr">
            <a:noFill/>
            <a:prstDash val="solid"/>
            <a:miter lim="800000"/>
          </a:ln>
          <a:effectLst/>
        </p:spPr>
        <p:txBody>
          <a:bodyPr wrap="square" rtlCol="0"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defTabSz="742950" rtl="0" eaLnBrk="1" fontAlgn="auto" latinLnBrk="0" hangingPunct="1">
              <a:lnSpc>
                <a:spcPct val="100000"/>
              </a:lnSpc>
              <a:spcBef>
                <a:spcPts val="0"/>
              </a:spcBef>
              <a:spcAft>
                <a:spcPts val="0"/>
              </a:spcAft>
              <a:buClrTx/>
              <a:buSzTx/>
              <a:buFontTx/>
              <a:buNone/>
              <a:tabLst/>
              <a:defRPr/>
            </a:pPr>
            <a:r>
              <a:rPr kumimoji="0" lang="ja-JP" altLang="en-US" sz="1400" b="1" i="0" u="none" strike="noStrike" kern="0" cap="none" spc="0" normalizeH="0" baseline="0" noProof="0">
                <a:ln>
                  <a:noFill/>
                </a:ln>
                <a:solidFill>
                  <a:prstClr val="white"/>
                </a:solidFill>
                <a:effectLst/>
                <a:uLnTx/>
                <a:uFillTx/>
                <a:latin typeface="Meiryo UI"/>
                <a:ea typeface="Meiryo UI"/>
                <a:cs typeface="Arial"/>
              </a:rPr>
              <a:t>ランキング</a:t>
            </a:r>
          </a:p>
        </p:txBody>
      </p:sp>
      <p:sp>
        <p:nvSpPr>
          <p:cNvPr id="81" name="テキスト ボックス 16">
            <a:extLst>
              <a:ext uri="{FF2B5EF4-FFF2-40B4-BE49-F238E27FC236}">
                <a16:creationId xmlns:a16="http://schemas.microsoft.com/office/drawing/2014/main" id="{4FA0B542-DA43-4486-C696-3CBE5B5F6CBE}"/>
              </a:ext>
            </a:extLst>
          </p:cNvPr>
          <p:cNvSpPr txBox="1"/>
          <p:nvPr/>
        </p:nvSpPr>
        <p:spPr bwMode="gray">
          <a:xfrm>
            <a:off x="1519441" y="4278825"/>
            <a:ext cx="529419" cy="418862"/>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371433" rtl="0" eaLnBrk="1" fontAlgn="auto" latinLnBrk="0" hangingPunct="1">
              <a:lnSpc>
                <a:spcPct val="120000"/>
              </a:lnSpc>
              <a:spcBef>
                <a:spcPts val="0"/>
              </a:spcBef>
              <a:spcAft>
                <a:spcPts val="244"/>
              </a:spcAft>
              <a:buClrTx/>
              <a:buSzTx/>
              <a:buFontTx/>
              <a:buNone/>
              <a:tabLst/>
              <a:defRPr/>
            </a:pPr>
            <a:r>
              <a:rPr kumimoji="1" lang="en-US" altLang="ja-JP" sz="1200" b="0" i="0" u="none" strike="noStrike" kern="0" cap="none" spc="0" normalizeH="0" baseline="0" noProof="0">
                <a:ln>
                  <a:noFill/>
                </a:ln>
                <a:solidFill>
                  <a:srgbClr val="000000">
                    <a:lumMod val="75000"/>
                    <a:lumOff val="25000"/>
                  </a:srgbClr>
                </a:solidFill>
                <a:effectLst/>
                <a:uLnTx/>
                <a:uFillTx/>
                <a:latin typeface="Meiryo UI"/>
                <a:ea typeface="Meiryo UI"/>
                <a:cs typeface="+mn-cs"/>
              </a:rPr>
              <a:t>1</a:t>
            </a:r>
            <a:r>
              <a:rPr kumimoji="1" lang="ja-JP" altLang="en-US" sz="1200" b="0" i="0" u="none" strike="noStrike" kern="0" cap="none" spc="0" normalizeH="0" baseline="0" noProof="0">
                <a:ln>
                  <a:noFill/>
                </a:ln>
                <a:solidFill>
                  <a:srgbClr val="000000">
                    <a:lumMod val="75000"/>
                    <a:lumOff val="25000"/>
                  </a:srgbClr>
                </a:solidFill>
                <a:effectLst/>
                <a:uLnTx/>
                <a:uFillTx/>
                <a:latin typeface="Meiryo UI"/>
                <a:ea typeface="Meiryo UI"/>
                <a:cs typeface="+mn-cs"/>
              </a:rPr>
              <a:t>位</a:t>
            </a:r>
            <a:endParaRPr kumimoji="1" lang="en-US" altLang="ja-JP" sz="1200" b="0" i="0" u="none" strike="noStrike" kern="0" cap="none" spc="0" normalizeH="0" baseline="0" noProof="0">
              <a:ln>
                <a:noFill/>
              </a:ln>
              <a:solidFill>
                <a:srgbClr val="000000">
                  <a:lumMod val="75000"/>
                  <a:lumOff val="25000"/>
                </a:srgbClr>
              </a:solidFill>
              <a:effectLst/>
              <a:uLnTx/>
              <a:uFillTx/>
              <a:latin typeface="Meiryo UI"/>
              <a:ea typeface="Meiryo UI"/>
              <a:cs typeface="+mn-cs"/>
            </a:endParaRPr>
          </a:p>
        </p:txBody>
      </p:sp>
      <p:sp>
        <p:nvSpPr>
          <p:cNvPr id="82" name="テキスト ボックス 16">
            <a:extLst>
              <a:ext uri="{FF2B5EF4-FFF2-40B4-BE49-F238E27FC236}">
                <a16:creationId xmlns:a16="http://schemas.microsoft.com/office/drawing/2014/main" id="{1D674BA2-2957-3D77-72A2-843E337447DF}"/>
              </a:ext>
            </a:extLst>
          </p:cNvPr>
          <p:cNvSpPr txBox="1"/>
          <p:nvPr/>
        </p:nvSpPr>
        <p:spPr bwMode="gray">
          <a:xfrm>
            <a:off x="3560973" y="4289786"/>
            <a:ext cx="528008" cy="387112"/>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371433" rtl="0" eaLnBrk="1" fontAlgn="auto" latinLnBrk="0" hangingPunct="1">
              <a:lnSpc>
                <a:spcPct val="120000"/>
              </a:lnSpc>
              <a:spcBef>
                <a:spcPts val="0"/>
              </a:spcBef>
              <a:spcAft>
                <a:spcPts val="244"/>
              </a:spcAft>
              <a:buClrTx/>
              <a:buSzTx/>
              <a:buFontTx/>
              <a:buNone/>
              <a:tabLst/>
              <a:defRPr/>
            </a:pPr>
            <a:r>
              <a:rPr kumimoji="1" lang="en-US" altLang="ja-JP" sz="1200" b="0" i="0" u="none" strike="noStrike" kern="0" cap="none" spc="0" normalizeH="0" baseline="0" noProof="0">
                <a:ln>
                  <a:noFill/>
                </a:ln>
                <a:solidFill>
                  <a:srgbClr val="000000">
                    <a:lumMod val="75000"/>
                    <a:lumOff val="25000"/>
                  </a:srgbClr>
                </a:solidFill>
                <a:effectLst/>
                <a:uLnTx/>
                <a:uFillTx/>
                <a:latin typeface="Meiryo UI"/>
                <a:ea typeface="Meiryo UI"/>
                <a:cs typeface="+mn-cs"/>
              </a:rPr>
              <a:t>2</a:t>
            </a:r>
            <a:r>
              <a:rPr kumimoji="1" lang="ja-JP" altLang="en-US" sz="1200" b="0" i="0" u="none" strike="noStrike" kern="0" cap="none" spc="0" normalizeH="0" baseline="0" noProof="0">
                <a:ln>
                  <a:noFill/>
                </a:ln>
                <a:solidFill>
                  <a:srgbClr val="000000">
                    <a:lumMod val="75000"/>
                    <a:lumOff val="25000"/>
                  </a:srgbClr>
                </a:solidFill>
                <a:effectLst/>
                <a:uLnTx/>
                <a:uFillTx/>
                <a:latin typeface="Meiryo UI"/>
                <a:ea typeface="Meiryo UI"/>
                <a:cs typeface="+mn-cs"/>
              </a:rPr>
              <a:t>位</a:t>
            </a:r>
            <a:endParaRPr kumimoji="1" lang="en-US" altLang="ja-JP" sz="1200" b="0" i="0" u="none" strike="noStrike" kern="0" cap="none" spc="0" normalizeH="0" baseline="0" noProof="0">
              <a:ln>
                <a:noFill/>
              </a:ln>
              <a:solidFill>
                <a:srgbClr val="000000">
                  <a:lumMod val="75000"/>
                  <a:lumOff val="25000"/>
                </a:srgbClr>
              </a:solidFill>
              <a:effectLst/>
              <a:uLnTx/>
              <a:uFillTx/>
              <a:latin typeface="Meiryo UI"/>
              <a:ea typeface="Meiryo UI"/>
              <a:cs typeface="+mn-cs"/>
            </a:endParaRPr>
          </a:p>
        </p:txBody>
      </p:sp>
      <p:sp>
        <p:nvSpPr>
          <p:cNvPr id="83" name="テキスト ボックス 16">
            <a:extLst>
              <a:ext uri="{FF2B5EF4-FFF2-40B4-BE49-F238E27FC236}">
                <a16:creationId xmlns:a16="http://schemas.microsoft.com/office/drawing/2014/main" id="{1FAF4A6D-B4AF-C42C-0C53-D900568B2A07}"/>
              </a:ext>
            </a:extLst>
          </p:cNvPr>
          <p:cNvSpPr txBox="1"/>
          <p:nvPr/>
        </p:nvSpPr>
        <p:spPr bwMode="gray">
          <a:xfrm>
            <a:off x="5506434" y="4314368"/>
            <a:ext cx="523069" cy="399812"/>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371433" rtl="0" eaLnBrk="1" fontAlgn="auto" latinLnBrk="0" hangingPunct="1">
              <a:lnSpc>
                <a:spcPct val="120000"/>
              </a:lnSpc>
              <a:spcBef>
                <a:spcPts val="0"/>
              </a:spcBef>
              <a:spcAft>
                <a:spcPts val="244"/>
              </a:spcAft>
              <a:buClrTx/>
              <a:buSzTx/>
              <a:buFontTx/>
              <a:buNone/>
              <a:tabLst/>
              <a:defRPr/>
            </a:pPr>
            <a:r>
              <a:rPr kumimoji="1" lang="en-US" altLang="ja-JP" sz="1200" b="0" i="0" u="none" strike="noStrike" kern="0" cap="none" spc="0" normalizeH="0" baseline="0" noProof="0">
                <a:ln>
                  <a:noFill/>
                </a:ln>
                <a:solidFill>
                  <a:srgbClr val="000000">
                    <a:lumMod val="75000"/>
                    <a:lumOff val="25000"/>
                  </a:srgbClr>
                </a:solidFill>
                <a:effectLst/>
                <a:uLnTx/>
                <a:uFillTx/>
                <a:latin typeface="Meiryo UI"/>
                <a:ea typeface="Meiryo UI"/>
                <a:cs typeface="+mn-cs"/>
              </a:rPr>
              <a:t>3</a:t>
            </a:r>
            <a:r>
              <a:rPr kumimoji="1" lang="ja-JP" altLang="en-US" sz="1200" b="0" i="0" u="none" strike="noStrike" kern="0" cap="none" spc="0" normalizeH="0" baseline="0" noProof="0">
                <a:ln>
                  <a:noFill/>
                </a:ln>
                <a:solidFill>
                  <a:srgbClr val="000000">
                    <a:lumMod val="75000"/>
                    <a:lumOff val="25000"/>
                  </a:srgbClr>
                </a:solidFill>
                <a:effectLst/>
                <a:uLnTx/>
                <a:uFillTx/>
                <a:latin typeface="Meiryo UI"/>
                <a:ea typeface="Meiryo UI"/>
                <a:cs typeface="+mn-cs"/>
              </a:rPr>
              <a:t>位</a:t>
            </a:r>
            <a:endParaRPr kumimoji="1" lang="en-US" altLang="ja-JP" sz="1200" b="0" i="0" u="none" strike="noStrike" kern="0" cap="none" spc="0" normalizeH="0" baseline="0" noProof="0">
              <a:ln>
                <a:noFill/>
              </a:ln>
              <a:solidFill>
                <a:srgbClr val="000000">
                  <a:lumMod val="75000"/>
                  <a:lumOff val="25000"/>
                </a:srgbClr>
              </a:solidFill>
              <a:effectLst/>
              <a:uLnTx/>
              <a:uFillTx/>
              <a:latin typeface="Meiryo UI"/>
              <a:ea typeface="Meiryo UI"/>
              <a:cs typeface="+mn-cs"/>
            </a:endParaRPr>
          </a:p>
        </p:txBody>
      </p:sp>
      <p:sp>
        <p:nvSpPr>
          <p:cNvPr id="84" name="テキスト ボックス 16">
            <a:extLst>
              <a:ext uri="{FF2B5EF4-FFF2-40B4-BE49-F238E27FC236}">
                <a16:creationId xmlns:a16="http://schemas.microsoft.com/office/drawing/2014/main" id="{403457F4-DF97-1D80-27DB-BB505C86D217}"/>
              </a:ext>
            </a:extLst>
          </p:cNvPr>
          <p:cNvSpPr txBox="1"/>
          <p:nvPr/>
        </p:nvSpPr>
        <p:spPr bwMode="gray">
          <a:xfrm>
            <a:off x="7634434" y="4323304"/>
            <a:ext cx="535768" cy="377587"/>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371433" rtl="0" eaLnBrk="1" fontAlgn="auto" latinLnBrk="0" hangingPunct="1">
              <a:lnSpc>
                <a:spcPct val="120000"/>
              </a:lnSpc>
              <a:spcBef>
                <a:spcPts val="0"/>
              </a:spcBef>
              <a:spcAft>
                <a:spcPts val="244"/>
              </a:spcAft>
              <a:buClrTx/>
              <a:buSzTx/>
              <a:buFontTx/>
              <a:buNone/>
              <a:tabLst/>
              <a:defRPr/>
            </a:pPr>
            <a:r>
              <a:rPr kumimoji="1" lang="en-US" altLang="ja-JP" sz="1200" b="0" i="0" u="none" strike="noStrike" kern="0" cap="none" spc="0" normalizeH="0" baseline="0" noProof="0">
                <a:ln>
                  <a:noFill/>
                </a:ln>
                <a:solidFill>
                  <a:srgbClr val="000000">
                    <a:lumMod val="75000"/>
                    <a:lumOff val="25000"/>
                  </a:srgbClr>
                </a:solidFill>
                <a:effectLst/>
                <a:uLnTx/>
                <a:uFillTx/>
                <a:latin typeface="Meiryo UI"/>
                <a:ea typeface="Meiryo UI"/>
                <a:cs typeface="+mn-cs"/>
              </a:rPr>
              <a:t>4</a:t>
            </a:r>
            <a:r>
              <a:rPr kumimoji="1" lang="ja-JP" altLang="en-US" sz="1200" b="0" i="0" u="none" strike="noStrike" kern="0" cap="none" spc="0" normalizeH="0" baseline="0" noProof="0">
                <a:ln>
                  <a:noFill/>
                </a:ln>
                <a:solidFill>
                  <a:srgbClr val="000000">
                    <a:lumMod val="75000"/>
                    <a:lumOff val="25000"/>
                  </a:srgbClr>
                </a:solidFill>
                <a:effectLst/>
                <a:uLnTx/>
                <a:uFillTx/>
                <a:latin typeface="Meiryo UI"/>
                <a:ea typeface="Meiryo UI"/>
                <a:cs typeface="+mn-cs"/>
              </a:rPr>
              <a:t>位</a:t>
            </a:r>
            <a:endParaRPr kumimoji="1" lang="en-US" altLang="ja-JP" sz="1200" b="0" i="0" u="none" strike="noStrike" kern="0" cap="none" spc="0" normalizeH="0" baseline="0" noProof="0">
              <a:ln>
                <a:noFill/>
              </a:ln>
              <a:solidFill>
                <a:srgbClr val="000000">
                  <a:lumMod val="75000"/>
                  <a:lumOff val="25000"/>
                </a:srgbClr>
              </a:solidFill>
              <a:effectLst/>
              <a:uLnTx/>
              <a:uFillTx/>
              <a:latin typeface="Meiryo UI"/>
              <a:ea typeface="Meiryo UI"/>
              <a:cs typeface="+mn-cs"/>
            </a:endParaRPr>
          </a:p>
        </p:txBody>
      </p:sp>
      <p:sp>
        <p:nvSpPr>
          <p:cNvPr id="85" name="テキスト ボックス 16">
            <a:extLst>
              <a:ext uri="{FF2B5EF4-FFF2-40B4-BE49-F238E27FC236}">
                <a16:creationId xmlns:a16="http://schemas.microsoft.com/office/drawing/2014/main" id="{A8D28730-ADC9-14C2-F4C6-CA3E6948FA6E}"/>
              </a:ext>
            </a:extLst>
          </p:cNvPr>
          <p:cNvSpPr txBox="1"/>
          <p:nvPr/>
        </p:nvSpPr>
        <p:spPr bwMode="gray">
          <a:xfrm>
            <a:off x="9667160" y="4312198"/>
            <a:ext cx="537177" cy="396867"/>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371433" rtl="0" eaLnBrk="1" fontAlgn="auto" latinLnBrk="0" hangingPunct="1">
              <a:lnSpc>
                <a:spcPct val="120000"/>
              </a:lnSpc>
              <a:spcBef>
                <a:spcPts val="0"/>
              </a:spcBef>
              <a:spcAft>
                <a:spcPts val="244"/>
              </a:spcAft>
              <a:buClrTx/>
              <a:buSzTx/>
              <a:buFontTx/>
              <a:buNone/>
              <a:tabLst/>
              <a:defRPr/>
            </a:pPr>
            <a:r>
              <a:rPr kumimoji="1" lang="en-US" altLang="ja-JP" sz="1200" b="0" i="0" u="none" strike="noStrike" kern="0" cap="none" spc="0" normalizeH="0" baseline="0" noProof="0">
                <a:ln>
                  <a:noFill/>
                </a:ln>
                <a:solidFill>
                  <a:srgbClr val="000000">
                    <a:lumMod val="75000"/>
                    <a:lumOff val="25000"/>
                  </a:srgbClr>
                </a:solidFill>
                <a:effectLst/>
                <a:uLnTx/>
                <a:uFillTx/>
                <a:latin typeface="Meiryo UI"/>
                <a:ea typeface="Meiryo UI"/>
                <a:cs typeface="+mn-cs"/>
              </a:rPr>
              <a:t>5</a:t>
            </a:r>
            <a:r>
              <a:rPr kumimoji="1" lang="ja-JP" altLang="en-US" sz="1200" b="0" i="0" u="none" strike="noStrike" kern="0" cap="none" spc="0" normalizeH="0" baseline="0" noProof="0">
                <a:ln>
                  <a:noFill/>
                </a:ln>
                <a:solidFill>
                  <a:srgbClr val="000000">
                    <a:lumMod val="75000"/>
                    <a:lumOff val="25000"/>
                  </a:srgbClr>
                </a:solidFill>
                <a:effectLst/>
                <a:uLnTx/>
                <a:uFillTx/>
                <a:latin typeface="Meiryo UI"/>
                <a:ea typeface="Meiryo UI"/>
                <a:cs typeface="+mn-cs"/>
              </a:rPr>
              <a:t>位</a:t>
            </a:r>
            <a:endParaRPr kumimoji="1" lang="en-US" altLang="ja-JP" sz="1200" b="0" i="0" u="none" strike="noStrike" kern="0" cap="none" spc="0" normalizeH="0" baseline="0" noProof="0">
              <a:ln>
                <a:noFill/>
              </a:ln>
              <a:solidFill>
                <a:srgbClr val="000000">
                  <a:lumMod val="75000"/>
                  <a:lumOff val="25000"/>
                </a:srgbClr>
              </a:solidFill>
              <a:effectLst/>
              <a:uLnTx/>
              <a:uFillTx/>
              <a:latin typeface="Meiryo UI"/>
              <a:ea typeface="Meiryo UI"/>
              <a:cs typeface="+mn-cs"/>
            </a:endParaRPr>
          </a:p>
        </p:txBody>
      </p:sp>
      <p:cxnSp>
        <p:nvCxnSpPr>
          <p:cNvPr id="86" name="直線コネクタ 85">
            <a:extLst>
              <a:ext uri="{FF2B5EF4-FFF2-40B4-BE49-F238E27FC236}">
                <a16:creationId xmlns:a16="http://schemas.microsoft.com/office/drawing/2014/main" id="{A349818F-A9EC-E6B2-7A45-B7079583AE98}"/>
              </a:ext>
            </a:extLst>
          </p:cNvPr>
          <p:cNvCxnSpPr>
            <a:cxnSpLocks/>
          </p:cNvCxnSpPr>
          <p:nvPr/>
        </p:nvCxnSpPr>
        <p:spPr>
          <a:xfrm>
            <a:off x="207917" y="3725313"/>
            <a:ext cx="1508664" cy="0"/>
          </a:xfrm>
          <a:prstGeom prst="line">
            <a:avLst/>
          </a:prstGeom>
          <a:ln w="12700">
            <a:solidFill>
              <a:srgbClr val="FF0000"/>
            </a:solidFill>
          </a:ln>
          <a:effectLst/>
        </p:spPr>
        <p:style>
          <a:lnRef idx="2">
            <a:schemeClr val="accent1"/>
          </a:lnRef>
          <a:fillRef idx="0">
            <a:schemeClr val="accent1"/>
          </a:fillRef>
          <a:effectRef idx="1">
            <a:schemeClr val="accent1"/>
          </a:effectRef>
          <a:fontRef idx="minor">
            <a:schemeClr val="tx1"/>
          </a:fontRef>
        </p:style>
      </p:cxnSp>
      <p:cxnSp>
        <p:nvCxnSpPr>
          <p:cNvPr id="87" name="直線コネクタ 86">
            <a:extLst>
              <a:ext uri="{FF2B5EF4-FFF2-40B4-BE49-F238E27FC236}">
                <a16:creationId xmlns:a16="http://schemas.microsoft.com/office/drawing/2014/main" id="{2188F4D0-519C-63A2-1444-88052C2928C2}"/>
              </a:ext>
            </a:extLst>
          </p:cNvPr>
          <p:cNvCxnSpPr>
            <a:cxnSpLocks/>
          </p:cNvCxnSpPr>
          <p:nvPr/>
        </p:nvCxnSpPr>
        <p:spPr>
          <a:xfrm>
            <a:off x="6570047" y="3712613"/>
            <a:ext cx="2597944" cy="5399"/>
          </a:xfrm>
          <a:prstGeom prst="line">
            <a:avLst/>
          </a:prstGeom>
          <a:ln w="12700">
            <a:solidFill>
              <a:srgbClr val="FF0000"/>
            </a:solidFill>
          </a:ln>
          <a:effectLst/>
        </p:spPr>
        <p:style>
          <a:lnRef idx="2">
            <a:schemeClr val="accent1"/>
          </a:lnRef>
          <a:fillRef idx="0">
            <a:schemeClr val="accent1"/>
          </a:fillRef>
          <a:effectRef idx="1">
            <a:schemeClr val="accent1"/>
          </a:effectRef>
          <a:fontRef idx="minor">
            <a:schemeClr val="tx1"/>
          </a:fontRef>
        </p:style>
      </p:cxnSp>
      <p:cxnSp>
        <p:nvCxnSpPr>
          <p:cNvPr id="88" name="直線コネクタ 87">
            <a:extLst>
              <a:ext uri="{FF2B5EF4-FFF2-40B4-BE49-F238E27FC236}">
                <a16:creationId xmlns:a16="http://schemas.microsoft.com/office/drawing/2014/main" id="{D742C10C-97E1-92AA-1104-097B0BE54CC2}"/>
              </a:ext>
            </a:extLst>
          </p:cNvPr>
          <p:cNvCxnSpPr>
            <a:cxnSpLocks/>
          </p:cNvCxnSpPr>
          <p:nvPr/>
        </p:nvCxnSpPr>
        <p:spPr>
          <a:xfrm>
            <a:off x="9034792" y="3720324"/>
            <a:ext cx="2597944" cy="5399"/>
          </a:xfrm>
          <a:prstGeom prst="line">
            <a:avLst/>
          </a:prstGeom>
          <a:ln w="12700">
            <a:solidFill>
              <a:srgbClr val="FF0000"/>
            </a:solidFill>
          </a:ln>
          <a:effectLst/>
        </p:spPr>
        <p:style>
          <a:lnRef idx="2">
            <a:schemeClr val="accent1"/>
          </a:lnRef>
          <a:fillRef idx="0">
            <a:schemeClr val="accent1"/>
          </a:fillRef>
          <a:effectRef idx="1">
            <a:schemeClr val="accent1"/>
          </a:effectRef>
          <a:fontRef idx="minor">
            <a:schemeClr val="tx1"/>
          </a:fontRef>
        </p:style>
      </p:cxnSp>
      <p:pic>
        <p:nvPicPr>
          <p:cNvPr id="89" name="図 88">
            <a:extLst>
              <a:ext uri="{FF2B5EF4-FFF2-40B4-BE49-F238E27FC236}">
                <a16:creationId xmlns:a16="http://schemas.microsoft.com/office/drawing/2014/main" id="{64BA19AF-858E-89C3-35DA-539E3D203668}"/>
              </a:ext>
            </a:extLst>
          </p:cNvPr>
          <p:cNvPicPr>
            <a:picLocks noChangeAspect="1"/>
          </p:cNvPicPr>
          <p:nvPr/>
        </p:nvPicPr>
        <p:blipFill>
          <a:blip r:embed="rId16"/>
          <a:stretch>
            <a:fillRect/>
          </a:stretch>
        </p:blipFill>
        <p:spPr>
          <a:xfrm>
            <a:off x="186355" y="3221187"/>
            <a:ext cx="11662957" cy="2311746"/>
          </a:xfrm>
          <a:prstGeom prst="rect">
            <a:avLst/>
          </a:prstGeom>
        </p:spPr>
      </p:pic>
      <p:sp>
        <p:nvSpPr>
          <p:cNvPr id="90" name="テキスト ボックス 142">
            <a:extLst>
              <a:ext uri="{FF2B5EF4-FFF2-40B4-BE49-F238E27FC236}">
                <a16:creationId xmlns:a16="http://schemas.microsoft.com/office/drawing/2014/main" id="{2ADD0947-A072-4AF0-D1BC-7DB41F28F13D}"/>
              </a:ext>
            </a:extLst>
          </p:cNvPr>
          <p:cNvSpPr txBox="1"/>
          <p:nvPr/>
        </p:nvSpPr>
        <p:spPr>
          <a:xfrm>
            <a:off x="525020" y="3220399"/>
            <a:ext cx="1004455" cy="392133"/>
          </a:xfrm>
          <a:prstGeom prst="rect">
            <a:avLst/>
          </a:prstGeom>
          <a:noFill/>
          <a:ln w="9525" cmpd="sng">
            <a:noFill/>
          </a:ln>
          <a:effectLst/>
        </p:spPr>
        <p:txBody>
          <a:bodyPr wrap="square"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600" b="1" i="0" u="none" strike="noStrike" kern="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cs typeface="+mn-cs"/>
              </a:rPr>
              <a:t>募集資料</a:t>
            </a:r>
          </a:p>
        </p:txBody>
      </p:sp>
      <p:cxnSp>
        <p:nvCxnSpPr>
          <p:cNvPr id="91" name="直線コネクタ 90">
            <a:extLst>
              <a:ext uri="{FF2B5EF4-FFF2-40B4-BE49-F238E27FC236}">
                <a16:creationId xmlns:a16="http://schemas.microsoft.com/office/drawing/2014/main" id="{F000C578-CF70-B409-19E6-77E7C8D158B0}"/>
              </a:ext>
            </a:extLst>
          </p:cNvPr>
          <p:cNvCxnSpPr>
            <a:cxnSpLocks/>
          </p:cNvCxnSpPr>
          <p:nvPr/>
        </p:nvCxnSpPr>
        <p:spPr>
          <a:xfrm>
            <a:off x="554428" y="3621892"/>
            <a:ext cx="11128074" cy="0"/>
          </a:xfrm>
          <a:prstGeom prst="line">
            <a:avLst/>
          </a:prstGeom>
          <a:ln w="3175">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sp>
        <p:nvSpPr>
          <p:cNvPr id="92" name="テキスト ボックス 152">
            <a:extLst>
              <a:ext uri="{FF2B5EF4-FFF2-40B4-BE49-F238E27FC236}">
                <a16:creationId xmlns:a16="http://schemas.microsoft.com/office/drawing/2014/main" id="{8EF520F2-C178-906B-D1AF-327C371097F6}"/>
              </a:ext>
            </a:extLst>
          </p:cNvPr>
          <p:cNvSpPr txBox="1"/>
          <p:nvPr/>
        </p:nvSpPr>
        <p:spPr>
          <a:xfrm>
            <a:off x="376852" y="3739769"/>
            <a:ext cx="1547102" cy="389660"/>
          </a:xfrm>
          <a:prstGeom prst="rect">
            <a:avLst/>
          </a:prstGeom>
          <a:noFill/>
          <a:ln w="9525" cmpd="sng">
            <a:noFill/>
          </a:ln>
          <a:effectLst/>
        </p:spPr>
        <p:txBody>
          <a:bodyPr wrap="square"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400" b="1" i="0" u="none" strike="noStrike" kern="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cs typeface="+mn-cs"/>
              </a:rPr>
              <a:t>カテゴリから探す</a:t>
            </a:r>
          </a:p>
        </p:txBody>
      </p:sp>
      <p:sp>
        <p:nvSpPr>
          <p:cNvPr id="93" name="テキスト ボックス 152">
            <a:extLst>
              <a:ext uri="{FF2B5EF4-FFF2-40B4-BE49-F238E27FC236}">
                <a16:creationId xmlns:a16="http://schemas.microsoft.com/office/drawing/2014/main" id="{E5E8C33A-4ED2-7B34-4CC0-67FC8A18CCCB}"/>
              </a:ext>
            </a:extLst>
          </p:cNvPr>
          <p:cNvSpPr txBox="1"/>
          <p:nvPr/>
        </p:nvSpPr>
        <p:spPr>
          <a:xfrm>
            <a:off x="593987" y="4386602"/>
            <a:ext cx="1329967" cy="203760"/>
          </a:xfrm>
          <a:prstGeom prst="rect">
            <a:avLst/>
          </a:prstGeom>
          <a:noFill/>
          <a:ln w="9525" cmpd="sng">
            <a:noFill/>
          </a:ln>
          <a:effectLst/>
        </p:spPr>
        <p:txBody>
          <a:bodyPr wrap="square"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cs typeface="+mn-cs"/>
              </a:rPr>
              <a:t>資産形成</a:t>
            </a:r>
          </a:p>
        </p:txBody>
      </p:sp>
      <p:sp>
        <p:nvSpPr>
          <p:cNvPr id="94" name="テキスト ボックス 152">
            <a:extLst>
              <a:ext uri="{FF2B5EF4-FFF2-40B4-BE49-F238E27FC236}">
                <a16:creationId xmlns:a16="http://schemas.microsoft.com/office/drawing/2014/main" id="{87F2B9D6-32E0-9FC9-CD81-CFE8A71F7BF7}"/>
              </a:ext>
            </a:extLst>
          </p:cNvPr>
          <p:cNvSpPr txBox="1"/>
          <p:nvPr/>
        </p:nvSpPr>
        <p:spPr>
          <a:xfrm>
            <a:off x="593987" y="4690760"/>
            <a:ext cx="1329967" cy="203760"/>
          </a:xfrm>
          <a:prstGeom prst="rect">
            <a:avLst/>
          </a:prstGeom>
          <a:noFill/>
          <a:ln w="9525" cmpd="sng">
            <a:noFill/>
          </a:ln>
          <a:effectLst/>
        </p:spPr>
        <p:txBody>
          <a:bodyPr wrap="square"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cs typeface="+mn-cs"/>
              </a:rPr>
              <a:t>社会保障・税制</a:t>
            </a:r>
          </a:p>
        </p:txBody>
      </p:sp>
      <p:sp>
        <p:nvSpPr>
          <p:cNvPr id="95" name="テキスト ボックス 152">
            <a:extLst>
              <a:ext uri="{FF2B5EF4-FFF2-40B4-BE49-F238E27FC236}">
                <a16:creationId xmlns:a16="http://schemas.microsoft.com/office/drawing/2014/main" id="{2F3521AE-4CAB-C121-9737-8BE26BFDF952}"/>
              </a:ext>
            </a:extLst>
          </p:cNvPr>
          <p:cNvSpPr txBox="1"/>
          <p:nvPr/>
        </p:nvSpPr>
        <p:spPr>
          <a:xfrm>
            <a:off x="593987" y="4990550"/>
            <a:ext cx="1329967" cy="203760"/>
          </a:xfrm>
          <a:prstGeom prst="rect">
            <a:avLst/>
          </a:prstGeom>
          <a:noFill/>
          <a:ln w="9525" cmpd="sng">
            <a:noFill/>
          </a:ln>
          <a:effectLst/>
        </p:spPr>
        <p:txBody>
          <a:bodyPr wrap="square"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cs typeface="+mn-cs"/>
              </a:rPr>
              <a:t>法人</a:t>
            </a:r>
          </a:p>
        </p:txBody>
      </p:sp>
      <p:pic>
        <p:nvPicPr>
          <p:cNvPr id="96" name="グラフィックス 95" descr="左矢印付きの円 単色塗りつぶし">
            <a:extLst>
              <a:ext uri="{FF2B5EF4-FFF2-40B4-BE49-F238E27FC236}">
                <a16:creationId xmlns:a16="http://schemas.microsoft.com/office/drawing/2014/main" id="{E5331123-40CF-BF74-30D3-FB4AA7AE5780}"/>
              </a:ext>
            </a:extLst>
          </p:cNvPr>
          <p:cNvPicPr>
            <a:picLocks noChangeAspect="1"/>
          </p:cNvPicPr>
          <p:nvPr/>
        </p:nvPicPr>
        <p:blipFill>
          <a:blip r:embed="rId17" cstate="print">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rot="10800000">
            <a:off x="1702931" y="4366987"/>
            <a:ext cx="218471" cy="218471"/>
          </a:xfrm>
          <a:prstGeom prst="rect">
            <a:avLst/>
          </a:prstGeom>
        </p:spPr>
      </p:pic>
      <p:pic>
        <p:nvPicPr>
          <p:cNvPr id="97" name="グラフィックス 96" descr="左矢印付きの円 単色塗りつぶし">
            <a:extLst>
              <a:ext uri="{FF2B5EF4-FFF2-40B4-BE49-F238E27FC236}">
                <a16:creationId xmlns:a16="http://schemas.microsoft.com/office/drawing/2014/main" id="{0A7760ED-8875-99ED-34FF-AF9AD055655E}"/>
              </a:ext>
            </a:extLst>
          </p:cNvPr>
          <p:cNvPicPr>
            <a:picLocks noChangeAspect="1"/>
          </p:cNvPicPr>
          <p:nvPr/>
        </p:nvPicPr>
        <p:blipFill>
          <a:blip r:embed="rId17" cstate="print">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rot="10800000">
            <a:off x="1702931" y="4680687"/>
            <a:ext cx="218471" cy="218471"/>
          </a:xfrm>
          <a:prstGeom prst="rect">
            <a:avLst/>
          </a:prstGeom>
        </p:spPr>
      </p:pic>
      <p:pic>
        <p:nvPicPr>
          <p:cNvPr id="98" name="グラフィックス 97" descr="左矢印付きの円 単色塗りつぶし">
            <a:extLst>
              <a:ext uri="{FF2B5EF4-FFF2-40B4-BE49-F238E27FC236}">
                <a16:creationId xmlns:a16="http://schemas.microsoft.com/office/drawing/2014/main" id="{F7F8DDBE-2FAC-DF4F-28E6-004CCB756523}"/>
              </a:ext>
            </a:extLst>
          </p:cNvPr>
          <p:cNvPicPr>
            <a:picLocks noChangeAspect="1"/>
          </p:cNvPicPr>
          <p:nvPr/>
        </p:nvPicPr>
        <p:blipFill>
          <a:blip r:embed="rId17" cstate="print">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rot="10800000">
            <a:off x="1702931" y="4981014"/>
            <a:ext cx="218471" cy="218471"/>
          </a:xfrm>
          <a:prstGeom prst="rect">
            <a:avLst/>
          </a:prstGeom>
        </p:spPr>
      </p:pic>
      <p:sp>
        <p:nvSpPr>
          <p:cNvPr id="99" name="テキスト ボックス 152">
            <a:extLst>
              <a:ext uri="{FF2B5EF4-FFF2-40B4-BE49-F238E27FC236}">
                <a16:creationId xmlns:a16="http://schemas.microsoft.com/office/drawing/2014/main" id="{4D407C68-B75D-1EE1-0D0E-D8C944328C40}"/>
              </a:ext>
            </a:extLst>
          </p:cNvPr>
          <p:cNvSpPr txBox="1"/>
          <p:nvPr/>
        </p:nvSpPr>
        <p:spPr>
          <a:xfrm>
            <a:off x="3286833" y="4010509"/>
            <a:ext cx="1329967" cy="203760"/>
          </a:xfrm>
          <a:prstGeom prst="rect">
            <a:avLst/>
          </a:prstGeom>
          <a:noFill/>
          <a:ln w="9525" cmpd="sng">
            <a:noFill/>
          </a:ln>
          <a:effectLst/>
        </p:spPr>
        <p:txBody>
          <a:bodyPr wrap="square"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cs typeface="+mn-cs"/>
              </a:rPr>
              <a:t>グループ・提携商品</a:t>
            </a:r>
          </a:p>
        </p:txBody>
      </p:sp>
      <p:sp>
        <p:nvSpPr>
          <p:cNvPr id="100" name="テキスト ボックス 152">
            <a:extLst>
              <a:ext uri="{FF2B5EF4-FFF2-40B4-BE49-F238E27FC236}">
                <a16:creationId xmlns:a16="http://schemas.microsoft.com/office/drawing/2014/main" id="{374170F4-A5B4-1745-4E95-8F97F79C7131}"/>
              </a:ext>
            </a:extLst>
          </p:cNvPr>
          <p:cNvSpPr txBox="1"/>
          <p:nvPr/>
        </p:nvSpPr>
        <p:spPr>
          <a:xfrm>
            <a:off x="2128634" y="4411163"/>
            <a:ext cx="1329967" cy="203760"/>
          </a:xfrm>
          <a:prstGeom prst="rect">
            <a:avLst/>
          </a:prstGeom>
          <a:noFill/>
          <a:ln w="9525" cmpd="sng">
            <a:noFill/>
          </a:ln>
          <a:effectLst/>
        </p:spPr>
        <p:txBody>
          <a:bodyPr wrap="square"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cs typeface="+mn-cs"/>
              </a:rPr>
              <a:t>採用</a:t>
            </a:r>
          </a:p>
        </p:txBody>
      </p:sp>
      <p:sp>
        <p:nvSpPr>
          <p:cNvPr id="101" name="テキスト ボックス 152">
            <a:extLst>
              <a:ext uri="{FF2B5EF4-FFF2-40B4-BE49-F238E27FC236}">
                <a16:creationId xmlns:a16="http://schemas.microsoft.com/office/drawing/2014/main" id="{AC9E9AC9-FABE-C86A-269B-5D2B4B7DADAC}"/>
              </a:ext>
            </a:extLst>
          </p:cNvPr>
          <p:cNvSpPr txBox="1"/>
          <p:nvPr/>
        </p:nvSpPr>
        <p:spPr>
          <a:xfrm>
            <a:off x="2128633" y="4715374"/>
            <a:ext cx="1329967" cy="203760"/>
          </a:xfrm>
          <a:prstGeom prst="rect">
            <a:avLst/>
          </a:prstGeom>
          <a:noFill/>
          <a:ln w="9525" cmpd="sng">
            <a:noFill/>
          </a:ln>
          <a:effectLst/>
        </p:spPr>
        <p:txBody>
          <a:bodyPr wrap="square"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cs typeface="+mn-cs"/>
              </a:rPr>
              <a:t>団体保険</a:t>
            </a:r>
          </a:p>
        </p:txBody>
      </p:sp>
      <p:sp>
        <p:nvSpPr>
          <p:cNvPr id="102" name="テキスト ボックス 152">
            <a:extLst>
              <a:ext uri="{FF2B5EF4-FFF2-40B4-BE49-F238E27FC236}">
                <a16:creationId xmlns:a16="http://schemas.microsoft.com/office/drawing/2014/main" id="{0A8A352C-3D86-8DAF-BAE4-ACA02ADB84A9}"/>
              </a:ext>
            </a:extLst>
          </p:cNvPr>
          <p:cNvSpPr txBox="1"/>
          <p:nvPr/>
        </p:nvSpPr>
        <p:spPr>
          <a:xfrm>
            <a:off x="2128632" y="5019585"/>
            <a:ext cx="1329967" cy="203760"/>
          </a:xfrm>
          <a:prstGeom prst="rect">
            <a:avLst/>
          </a:prstGeom>
          <a:noFill/>
          <a:ln w="9525" cmpd="sng">
            <a:noFill/>
          </a:ln>
          <a:effectLst/>
        </p:spPr>
        <p:txBody>
          <a:bodyPr wrap="square"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cs typeface="+mn-cs"/>
              </a:rPr>
              <a:t>その他</a:t>
            </a:r>
          </a:p>
        </p:txBody>
      </p:sp>
      <p:pic>
        <p:nvPicPr>
          <p:cNvPr id="103" name="グラフィックス 102" descr="左矢印付きの円 単色塗りつぶし">
            <a:extLst>
              <a:ext uri="{FF2B5EF4-FFF2-40B4-BE49-F238E27FC236}">
                <a16:creationId xmlns:a16="http://schemas.microsoft.com/office/drawing/2014/main" id="{D2364830-3EF2-936B-46CB-E45D1798778A}"/>
              </a:ext>
            </a:extLst>
          </p:cNvPr>
          <p:cNvPicPr>
            <a:picLocks noChangeAspect="1"/>
          </p:cNvPicPr>
          <p:nvPr/>
        </p:nvPicPr>
        <p:blipFill>
          <a:blip r:embed="rId17" cstate="print">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rot="10800000">
            <a:off x="4557289" y="4006413"/>
            <a:ext cx="218471" cy="218471"/>
          </a:xfrm>
          <a:prstGeom prst="rect">
            <a:avLst/>
          </a:prstGeom>
        </p:spPr>
      </p:pic>
      <p:pic>
        <p:nvPicPr>
          <p:cNvPr id="104" name="グラフィックス 103" descr="左矢印付きの円 単色塗りつぶし">
            <a:extLst>
              <a:ext uri="{FF2B5EF4-FFF2-40B4-BE49-F238E27FC236}">
                <a16:creationId xmlns:a16="http://schemas.microsoft.com/office/drawing/2014/main" id="{2B78E431-BAD7-B3A2-F8E7-BCF6EC57986C}"/>
              </a:ext>
            </a:extLst>
          </p:cNvPr>
          <p:cNvPicPr>
            <a:picLocks noChangeAspect="1"/>
          </p:cNvPicPr>
          <p:nvPr/>
        </p:nvPicPr>
        <p:blipFill>
          <a:blip r:embed="rId17" cstate="print">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rot="10800000">
            <a:off x="4557289" y="4282072"/>
            <a:ext cx="218471" cy="218471"/>
          </a:xfrm>
          <a:prstGeom prst="rect">
            <a:avLst/>
          </a:prstGeom>
        </p:spPr>
      </p:pic>
      <p:pic>
        <p:nvPicPr>
          <p:cNvPr id="105" name="グラフィックス 104" descr="左矢印付きの円 単色塗りつぶし">
            <a:extLst>
              <a:ext uri="{FF2B5EF4-FFF2-40B4-BE49-F238E27FC236}">
                <a16:creationId xmlns:a16="http://schemas.microsoft.com/office/drawing/2014/main" id="{9DA15E90-A599-22FF-D2E2-256FE47B3A43}"/>
              </a:ext>
            </a:extLst>
          </p:cNvPr>
          <p:cNvPicPr>
            <a:picLocks noChangeAspect="1"/>
          </p:cNvPicPr>
          <p:nvPr/>
        </p:nvPicPr>
        <p:blipFill>
          <a:blip r:embed="rId17" cstate="print">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rot="10800000">
            <a:off x="4557289" y="4595772"/>
            <a:ext cx="218471" cy="218471"/>
          </a:xfrm>
          <a:prstGeom prst="rect">
            <a:avLst/>
          </a:prstGeom>
        </p:spPr>
      </p:pic>
      <p:pic>
        <p:nvPicPr>
          <p:cNvPr id="106" name="グラフィックス 105" descr="左矢印付きの円 単色塗りつぶし">
            <a:extLst>
              <a:ext uri="{FF2B5EF4-FFF2-40B4-BE49-F238E27FC236}">
                <a16:creationId xmlns:a16="http://schemas.microsoft.com/office/drawing/2014/main" id="{A7F36D07-B06D-B187-9FF6-531CBDFD2C14}"/>
              </a:ext>
            </a:extLst>
          </p:cNvPr>
          <p:cNvPicPr>
            <a:picLocks noChangeAspect="1"/>
          </p:cNvPicPr>
          <p:nvPr/>
        </p:nvPicPr>
        <p:blipFill>
          <a:blip r:embed="rId17" cstate="print">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rot="10800000">
            <a:off x="4557289" y="4896099"/>
            <a:ext cx="218471" cy="218471"/>
          </a:xfrm>
          <a:prstGeom prst="rect">
            <a:avLst/>
          </a:prstGeom>
        </p:spPr>
      </p:pic>
      <p:sp>
        <p:nvSpPr>
          <p:cNvPr id="107" name="テキスト ボックス 152">
            <a:extLst>
              <a:ext uri="{FF2B5EF4-FFF2-40B4-BE49-F238E27FC236}">
                <a16:creationId xmlns:a16="http://schemas.microsoft.com/office/drawing/2014/main" id="{1B79DA8F-956E-F9F0-D317-CCBF8E5CD7DC}"/>
              </a:ext>
            </a:extLst>
          </p:cNvPr>
          <p:cNvSpPr txBox="1"/>
          <p:nvPr/>
        </p:nvSpPr>
        <p:spPr>
          <a:xfrm>
            <a:off x="4170768" y="4088299"/>
            <a:ext cx="1637035" cy="203760"/>
          </a:xfrm>
          <a:prstGeom prst="rect">
            <a:avLst/>
          </a:prstGeom>
          <a:noFill/>
          <a:ln w="9525" cmpd="sng">
            <a:noFill/>
          </a:ln>
          <a:effectLst/>
        </p:spPr>
        <p:txBody>
          <a:bodyPr wrap="square"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ja-JP" altLang="en-US" sz="1000">
                <a:solidFill>
                  <a:sysClr val="windowText" lastClr="000000"/>
                </a:solidFill>
                <a:latin typeface="Meiryo UI" panose="020B0604030504040204" pitchFamily="50" charset="-128"/>
                <a:ea typeface="Meiryo UI" panose="020B0604030504040204" pitchFamily="50" charset="-128"/>
              </a:rPr>
              <a:t>ヤング層</a:t>
            </a:r>
            <a:endParaRPr kumimoji="1" lang="ja-JP" altLang="en-US" sz="1000" b="0" i="0" u="none" strike="noStrike" kern="120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cs typeface="+mn-cs"/>
            </a:endParaRPr>
          </a:p>
        </p:txBody>
      </p:sp>
      <p:sp>
        <p:nvSpPr>
          <p:cNvPr id="108" name="テキスト ボックス 152">
            <a:extLst>
              <a:ext uri="{FF2B5EF4-FFF2-40B4-BE49-F238E27FC236}">
                <a16:creationId xmlns:a16="http://schemas.microsoft.com/office/drawing/2014/main" id="{2B0BFA6B-CF0D-BF5B-6699-015A215C00E8}"/>
              </a:ext>
            </a:extLst>
          </p:cNvPr>
          <p:cNvSpPr txBox="1"/>
          <p:nvPr/>
        </p:nvSpPr>
        <p:spPr>
          <a:xfrm>
            <a:off x="4170768" y="4381699"/>
            <a:ext cx="1834834" cy="203760"/>
          </a:xfrm>
          <a:prstGeom prst="rect">
            <a:avLst/>
          </a:prstGeom>
          <a:noFill/>
          <a:ln w="9525" cmpd="sng">
            <a:noFill/>
          </a:ln>
          <a:effectLst/>
        </p:spPr>
        <p:txBody>
          <a:bodyPr wrap="square"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cs typeface="+mn-cs"/>
              </a:rPr>
              <a:t>保障中核層</a:t>
            </a:r>
          </a:p>
        </p:txBody>
      </p:sp>
      <p:sp>
        <p:nvSpPr>
          <p:cNvPr id="109" name="テキスト ボックス 152">
            <a:extLst>
              <a:ext uri="{FF2B5EF4-FFF2-40B4-BE49-F238E27FC236}">
                <a16:creationId xmlns:a16="http://schemas.microsoft.com/office/drawing/2014/main" id="{295B3843-CC07-FE84-7621-E6D37FED12CD}"/>
              </a:ext>
            </a:extLst>
          </p:cNvPr>
          <p:cNvSpPr txBox="1"/>
          <p:nvPr/>
        </p:nvSpPr>
        <p:spPr>
          <a:xfrm>
            <a:off x="4170767" y="4983372"/>
            <a:ext cx="1329967" cy="203760"/>
          </a:xfrm>
          <a:prstGeom prst="rect">
            <a:avLst/>
          </a:prstGeom>
          <a:noFill/>
          <a:ln w="9525" cmpd="sng">
            <a:noFill/>
          </a:ln>
          <a:effectLst/>
        </p:spPr>
        <p:txBody>
          <a:bodyPr wrap="square"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cs typeface="+mn-cs"/>
              </a:rPr>
              <a:t>女性</a:t>
            </a:r>
          </a:p>
        </p:txBody>
      </p:sp>
      <p:sp>
        <p:nvSpPr>
          <p:cNvPr id="110" name="フローチャート: 代替処理 109">
            <a:extLst>
              <a:ext uri="{FF2B5EF4-FFF2-40B4-BE49-F238E27FC236}">
                <a16:creationId xmlns:a16="http://schemas.microsoft.com/office/drawing/2014/main" id="{D2ED504A-8743-11A1-4C97-71BD3810926D}"/>
              </a:ext>
            </a:extLst>
          </p:cNvPr>
          <p:cNvSpPr/>
          <p:nvPr/>
        </p:nvSpPr>
        <p:spPr>
          <a:xfrm>
            <a:off x="3591909" y="3844175"/>
            <a:ext cx="1533336" cy="2910632"/>
          </a:xfrm>
          <a:prstGeom prst="flowChartAlternateProcess">
            <a:avLst/>
          </a:prstGeom>
          <a:solidFill>
            <a:schemeClr val="bg1"/>
          </a:solidFill>
          <a:ln>
            <a:solidFill>
              <a:schemeClr val="bg1"/>
            </a:solid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white"/>
              </a:solidFill>
              <a:effectLst/>
              <a:uLnTx/>
              <a:uFillTx/>
              <a:latin typeface="Meiryo UI"/>
              <a:ea typeface="Meiryo UI"/>
              <a:cs typeface="+mn-cs"/>
            </a:endParaRPr>
          </a:p>
        </p:txBody>
      </p:sp>
      <p:sp>
        <p:nvSpPr>
          <p:cNvPr id="111" name="テキスト ボックス 159">
            <a:extLst>
              <a:ext uri="{FF2B5EF4-FFF2-40B4-BE49-F238E27FC236}">
                <a16:creationId xmlns:a16="http://schemas.microsoft.com/office/drawing/2014/main" id="{54780842-12F2-03B4-BB1A-2185093BED56}"/>
              </a:ext>
            </a:extLst>
          </p:cNvPr>
          <p:cNvSpPr txBox="1"/>
          <p:nvPr/>
        </p:nvSpPr>
        <p:spPr>
          <a:xfrm>
            <a:off x="3666662" y="4464356"/>
            <a:ext cx="1564479" cy="389660"/>
          </a:xfrm>
          <a:prstGeom prst="rect">
            <a:avLst/>
          </a:prstGeom>
          <a:noFill/>
          <a:ln w="9525" cmpd="sng">
            <a:noFill/>
          </a:ln>
          <a:effectLst/>
        </p:spPr>
        <p:txBody>
          <a:bodyPr wrap="square"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400" b="0" i="0" u="none" strike="noStrike" kern="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cs typeface="+mn-cs"/>
              </a:rPr>
              <a:t>NFL</a:t>
            </a:r>
            <a:endParaRPr kumimoji="1" lang="ja-JP" altLang="en-US" sz="1400" b="0" i="0" u="none" strike="noStrike" kern="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cs typeface="+mn-cs"/>
            </a:endParaRPr>
          </a:p>
        </p:txBody>
      </p:sp>
      <p:sp>
        <p:nvSpPr>
          <p:cNvPr id="112" name="テキスト ボックス 159">
            <a:extLst>
              <a:ext uri="{FF2B5EF4-FFF2-40B4-BE49-F238E27FC236}">
                <a16:creationId xmlns:a16="http://schemas.microsoft.com/office/drawing/2014/main" id="{46EE6B1E-BA80-4E9B-9162-E2F5A60B6D5A}"/>
              </a:ext>
            </a:extLst>
          </p:cNvPr>
          <p:cNvSpPr txBox="1"/>
          <p:nvPr/>
        </p:nvSpPr>
        <p:spPr>
          <a:xfrm>
            <a:off x="3700348" y="4797624"/>
            <a:ext cx="1564478" cy="389660"/>
          </a:xfrm>
          <a:prstGeom prst="rect">
            <a:avLst/>
          </a:prstGeom>
          <a:noFill/>
          <a:ln w="9525" cmpd="sng">
            <a:noFill/>
          </a:ln>
          <a:effectLst/>
        </p:spPr>
        <p:txBody>
          <a:bodyPr wrap="square"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cs typeface="+mn-cs"/>
              </a:rPr>
              <a:t>ペット保険</a:t>
            </a:r>
            <a:r>
              <a:rPr kumimoji="1" lang="en-US" altLang="ja-JP" sz="1400" b="0" i="0" u="none" strike="noStrike" kern="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cs typeface="+mn-cs"/>
              </a:rPr>
              <a:t>	</a:t>
            </a:r>
            <a:endParaRPr kumimoji="1" lang="ja-JP" altLang="en-US" sz="1400" b="0" i="0" u="none" strike="noStrike" kern="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cs typeface="+mn-cs"/>
            </a:endParaRPr>
          </a:p>
        </p:txBody>
      </p:sp>
      <p:sp>
        <p:nvSpPr>
          <p:cNvPr id="113" name="テキスト ボックス 159">
            <a:extLst>
              <a:ext uri="{FF2B5EF4-FFF2-40B4-BE49-F238E27FC236}">
                <a16:creationId xmlns:a16="http://schemas.microsoft.com/office/drawing/2014/main" id="{63DF2A9A-4A55-0C77-2A60-74C346F84C4D}"/>
              </a:ext>
            </a:extLst>
          </p:cNvPr>
          <p:cNvSpPr txBox="1"/>
          <p:nvPr/>
        </p:nvSpPr>
        <p:spPr>
          <a:xfrm>
            <a:off x="3669064" y="5213469"/>
            <a:ext cx="1564478" cy="389660"/>
          </a:xfrm>
          <a:prstGeom prst="rect">
            <a:avLst/>
          </a:prstGeom>
          <a:noFill/>
          <a:ln w="9525" cmpd="sng">
            <a:noFill/>
          </a:ln>
          <a:effectLst/>
        </p:spPr>
        <p:txBody>
          <a:bodyPr wrap="square"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cs typeface="+mn-cs"/>
              </a:rPr>
              <a:t>ベネステ</a:t>
            </a:r>
          </a:p>
        </p:txBody>
      </p:sp>
      <p:sp>
        <p:nvSpPr>
          <p:cNvPr id="114" name="テキスト ボックス 159">
            <a:extLst>
              <a:ext uri="{FF2B5EF4-FFF2-40B4-BE49-F238E27FC236}">
                <a16:creationId xmlns:a16="http://schemas.microsoft.com/office/drawing/2014/main" id="{F7792061-F076-DF72-8077-4430A1F3E4F7}"/>
              </a:ext>
            </a:extLst>
          </p:cNvPr>
          <p:cNvSpPr txBox="1"/>
          <p:nvPr/>
        </p:nvSpPr>
        <p:spPr>
          <a:xfrm>
            <a:off x="3700348" y="5667326"/>
            <a:ext cx="1549908" cy="389660"/>
          </a:xfrm>
          <a:prstGeom prst="rect">
            <a:avLst/>
          </a:prstGeom>
          <a:noFill/>
          <a:ln w="9525" cmpd="sng">
            <a:noFill/>
          </a:ln>
          <a:effectLst/>
        </p:spPr>
        <p:txBody>
          <a:bodyPr wrap="square"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cs typeface="+mn-cs"/>
              </a:rPr>
              <a:t>がん保険</a:t>
            </a:r>
          </a:p>
        </p:txBody>
      </p:sp>
      <p:sp>
        <p:nvSpPr>
          <p:cNvPr id="115" name="正方形/長方形 114">
            <a:extLst>
              <a:ext uri="{FF2B5EF4-FFF2-40B4-BE49-F238E27FC236}">
                <a16:creationId xmlns:a16="http://schemas.microsoft.com/office/drawing/2014/main" id="{F6000DBA-050D-732B-4F8F-963574260B81}"/>
              </a:ext>
            </a:extLst>
          </p:cNvPr>
          <p:cNvSpPr/>
          <p:nvPr/>
        </p:nvSpPr>
        <p:spPr>
          <a:xfrm>
            <a:off x="2163652" y="4060811"/>
            <a:ext cx="1421020" cy="280636"/>
          </a:xfrm>
          <a:prstGeom prst="rect">
            <a:avLst/>
          </a:prstGeom>
          <a:solidFill>
            <a:schemeClr val="bg1">
              <a:lumMod val="85000"/>
            </a:schemeClr>
          </a:solidFill>
          <a:ln w="12700" cap="flat" cmpd="sng" algn="ctr">
            <a:solidFill>
              <a:schemeClr val="bg1">
                <a:lumMod val="75000"/>
              </a:schemeClr>
            </a:solidFill>
            <a:prstDash val="solid"/>
            <a:miter lim="800000"/>
          </a:ln>
          <a:effectLst/>
        </p:spPr>
        <p:txBody>
          <a:bodyPr wrap="square" rtlCol="0"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defTabSz="742950" rtl="0" eaLnBrk="1" fontAlgn="auto" latinLnBrk="0" hangingPunct="1">
              <a:lnSpc>
                <a:spcPct val="100000"/>
              </a:lnSpc>
              <a:spcBef>
                <a:spcPts val="0"/>
              </a:spcBef>
              <a:spcAft>
                <a:spcPts val="0"/>
              </a:spcAft>
              <a:buClrTx/>
              <a:buSzTx/>
              <a:buFontTx/>
              <a:buNone/>
              <a:tabLst/>
              <a:defRPr/>
            </a:pPr>
            <a:endParaRPr kumimoji="0" lang="ja-JP" altLang="en-US" sz="1400" b="1" i="0" u="none" strike="noStrike" kern="0" cap="none" spc="0" normalizeH="0" baseline="0" noProof="0">
              <a:ln>
                <a:noFill/>
              </a:ln>
              <a:solidFill>
                <a:prstClr val="white"/>
              </a:solidFill>
              <a:effectLst/>
              <a:uLnTx/>
              <a:uFillTx/>
              <a:latin typeface="Meiryo UI"/>
              <a:ea typeface="Meiryo UI"/>
              <a:cs typeface="Arial"/>
            </a:endParaRPr>
          </a:p>
        </p:txBody>
      </p:sp>
      <p:sp>
        <p:nvSpPr>
          <p:cNvPr id="116" name="テキスト ボックス 152">
            <a:extLst>
              <a:ext uri="{FF2B5EF4-FFF2-40B4-BE49-F238E27FC236}">
                <a16:creationId xmlns:a16="http://schemas.microsoft.com/office/drawing/2014/main" id="{10A4CFFE-BFEC-49A9-BD0E-9CD912C57DF7}"/>
              </a:ext>
            </a:extLst>
          </p:cNvPr>
          <p:cNvSpPr txBox="1"/>
          <p:nvPr/>
        </p:nvSpPr>
        <p:spPr>
          <a:xfrm>
            <a:off x="593987" y="4088299"/>
            <a:ext cx="1329967" cy="203760"/>
          </a:xfrm>
          <a:prstGeom prst="rect">
            <a:avLst/>
          </a:prstGeom>
          <a:noFill/>
          <a:ln w="9525" cmpd="sng">
            <a:noFill/>
          </a:ln>
          <a:effectLst/>
        </p:spPr>
        <p:txBody>
          <a:bodyPr wrap="square"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cs typeface="+mn-cs"/>
              </a:rPr>
              <a:t>ジャスト</a:t>
            </a:r>
          </a:p>
        </p:txBody>
      </p:sp>
      <p:pic>
        <p:nvPicPr>
          <p:cNvPr id="117" name="グラフィックス 116" descr="左矢印付きの円 単色塗りつぶし">
            <a:extLst>
              <a:ext uri="{FF2B5EF4-FFF2-40B4-BE49-F238E27FC236}">
                <a16:creationId xmlns:a16="http://schemas.microsoft.com/office/drawing/2014/main" id="{739E00F7-A23A-D951-8754-7CCF5D846470}"/>
              </a:ext>
            </a:extLst>
          </p:cNvPr>
          <p:cNvPicPr>
            <a:picLocks noChangeAspect="1"/>
          </p:cNvPicPr>
          <p:nvPr/>
        </p:nvPicPr>
        <p:blipFill>
          <a:blip r:embed="rId17" cstate="print">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rot="10800000">
            <a:off x="1702931" y="4091328"/>
            <a:ext cx="218471" cy="218471"/>
          </a:xfrm>
          <a:prstGeom prst="rect">
            <a:avLst/>
          </a:prstGeom>
        </p:spPr>
      </p:pic>
      <p:sp>
        <p:nvSpPr>
          <p:cNvPr id="118" name="正方形/長方形 117">
            <a:extLst>
              <a:ext uri="{FF2B5EF4-FFF2-40B4-BE49-F238E27FC236}">
                <a16:creationId xmlns:a16="http://schemas.microsoft.com/office/drawing/2014/main" id="{80ECD762-1613-4929-9F55-03C545BBF17C}"/>
              </a:ext>
            </a:extLst>
          </p:cNvPr>
          <p:cNvSpPr/>
          <p:nvPr/>
        </p:nvSpPr>
        <p:spPr>
          <a:xfrm>
            <a:off x="3671642" y="3985614"/>
            <a:ext cx="1305060" cy="389656"/>
          </a:xfrm>
          <a:prstGeom prst="rect">
            <a:avLst/>
          </a:prstGeom>
          <a:solidFill>
            <a:srgbClr val="002060">
              <a:alpha val="50196"/>
            </a:srgbClr>
          </a:solidFill>
          <a:ln>
            <a:solidFill>
              <a:srgbClr val="002060"/>
            </a:solid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white"/>
              </a:solidFill>
              <a:effectLst/>
              <a:uLnTx/>
              <a:uFillTx/>
              <a:latin typeface="Meiryo UI"/>
              <a:ea typeface="Meiryo UI"/>
              <a:cs typeface="+mn-cs"/>
            </a:endParaRPr>
          </a:p>
        </p:txBody>
      </p:sp>
      <p:sp>
        <p:nvSpPr>
          <p:cNvPr id="119" name="テキスト ボックス 159">
            <a:extLst>
              <a:ext uri="{FF2B5EF4-FFF2-40B4-BE49-F238E27FC236}">
                <a16:creationId xmlns:a16="http://schemas.microsoft.com/office/drawing/2014/main" id="{0B6D9B03-4FE7-F5DB-D3C0-57065D9345AA}"/>
              </a:ext>
            </a:extLst>
          </p:cNvPr>
          <p:cNvSpPr txBox="1"/>
          <p:nvPr/>
        </p:nvSpPr>
        <p:spPr>
          <a:xfrm>
            <a:off x="3691245" y="3993540"/>
            <a:ext cx="2112062" cy="389660"/>
          </a:xfrm>
          <a:prstGeom prst="rect">
            <a:avLst/>
          </a:prstGeom>
          <a:noFill/>
          <a:ln w="9525" cmpd="sng">
            <a:noFill/>
          </a:ln>
          <a:effectLst/>
        </p:spPr>
        <p:txBody>
          <a:bodyPr wrap="square"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tLang="ja-JP" sz="1400" b="1" kern="0">
                <a:solidFill>
                  <a:prstClr val="white"/>
                </a:solidFill>
                <a:latin typeface="Meiryo UI" panose="020B0604030504040204" pitchFamily="50" charset="-128"/>
                <a:ea typeface="Meiryo UI" panose="020B0604030504040204" pitchFamily="50" charset="-128"/>
              </a:rPr>
              <a:t>DFL</a:t>
            </a:r>
          </a:p>
        </p:txBody>
      </p:sp>
      <p:sp>
        <p:nvSpPr>
          <p:cNvPr id="120" name="テキスト ボックス 159">
            <a:extLst>
              <a:ext uri="{FF2B5EF4-FFF2-40B4-BE49-F238E27FC236}">
                <a16:creationId xmlns:a16="http://schemas.microsoft.com/office/drawing/2014/main" id="{A078856E-6471-4F59-D66D-01C087DE094B}"/>
              </a:ext>
            </a:extLst>
          </p:cNvPr>
          <p:cNvSpPr txBox="1"/>
          <p:nvPr/>
        </p:nvSpPr>
        <p:spPr>
          <a:xfrm>
            <a:off x="3666663" y="6110535"/>
            <a:ext cx="1598163" cy="389660"/>
          </a:xfrm>
          <a:prstGeom prst="rect">
            <a:avLst/>
          </a:prstGeom>
          <a:noFill/>
          <a:ln w="9525" cmpd="sng">
            <a:noFill/>
          </a:ln>
          <a:effectLst/>
        </p:spPr>
        <p:txBody>
          <a:bodyPr wrap="square"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cs typeface="+mn-cs"/>
              </a:rPr>
              <a:t>損害保険</a:t>
            </a:r>
          </a:p>
        </p:txBody>
      </p:sp>
      <p:grpSp>
        <p:nvGrpSpPr>
          <p:cNvPr id="121" name="グループ化 120">
            <a:extLst>
              <a:ext uri="{FF2B5EF4-FFF2-40B4-BE49-F238E27FC236}">
                <a16:creationId xmlns:a16="http://schemas.microsoft.com/office/drawing/2014/main" id="{84F3D8D9-A34B-9EA4-8B31-1960B00558B2}"/>
              </a:ext>
            </a:extLst>
          </p:cNvPr>
          <p:cNvGrpSpPr/>
          <p:nvPr/>
        </p:nvGrpSpPr>
        <p:grpSpPr>
          <a:xfrm>
            <a:off x="8012507" y="2396780"/>
            <a:ext cx="1934358" cy="400110"/>
            <a:chOff x="8012507" y="2396780"/>
            <a:chExt cx="1934358" cy="400110"/>
          </a:xfrm>
        </p:grpSpPr>
        <p:sp>
          <p:nvSpPr>
            <p:cNvPr id="122" name="フローチャート: 端子 121">
              <a:extLst>
                <a:ext uri="{FF2B5EF4-FFF2-40B4-BE49-F238E27FC236}">
                  <a16:creationId xmlns:a16="http://schemas.microsoft.com/office/drawing/2014/main" id="{3F073EE8-F39C-B0CE-9333-6296149E7761}"/>
                </a:ext>
              </a:extLst>
            </p:cNvPr>
            <p:cNvSpPr/>
            <p:nvPr/>
          </p:nvSpPr>
          <p:spPr>
            <a:xfrm>
              <a:off x="8079735" y="2413880"/>
              <a:ext cx="1380940" cy="347433"/>
            </a:xfrm>
            <a:prstGeom prst="flowChartTerminator">
              <a:avLst/>
            </a:prstGeom>
            <a:solidFill>
              <a:schemeClr val="bg1"/>
            </a:solidFill>
            <a:ln>
              <a:solidFill>
                <a:srgbClr val="00206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ja-JP" altLang="en-US"/>
            </a:p>
          </p:txBody>
        </p:sp>
        <p:pic>
          <p:nvPicPr>
            <p:cNvPr id="123" name="グラフィックス 122" descr="拡大鏡 単色塗りつぶし">
              <a:extLst>
                <a:ext uri="{FF2B5EF4-FFF2-40B4-BE49-F238E27FC236}">
                  <a16:creationId xmlns:a16="http://schemas.microsoft.com/office/drawing/2014/main" id="{CD7AC23B-4FE9-4FD7-6C28-4BF564090001}"/>
                </a:ext>
              </a:extLst>
            </p:cNvPr>
            <p:cNvPicPr>
              <a:picLocks noChangeAspect="1"/>
            </p:cNvPicPr>
            <p:nvPr/>
          </p:nvPicPr>
          <p:blipFill>
            <a:blip r:embed="rId19">
              <a:extLst>
                <a:ext uri="{28A0092B-C50C-407E-A947-70E740481C1C}">
                  <a14:useLocalDpi xmlns:a14="http://schemas.microsoft.com/office/drawing/2010/main" val="0"/>
                </a:ext>
                <a:ext uri="{96DAC541-7B7A-43D3-8B79-37D633B846F1}">
                  <asvg:svgBlip xmlns:asvg="http://schemas.microsoft.com/office/drawing/2016/SVG/main" r:embed="rId20"/>
                </a:ext>
              </a:extLst>
            </a:blip>
            <a:stretch>
              <a:fillRect/>
            </a:stretch>
          </p:blipFill>
          <p:spPr>
            <a:xfrm>
              <a:off x="8220047" y="2405997"/>
              <a:ext cx="410947" cy="371594"/>
            </a:xfrm>
            <a:prstGeom prst="rect">
              <a:avLst/>
            </a:prstGeom>
          </p:spPr>
        </p:pic>
        <p:sp>
          <p:nvSpPr>
            <p:cNvPr id="124" name="テキスト ボックス 123">
              <a:extLst>
                <a:ext uri="{FF2B5EF4-FFF2-40B4-BE49-F238E27FC236}">
                  <a16:creationId xmlns:a16="http://schemas.microsoft.com/office/drawing/2014/main" id="{3FB1C352-5002-C7C0-D31C-F9E3CABCF4EC}"/>
                </a:ext>
              </a:extLst>
            </p:cNvPr>
            <p:cNvSpPr txBox="1"/>
            <p:nvPr/>
          </p:nvSpPr>
          <p:spPr>
            <a:xfrm>
              <a:off x="8012507" y="2396780"/>
              <a:ext cx="1934358" cy="400110"/>
            </a:xfrm>
            <a:prstGeom prst="rect">
              <a:avLst/>
            </a:prstGeom>
            <a:noFill/>
            <a:ln>
              <a:noFill/>
            </a:ln>
          </p:spPr>
          <p:txBody>
            <a:bodyPr wrap="square" rtlCol="0">
              <a:spAutoFit/>
            </a:bodyPr>
            <a:lstStyle/>
            <a:p>
              <a:pPr algn="ctr"/>
              <a:r>
                <a:rPr lang="ja-JP" altLang="en-US" sz="2000" b="1">
                  <a:solidFill>
                    <a:srgbClr val="002060"/>
                  </a:solidFill>
                </a:rPr>
                <a:t>検索</a:t>
              </a:r>
              <a:endParaRPr kumimoji="1" lang="ja-JP" altLang="en-US" sz="2000" b="1">
                <a:solidFill>
                  <a:srgbClr val="002060"/>
                </a:solidFill>
              </a:endParaRPr>
            </a:p>
          </p:txBody>
        </p:sp>
      </p:grpSp>
      <p:sp>
        <p:nvSpPr>
          <p:cNvPr id="125" name="テキスト ボックス 152">
            <a:extLst>
              <a:ext uri="{FF2B5EF4-FFF2-40B4-BE49-F238E27FC236}">
                <a16:creationId xmlns:a16="http://schemas.microsoft.com/office/drawing/2014/main" id="{F7CDB392-9DB3-91F4-5AF6-1114B3B7332F}"/>
              </a:ext>
            </a:extLst>
          </p:cNvPr>
          <p:cNvSpPr txBox="1"/>
          <p:nvPr/>
        </p:nvSpPr>
        <p:spPr>
          <a:xfrm>
            <a:off x="2166204" y="4105395"/>
            <a:ext cx="1329967" cy="203760"/>
          </a:xfrm>
          <a:prstGeom prst="rect">
            <a:avLst/>
          </a:prstGeom>
          <a:noFill/>
          <a:ln w="9525" cmpd="sng">
            <a:noFill/>
          </a:ln>
          <a:effectLst/>
        </p:spPr>
        <p:txBody>
          <a:bodyPr wrap="square"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ja-JP" altLang="en-US" sz="1000" kern="0">
                <a:solidFill>
                  <a:sysClr val="windowText" lastClr="000000"/>
                </a:solidFill>
                <a:latin typeface="Meiryo UI" panose="020B0604030504040204" pitchFamily="50" charset="-128"/>
                <a:ea typeface="Meiryo UI" panose="020B0604030504040204" pitchFamily="50" charset="-128"/>
              </a:rPr>
              <a:t>グループ・提携商品</a:t>
            </a:r>
            <a:endParaRPr kumimoji="1" lang="ja-JP" altLang="en-US" sz="1000" b="0" i="0" u="none" strike="noStrike" kern="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cs typeface="+mn-cs"/>
            </a:endParaRPr>
          </a:p>
        </p:txBody>
      </p:sp>
      <p:pic>
        <p:nvPicPr>
          <p:cNvPr id="126" name="グラフィックス 125" descr="左矢印付きの円 単色塗りつぶし">
            <a:extLst>
              <a:ext uri="{FF2B5EF4-FFF2-40B4-BE49-F238E27FC236}">
                <a16:creationId xmlns:a16="http://schemas.microsoft.com/office/drawing/2014/main" id="{437912DF-2603-B077-650A-2DF80AED87BD}"/>
              </a:ext>
            </a:extLst>
          </p:cNvPr>
          <p:cNvPicPr>
            <a:picLocks noChangeAspect="1"/>
          </p:cNvPicPr>
          <p:nvPr/>
        </p:nvPicPr>
        <p:blipFill>
          <a:blip r:embed="rId17" cstate="print">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rot="10800000">
            <a:off x="3275148" y="4095859"/>
            <a:ext cx="218471" cy="218471"/>
          </a:xfrm>
          <a:prstGeom prst="rect">
            <a:avLst/>
          </a:prstGeom>
        </p:spPr>
      </p:pic>
      <p:sp>
        <p:nvSpPr>
          <p:cNvPr id="2" name="テキスト ボックス 1">
            <a:extLst>
              <a:ext uri="{FF2B5EF4-FFF2-40B4-BE49-F238E27FC236}">
                <a16:creationId xmlns:a16="http://schemas.microsoft.com/office/drawing/2014/main" id="{9A4337F4-6BE8-1633-4074-B5550F927D10}"/>
              </a:ext>
            </a:extLst>
          </p:cNvPr>
          <p:cNvSpPr txBox="1"/>
          <p:nvPr/>
        </p:nvSpPr>
        <p:spPr>
          <a:xfrm>
            <a:off x="218069" y="1056546"/>
            <a:ext cx="11690595" cy="886397"/>
          </a:xfrm>
          <a:prstGeom prst="rect">
            <a:avLst/>
          </a:prstGeom>
          <a:solidFill>
            <a:srgbClr val="EEECE1"/>
          </a:solidFill>
        </p:spPr>
        <p:txBody>
          <a:bodyPr wrap="square" lIns="288000" rIns="180000">
            <a:spAutoFit/>
          </a:bodyPr>
          <a:lstStyle/>
          <a:p>
            <a:pPr marL="0" marR="0" lvl="0" indent="0" algn="l" defTabSz="638335" rtl="0" eaLnBrk="1" fontAlgn="auto" latinLnBrk="0" hangingPunct="1">
              <a:lnSpc>
                <a:spcPct val="100000"/>
              </a:lnSpc>
              <a:spcBef>
                <a:spcPct val="20000"/>
              </a:spcBef>
              <a:spcAft>
                <a:spcPts val="0"/>
              </a:spcAft>
              <a:buClrTx/>
              <a:buSzTx/>
              <a:buFont typeface="Arial"/>
              <a:buNone/>
              <a:tabLst/>
              <a:defRPr/>
            </a:pPr>
            <a:r>
              <a:rPr kumimoji="0" lang="ja-JP" altLang="en-US" sz="1800" b="0" i="0" u="none" strike="noStrike" kern="0" cap="none" spc="0" normalizeH="0" baseline="0" noProof="0" dirty="0">
                <a:ln>
                  <a:noFill/>
                </a:ln>
                <a:solidFill>
                  <a:srgbClr val="000000"/>
                </a:solidFill>
                <a:effectLst/>
                <a:uLnTx/>
                <a:uFillTx/>
                <a:latin typeface="Meiryo UI"/>
                <a:ea typeface="Meiryo UI"/>
              </a:rPr>
              <a:t>・</a:t>
            </a:r>
            <a:r>
              <a:rPr kumimoji="0" lang="ja-JP" altLang="en-US" sz="1800" kern="0" dirty="0">
                <a:solidFill>
                  <a:srgbClr val="000000"/>
                </a:solidFill>
                <a:latin typeface="Meiryo UI"/>
                <a:ea typeface="Meiryo UI"/>
              </a:rPr>
              <a:t>カテゴリについて、お客さま面前で略称表記が問題ないか、団体保険等のカテゴリ表示の内容に問題ないか等関連部確認中。</a:t>
            </a:r>
            <a:r>
              <a:rPr kumimoji="0" lang="ja-JP" altLang="en-US" sz="1200" kern="0" dirty="0">
                <a:solidFill>
                  <a:srgbClr val="000000"/>
                </a:solidFill>
                <a:latin typeface="Meiryo UI"/>
                <a:ea typeface="Meiryo UI"/>
              </a:rPr>
              <a:t>（なお、</a:t>
            </a:r>
            <a:r>
              <a:rPr kumimoji="0" lang="en-US" altLang="ja-JP" sz="1200" kern="0" dirty="0">
                <a:solidFill>
                  <a:srgbClr val="000000"/>
                </a:solidFill>
                <a:latin typeface="Meiryo UI"/>
                <a:ea typeface="Meiryo UI"/>
              </a:rPr>
              <a:t>API</a:t>
            </a:r>
            <a:r>
              <a:rPr kumimoji="0" lang="ja-JP" altLang="en-US" sz="1200" kern="0" dirty="0">
                <a:solidFill>
                  <a:srgbClr val="000000"/>
                </a:solidFill>
                <a:latin typeface="Meiryo UI"/>
                <a:ea typeface="Meiryo UI"/>
              </a:rPr>
              <a:t>連携のデータ形式（</a:t>
            </a:r>
            <a:r>
              <a:rPr kumimoji="0" lang="en-US" altLang="ja-JP" sz="1200" kern="0" dirty="0">
                <a:solidFill>
                  <a:srgbClr val="000000"/>
                </a:solidFill>
                <a:latin typeface="Meiryo UI"/>
                <a:ea typeface="Meiryo UI"/>
              </a:rPr>
              <a:t>JSON</a:t>
            </a:r>
            <a:r>
              <a:rPr kumimoji="0" lang="ja-JP" altLang="en-US" sz="1200" kern="0" dirty="0">
                <a:solidFill>
                  <a:srgbClr val="000000"/>
                </a:solidFill>
                <a:latin typeface="Meiryo UI"/>
                <a:ea typeface="Meiryo UI"/>
              </a:rPr>
              <a:t>形式で大項目・小項目がどのような値であっても網羅される形で連携）については、</a:t>
            </a:r>
            <a:r>
              <a:rPr kumimoji="0" lang="en-US" altLang="ja-JP" sz="1200" kern="0" dirty="0">
                <a:solidFill>
                  <a:srgbClr val="000000"/>
                </a:solidFill>
                <a:latin typeface="Meiryo UI"/>
                <a:ea typeface="Meiryo UI"/>
              </a:rPr>
              <a:t>DNP</a:t>
            </a:r>
            <a:r>
              <a:rPr kumimoji="0" lang="ja-JP" altLang="en-US" sz="1200" kern="0" dirty="0">
                <a:solidFill>
                  <a:srgbClr val="000000"/>
                </a:solidFill>
                <a:latin typeface="Meiryo UI"/>
                <a:ea typeface="Meiryo UI"/>
              </a:rPr>
              <a:t>・</a:t>
            </a:r>
            <a:r>
              <a:rPr kumimoji="0" lang="en-US" altLang="ja-JP" sz="1200" kern="0" dirty="0">
                <a:solidFill>
                  <a:srgbClr val="000000"/>
                </a:solidFill>
                <a:latin typeface="Meiryo UI"/>
                <a:ea typeface="Meiryo UI"/>
              </a:rPr>
              <a:t>DLTX</a:t>
            </a:r>
            <a:r>
              <a:rPr kumimoji="0" lang="ja-JP" altLang="en-US" sz="1200" kern="0" dirty="0">
                <a:solidFill>
                  <a:srgbClr val="000000"/>
                </a:solidFill>
                <a:latin typeface="Meiryo UI"/>
                <a:ea typeface="Meiryo UI"/>
              </a:rPr>
              <a:t>に共有し、確認依頼中。）</a:t>
            </a:r>
            <a:endParaRPr kumimoji="0" lang="en-US" altLang="ja-JP" sz="1200" kern="0" dirty="0">
              <a:solidFill>
                <a:srgbClr val="000000"/>
              </a:solidFill>
              <a:latin typeface="Meiryo UI"/>
              <a:ea typeface="Meiryo UI"/>
            </a:endParaRPr>
          </a:p>
          <a:p>
            <a:pPr defTabSz="638335">
              <a:spcBef>
                <a:spcPct val="20000"/>
              </a:spcBef>
              <a:defRPr/>
            </a:pPr>
            <a:r>
              <a:rPr kumimoji="0" lang="ja-JP" altLang="en-US" sz="1800" kern="0" dirty="0">
                <a:solidFill>
                  <a:srgbClr val="000000"/>
                </a:solidFill>
                <a:latin typeface="Meiryo UI"/>
                <a:ea typeface="Meiryo UI"/>
              </a:rPr>
              <a:t>・対象層について、「子育て層」や「独身」等がバディ側で必要であれば、追加で問題ない認識。</a:t>
            </a:r>
            <a:endParaRPr kumimoji="0" lang="en-US" altLang="ja-JP" sz="1800" kern="0" dirty="0">
              <a:solidFill>
                <a:srgbClr val="000000"/>
              </a:solidFill>
              <a:latin typeface="Meiryo UI"/>
              <a:ea typeface="Meiryo UI"/>
            </a:endParaRPr>
          </a:p>
        </p:txBody>
      </p:sp>
    </p:spTree>
    <p:extLst>
      <p:ext uri="{BB962C8B-B14F-4D97-AF65-F5344CB8AC3E}">
        <p14:creationId xmlns:p14="http://schemas.microsoft.com/office/powerpoint/2010/main" val="28997752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9" name="タイトル 1">
            <a:extLst>
              <a:ext uri="{FF2B5EF4-FFF2-40B4-BE49-F238E27FC236}">
                <a16:creationId xmlns:a16="http://schemas.microsoft.com/office/drawing/2014/main" id="{3B35EF3C-FB23-9DB4-D460-1DE328C7E431}"/>
              </a:ext>
            </a:extLst>
          </p:cNvPr>
          <p:cNvSpPr txBox="1">
            <a:spLocks/>
          </p:cNvSpPr>
          <p:nvPr/>
        </p:nvSpPr>
        <p:spPr>
          <a:xfrm>
            <a:off x="9370616" y="5411972"/>
            <a:ext cx="2667420" cy="1008000"/>
          </a:xfrm>
          <a:prstGeom prst="rect">
            <a:avLst/>
          </a:prstGeom>
          <a:solidFill>
            <a:schemeClr val="accent2">
              <a:lumMod val="20000"/>
              <a:lumOff val="80000"/>
            </a:schemeClr>
          </a:solidFill>
        </p:spPr>
        <p:txBody>
          <a:bodyPr anchor="ctr">
            <a:noAutofit/>
          </a:bodyPr>
          <a:lstStyle>
            <a:lvl1pPr algn="l" defTabSz="1219170" rtl="0" eaLnBrk="1" latinLnBrk="0" hangingPunct="1">
              <a:lnSpc>
                <a:spcPct val="100000"/>
              </a:lnSpc>
              <a:spcBef>
                <a:spcPct val="0"/>
              </a:spcBef>
              <a:buNone/>
              <a:defRPr kumimoji="1" sz="2400" kern="1200">
                <a:solidFill>
                  <a:schemeClr val="tx1"/>
                </a:solidFill>
                <a:latin typeface="Meiryo UI" panose="020B0604030504040204" pitchFamily="50" charset="-128"/>
                <a:ea typeface="Meiryo UI" panose="020B0604030504040204" pitchFamily="50" charset="-128"/>
                <a:cs typeface="+mj-cs"/>
              </a:defRPr>
            </a:lvl1pPr>
          </a:lstStyle>
          <a:p>
            <a:pPr marL="444500" marR="0" lvl="0" indent="-177800" algn="ctr" defTabSz="1219170" rtl="0" eaLnBrk="1" fontAlgn="auto" latinLnBrk="0" hangingPunct="1">
              <a:lnSpc>
                <a:spcPct val="100000"/>
              </a:lnSpc>
              <a:spcBef>
                <a:spcPct val="0"/>
              </a:spcBef>
              <a:spcAft>
                <a:spcPts val="0"/>
              </a:spcAft>
              <a:buClrTx/>
              <a:buSzTx/>
              <a:buFontTx/>
              <a:buNone/>
              <a:tabLst/>
              <a:defRPr/>
            </a:pPr>
            <a:r>
              <a:rPr lang="ja-JP" altLang="en-US" sz="1600" b="1">
                <a:solidFill>
                  <a:srgbClr val="C00000"/>
                </a:solidFill>
              </a:rPr>
              <a:t>必要な教育・対応</a:t>
            </a:r>
            <a:r>
              <a:rPr lang="ja-JP" altLang="en-US" sz="1400">
                <a:solidFill>
                  <a:srgbClr val="282828"/>
                </a:solidFill>
              </a:rPr>
              <a:t>を</a:t>
            </a:r>
            <a:endParaRPr lang="en-US" altLang="ja-JP" sz="1400">
              <a:solidFill>
                <a:srgbClr val="282828"/>
              </a:solidFill>
            </a:endParaRPr>
          </a:p>
          <a:p>
            <a:pPr marL="444500" marR="0" lvl="0" indent="-177800" algn="ctr" defTabSz="1219170" rtl="0" eaLnBrk="1" fontAlgn="auto" latinLnBrk="0" hangingPunct="1">
              <a:lnSpc>
                <a:spcPct val="100000"/>
              </a:lnSpc>
              <a:spcBef>
                <a:spcPct val="0"/>
              </a:spcBef>
              <a:spcAft>
                <a:spcPts val="0"/>
              </a:spcAft>
              <a:buClrTx/>
              <a:buSzTx/>
              <a:buFontTx/>
              <a:buNone/>
              <a:tabLst/>
              <a:defRPr/>
            </a:pPr>
            <a:r>
              <a:rPr lang="ja-JP" altLang="en-US" sz="1400">
                <a:solidFill>
                  <a:srgbClr val="282828"/>
                </a:solidFill>
              </a:rPr>
              <a:t>デジ棚通じて</a:t>
            </a:r>
            <a:endParaRPr lang="en-US" altLang="ja-JP" sz="1400">
              <a:solidFill>
                <a:srgbClr val="282828"/>
              </a:solidFill>
            </a:endParaRPr>
          </a:p>
          <a:p>
            <a:pPr marL="444500" marR="0" lvl="0" indent="-177800" algn="ctr" defTabSz="1219170" rtl="0" eaLnBrk="1" fontAlgn="auto" latinLnBrk="0" hangingPunct="1">
              <a:lnSpc>
                <a:spcPct val="100000"/>
              </a:lnSpc>
              <a:spcBef>
                <a:spcPct val="0"/>
              </a:spcBef>
              <a:spcAft>
                <a:spcPts val="0"/>
              </a:spcAft>
              <a:buClrTx/>
              <a:buSzTx/>
              <a:buFontTx/>
              <a:buNone/>
              <a:tabLst/>
              <a:defRPr/>
            </a:pPr>
            <a:r>
              <a:rPr lang="ja-JP" altLang="en-US" sz="1400">
                <a:solidFill>
                  <a:srgbClr val="282828"/>
                </a:solidFill>
              </a:rPr>
              <a:t>生</a:t>
            </a:r>
            <a:r>
              <a:rPr lang="en-US" altLang="ja-JP" sz="1400">
                <a:solidFill>
                  <a:srgbClr val="282828"/>
                </a:solidFill>
              </a:rPr>
              <a:t>D</a:t>
            </a:r>
            <a:r>
              <a:rPr lang="ja-JP" altLang="en-US" sz="1400">
                <a:solidFill>
                  <a:srgbClr val="282828"/>
                </a:solidFill>
              </a:rPr>
              <a:t>にアドバイス</a:t>
            </a:r>
            <a:endParaRPr lang="en-US" altLang="ja-JP" sz="1400">
              <a:solidFill>
                <a:srgbClr val="282828"/>
              </a:solidFill>
            </a:endParaRPr>
          </a:p>
        </p:txBody>
      </p:sp>
      <p:sp>
        <p:nvSpPr>
          <p:cNvPr id="4" name="タイトル 1">
            <a:extLst>
              <a:ext uri="{FF2B5EF4-FFF2-40B4-BE49-F238E27FC236}">
                <a16:creationId xmlns:a16="http://schemas.microsoft.com/office/drawing/2014/main" id="{D05AEA5E-BEEE-5A65-0F23-1E4291CA3AA6}"/>
              </a:ext>
            </a:extLst>
          </p:cNvPr>
          <p:cNvSpPr txBox="1">
            <a:spLocks/>
          </p:cNvSpPr>
          <p:nvPr/>
        </p:nvSpPr>
        <p:spPr>
          <a:xfrm>
            <a:off x="317802" y="53214"/>
            <a:ext cx="11328097" cy="738452"/>
          </a:xfrm>
          <a:prstGeom prst="rect">
            <a:avLst/>
          </a:prstGeom>
        </p:spPr>
        <p:txBody>
          <a:bodyPr>
            <a:noAutofit/>
          </a:bodyPr>
          <a:lstStyle>
            <a:lvl1pPr algn="l" defTabSz="1219170" rtl="0" eaLnBrk="1" latinLnBrk="0" hangingPunct="1">
              <a:lnSpc>
                <a:spcPct val="100000"/>
              </a:lnSpc>
              <a:spcBef>
                <a:spcPct val="0"/>
              </a:spcBef>
              <a:buNone/>
              <a:defRPr kumimoji="1" sz="2400" kern="1200">
                <a:solidFill>
                  <a:schemeClr val="tx1"/>
                </a:solidFill>
                <a:latin typeface="Meiryo UI" panose="020B0604030504040204" pitchFamily="50" charset="-128"/>
                <a:ea typeface="Meiryo UI" panose="020B0604030504040204" pitchFamily="50" charset="-128"/>
                <a:cs typeface="+mj-cs"/>
              </a:defRPr>
            </a:lvl1pPr>
          </a:lstStyle>
          <a:p>
            <a:pPr marL="0" marR="0" lvl="0" indent="0" algn="l" defTabSz="1219170" rtl="0" eaLnBrk="1" fontAlgn="auto" latinLnBrk="0" hangingPunct="1">
              <a:lnSpc>
                <a:spcPct val="100000"/>
              </a:lnSpc>
              <a:spcBef>
                <a:spcPct val="0"/>
              </a:spcBef>
              <a:spcAft>
                <a:spcPts val="0"/>
              </a:spcAft>
              <a:buClrTx/>
              <a:buSzTx/>
              <a:buFontTx/>
              <a:buNone/>
              <a:tabLst/>
              <a:defRPr/>
            </a:pPr>
            <a:r>
              <a:rPr kumimoji="1" lang="ja-JP" altLang="en-US" sz="2400" b="1" i="0" u="none" strike="noStrike" kern="1200" cap="none" spc="0" normalizeH="0" baseline="0" noProof="0">
                <a:ln>
                  <a:noFill/>
                </a:ln>
                <a:solidFill>
                  <a:srgbClr val="282828"/>
                </a:solidFill>
                <a:effectLst/>
                <a:uLnTx/>
                <a:uFillTx/>
                <a:latin typeface="Meiryo UI" panose="020B0604030504040204" pitchFamily="50" charset="-128"/>
                <a:ea typeface="Meiryo UI" panose="020B0604030504040204" pitchFamily="50" charset="-128"/>
                <a:cs typeface="+mj-cs"/>
              </a:rPr>
              <a:t>自律型教育（デジ棚）</a:t>
            </a:r>
            <a:endParaRPr kumimoji="1" lang="en-US" altLang="ja-JP" sz="2400" b="1" i="0" u="none" strike="noStrike" kern="1200" cap="none" spc="0" normalizeH="0" baseline="0" noProof="0">
              <a:ln>
                <a:noFill/>
              </a:ln>
              <a:solidFill>
                <a:srgbClr val="282828"/>
              </a:solidFill>
              <a:effectLst/>
              <a:uLnTx/>
              <a:uFillTx/>
              <a:latin typeface="Meiryo UI" panose="020B0604030504040204" pitchFamily="50" charset="-128"/>
              <a:ea typeface="Meiryo UI" panose="020B0604030504040204" pitchFamily="50" charset="-128"/>
              <a:cs typeface="+mj-cs"/>
            </a:endParaRPr>
          </a:p>
          <a:p>
            <a:pPr marL="0" marR="0" lvl="0" indent="0" algn="l" defTabSz="1219170" rtl="0" eaLnBrk="1" fontAlgn="auto" latinLnBrk="0" hangingPunct="1">
              <a:lnSpc>
                <a:spcPct val="100000"/>
              </a:lnSpc>
              <a:spcBef>
                <a:spcPct val="0"/>
              </a:spcBef>
              <a:spcAft>
                <a:spcPts val="0"/>
              </a:spcAft>
              <a:buClrTx/>
              <a:buSzTx/>
              <a:buFontTx/>
              <a:buNone/>
              <a:tabLst/>
              <a:defRPr/>
            </a:pPr>
            <a:r>
              <a:rPr kumimoji="1" lang="ja-JP" altLang="en-US" sz="2000" b="0" i="0" u="none" strike="noStrike" kern="1200" cap="none" spc="0" normalizeH="0" baseline="0" noProof="0">
                <a:ln>
                  <a:noFill/>
                </a:ln>
                <a:solidFill>
                  <a:srgbClr val="282828"/>
                </a:solidFill>
                <a:effectLst/>
                <a:uLnTx/>
                <a:uFillTx/>
                <a:latin typeface="Meiryo UI" panose="020B0604030504040204" pitchFamily="50" charset="-128"/>
                <a:ea typeface="Meiryo UI" panose="020B0604030504040204" pitchFamily="50" charset="-128"/>
                <a:cs typeface="+mj-cs"/>
              </a:rPr>
              <a:t>～あいまい検索導入に伴う実現したい姿～</a:t>
            </a:r>
            <a:endParaRPr kumimoji="1" lang="en-US" altLang="ja-JP" sz="2000" b="0" i="0" u="none" strike="noStrike" kern="1200" cap="none" spc="0" normalizeH="0" baseline="0" noProof="0">
              <a:ln>
                <a:noFill/>
              </a:ln>
              <a:solidFill>
                <a:srgbClr val="282828"/>
              </a:solidFill>
              <a:effectLst/>
              <a:uLnTx/>
              <a:uFillTx/>
              <a:latin typeface="Meiryo UI" panose="020B0604030504040204" pitchFamily="50" charset="-128"/>
              <a:ea typeface="Meiryo UI" panose="020B0604030504040204" pitchFamily="50" charset="-128"/>
              <a:cs typeface="+mj-cs"/>
            </a:endParaRPr>
          </a:p>
        </p:txBody>
      </p:sp>
      <p:pic>
        <p:nvPicPr>
          <p:cNvPr id="6" name="図 5">
            <a:extLst>
              <a:ext uri="{FF2B5EF4-FFF2-40B4-BE49-F238E27FC236}">
                <a16:creationId xmlns:a16="http://schemas.microsoft.com/office/drawing/2014/main" id="{DB179CBD-08BE-A3C7-7981-C7E2DFB0A60A}"/>
              </a:ext>
            </a:extLst>
          </p:cNvPr>
          <p:cNvPicPr>
            <a:picLocks noChangeAspect="1"/>
          </p:cNvPicPr>
          <p:nvPr/>
        </p:nvPicPr>
        <p:blipFill>
          <a:blip r:embed="rId3" cstate="print">
            <a:extLst>
              <a:ext uri="{BEBA8EAE-BF5A-486C-A8C5-ECC9F3942E4B}">
                <a14:imgProps xmlns:a14="http://schemas.microsoft.com/office/drawing/2010/main">
                  <a14:imgLayer r:embed="rId4">
                    <a14:imgEffect>
                      <a14:colorTemperature colorTemp="5900"/>
                    </a14:imgEffect>
                  </a14:imgLayer>
                </a14:imgProps>
              </a:ext>
              <a:ext uri="{28A0092B-C50C-407E-A947-70E740481C1C}">
                <a14:useLocalDpi xmlns:a14="http://schemas.microsoft.com/office/drawing/2010/main" val="0"/>
              </a:ext>
            </a:extLst>
          </a:blip>
          <a:stretch>
            <a:fillRect/>
          </a:stretch>
        </p:blipFill>
        <p:spPr>
          <a:xfrm>
            <a:off x="677594" y="3503210"/>
            <a:ext cx="827499" cy="771766"/>
          </a:xfrm>
          <a:prstGeom prst="rect">
            <a:avLst/>
          </a:prstGeom>
        </p:spPr>
      </p:pic>
      <p:pic>
        <p:nvPicPr>
          <p:cNvPr id="8" name="図 7">
            <a:extLst>
              <a:ext uri="{FF2B5EF4-FFF2-40B4-BE49-F238E27FC236}">
                <a16:creationId xmlns:a16="http://schemas.microsoft.com/office/drawing/2014/main" id="{AFADCC4E-1D02-AC12-3621-20B3152C7FC4}"/>
              </a:ext>
            </a:extLst>
          </p:cNvPr>
          <p:cNvPicPr>
            <a:picLocks noChangeAspect="1"/>
          </p:cNvPicPr>
          <p:nvPr/>
        </p:nvPicPr>
        <p:blipFill>
          <a:blip r:embed="rId5">
            <a:grayscl/>
          </a:blip>
          <a:stretch>
            <a:fillRect/>
          </a:stretch>
        </p:blipFill>
        <p:spPr>
          <a:xfrm>
            <a:off x="3134539" y="3601716"/>
            <a:ext cx="737680" cy="713294"/>
          </a:xfrm>
          <a:prstGeom prst="rect">
            <a:avLst/>
          </a:prstGeom>
        </p:spPr>
      </p:pic>
      <p:sp>
        <p:nvSpPr>
          <p:cNvPr id="39" name="タイトル 1">
            <a:extLst>
              <a:ext uri="{FF2B5EF4-FFF2-40B4-BE49-F238E27FC236}">
                <a16:creationId xmlns:a16="http://schemas.microsoft.com/office/drawing/2014/main" id="{60124A46-311D-B629-0E39-BF64849F3340}"/>
              </a:ext>
            </a:extLst>
          </p:cNvPr>
          <p:cNvSpPr txBox="1">
            <a:spLocks/>
          </p:cNvSpPr>
          <p:nvPr/>
        </p:nvSpPr>
        <p:spPr>
          <a:xfrm>
            <a:off x="538875" y="2174001"/>
            <a:ext cx="4546311" cy="738452"/>
          </a:xfrm>
          <a:prstGeom prst="rect">
            <a:avLst/>
          </a:prstGeom>
        </p:spPr>
        <p:txBody>
          <a:bodyPr>
            <a:noAutofit/>
          </a:bodyPr>
          <a:lstStyle>
            <a:lvl1pPr algn="l" defTabSz="1219170" rtl="0" eaLnBrk="1" latinLnBrk="0" hangingPunct="1">
              <a:lnSpc>
                <a:spcPct val="100000"/>
              </a:lnSpc>
              <a:spcBef>
                <a:spcPct val="0"/>
              </a:spcBef>
              <a:buNone/>
              <a:defRPr kumimoji="1" sz="2400" kern="1200">
                <a:solidFill>
                  <a:schemeClr val="tx1"/>
                </a:solidFill>
                <a:latin typeface="Meiryo UI" panose="020B0604030504040204" pitchFamily="50" charset="-128"/>
                <a:ea typeface="Meiryo UI" panose="020B0604030504040204" pitchFamily="50" charset="-128"/>
                <a:cs typeface="+mj-cs"/>
              </a:defRPr>
            </a:lvl1pPr>
          </a:lstStyle>
          <a:p>
            <a:pPr marL="0" marR="0" lvl="0" indent="0" algn="l" defTabSz="1219170" rtl="0" eaLnBrk="1" fontAlgn="auto" latinLnBrk="0" hangingPunct="1">
              <a:lnSpc>
                <a:spcPct val="100000"/>
              </a:lnSpc>
              <a:spcBef>
                <a:spcPct val="0"/>
              </a:spcBef>
              <a:spcAft>
                <a:spcPts val="0"/>
              </a:spcAft>
              <a:buClrTx/>
              <a:buSzTx/>
              <a:buFontTx/>
              <a:buNone/>
              <a:tabLst/>
              <a:defRPr/>
            </a:pPr>
            <a:r>
              <a:rPr kumimoji="1" lang="ja-JP" altLang="en-US" sz="1800" b="1" i="0" u="none" strike="noStrike" kern="1200" cap="none" spc="0" normalizeH="0" baseline="0" noProof="0">
                <a:ln>
                  <a:noFill/>
                </a:ln>
                <a:solidFill>
                  <a:srgbClr val="282828"/>
                </a:solidFill>
                <a:effectLst/>
                <a:uLnTx/>
                <a:uFillTx/>
                <a:latin typeface="Meiryo UI" panose="020B0604030504040204" pitchFamily="50" charset="-128"/>
                <a:ea typeface="Meiryo UI" panose="020B0604030504040204" pitchFamily="50" charset="-128"/>
                <a:cs typeface="+mj-cs"/>
              </a:rPr>
              <a:t>現状整理（生</a:t>
            </a:r>
            <a:r>
              <a:rPr kumimoji="1" lang="en-US" altLang="ja-JP" sz="1800" b="1" i="0" u="none" strike="noStrike" kern="1200" cap="none" spc="0" normalizeH="0" baseline="0" noProof="0">
                <a:ln>
                  <a:noFill/>
                </a:ln>
                <a:solidFill>
                  <a:srgbClr val="282828"/>
                </a:solidFill>
                <a:effectLst/>
                <a:uLnTx/>
                <a:uFillTx/>
                <a:latin typeface="Meiryo UI" panose="020B0604030504040204" pitchFamily="50" charset="-128"/>
                <a:ea typeface="Meiryo UI" panose="020B0604030504040204" pitchFamily="50" charset="-128"/>
                <a:cs typeface="+mj-cs"/>
              </a:rPr>
              <a:t>D</a:t>
            </a:r>
            <a:r>
              <a:rPr kumimoji="1" lang="ja-JP" altLang="en-US" sz="1800" b="1" i="0" u="none" strike="noStrike" kern="1200" cap="none" spc="0" normalizeH="0" baseline="0" noProof="0">
                <a:ln>
                  <a:noFill/>
                </a:ln>
                <a:solidFill>
                  <a:srgbClr val="282828"/>
                </a:solidFill>
                <a:effectLst/>
                <a:uLnTx/>
                <a:uFillTx/>
                <a:latin typeface="Meiryo UI" panose="020B0604030504040204" pitchFamily="50" charset="-128"/>
                <a:ea typeface="Meiryo UI" panose="020B0604030504040204" pitchFamily="50" charset="-128"/>
                <a:cs typeface="+mj-cs"/>
              </a:rPr>
              <a:t>が募集資料等を知る流れ）</a:t>
            </a:r>
            <a:endParaRPr kumimoji="1" lang="en-US" altLang="ja-JP" sz="1800" b="1" i="0" u="none" strike="noStrike" kern="1200" cap="none" spc="0" normalizeH="0" baseline="0" noProof="0">
              <a:ln>
                <a:noFill/>
              </a:ln>
              <a:solidFill>
                <a:srgbClr val="282828"/>
              </a:solidFill>
              <a:effectLst/>
              <a:uLnTx/>
              <a:uFillTx/>
              <a:latin typeface="Meiryo UI" panose="020B0604030504040204" pitchFamily="50" charset="-128"/>
              <a:ea typeface="Meiryo UI" panose="020B0604030504040204" pitchFamily="50" charset="-128"/>
              <a:cs typeface="+mj-cs"/>
            </a:endParaRPr>
          </a:p>
        </p:txBody>
      </p:sp>
      <p:pic>
        <p:nvPicPr>
          <p:cNvPr id="54" name="グラフィックス 53" descr="右矢印 単色塗りつぶし">
            <a:extLst>
              <a:ext uri="{FF2B5EF4-FFF2-40B4-BE49-F238E27FC236}">
                <a16:creationId xmlns:a16="http://schemas.microsoft.com/office/drawing/2014/main" id="{D21A2969-04C8-F5A3-C6CF-9A5D5A7DA145}"/>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rot="10800000" flipH="1">
            <a:off x="1686068" y="3520121"/>
            <a:ext cx="1349715" cy="681049"/>
          </a:xfrm>
          <a:prstGeom prst="rect">
            <a:avLst/>
          </a:prstGeom>
        </p:spPr>
      </p:pic>
      <p:sp>
        <p:nvSpPr>
          <p:cNvPr id="57" name="テキスト ボックス 56">
            <a:extLst>
              <a:ext uri="{FF2B5EF4-FFF2-40B4-BE49-F238E27FC236}">
                <a16:creationId xmlns:a16="http://schemas.microsoft.com/office/drawing/2014/main" id="{015A4C1F-6418-49A3-9EC7-C91DCD44EAD6}"/>
              </a:ext>
            </a:extLst>
          </p:cNvPr>
          <p:cNvSpPr txBox="1"/>
          <p:nvPr/>
        </p:nvSpPr>
        <p:spPr>
          <a:xfrm>
            <a:off x="388250" y="3160132"/>
            <a:ext cx="1442381" cy="338554"/>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ja-JP" altLang="en-US" sz="1600" b="0" i="0" u="none" strike="noStrike" kern="0" cap="none" spc="0" normalizeH="0" baseline="0" noProof="0">
                <a:ln>
                  <a:noFill/>
                </a:ln>
                <a:solidFill>
                  <a:prstClr val="black">
                    <a:lumMod val="75000"/>
                    <a:lumOff val="25000"/>
                  </a:prstClr>
                </a:solidFill>
                <a:effectLst/>
                <a:uLnTx/>
                <a:uFillTx/>
                <a:latin typeface="Meiryo UI"/>
                <a:ea typeface="Meiryo UI"/>
                <a:cs typeface="+mn-cs"/>
              </a:rPr>
              <a:t>機関長</a:t>
            </a:r>
            <a:endParaRPr kumimoji="0" lang="en-US" altLang="ja-JP" sz="1600" b="0" i="0" u="none" strike="noStrike" kern="0" cap="none" spc="0" normalizeH="0" baseline="0" noProof="0">
              <a:ln>
                <a:noFill/>
              </a:ln>
              <a:solidFill>
                <a:prstClr val="black">
                  <a:lumMod val="75000"/>
                  <a:lumOff val="25000"/>
                </a:prstClr>
              </a:solidFill>
              <a:effectLst/>
              <a:uLnTx/>
              <a:uFillTx/>
              <a:latin typeface="Meiryo UI"/>
              <a:ea typeface="Meiryo UI"/>
              <a:cs typeface="+mn-cs"/>
            </a:endParaRPr>
          </a:p>
        </p:txBody>
      </p:sp>
      <p:sp>
        <p:nvSpPr>
          <p:cNvPr id="58" name="テキスト ボックス 57">
            <a:extLst>
              <a:ext uri="{FF2B5EF4-FFF2-40B4-BE49-F238E27FC236}">
                <a16:creationId xmlns:a16="http://schemas.microsoft.com/office/drawing/2014/main" id="{16FB2F39-BB47-B204-A0EE-449A6E5E4FD7}"/>
              </a:ext>
            </a:extLst>
          </p:cNvPr>
          <p:cNvSpPr txBox="1"/>
          <p:nvPr/>
        </p:nvSpPr>
        <p:spPr>
          <a:xfrm>
            <a:off x="2812031" y="3186918"/>
            <a:ext cx="1442381" cy="276999"/>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ja-JP" altLang="en-US" sz="1200" b="0" i="0" u="none" strike="noStrike" kern="0" cap="none" spc="0" normalizeH="0" baseline="0" noProof="0">
                <a:ln>
                  <a:noFill/>
                </a:ln>
                <a:solidFill>
                  <a:prstClr val="black">
                    <a:lumMod val="75000"/>
                    <a:lumOff val="25000"/>
                  </a:prstClr>
                </a:solidFill>
                <a:effectLst/>
                <a:uLnTx/>
                <a:uFillTx/>
                <a:latin typeface="Meiryo UI"/>
                <a:ea typeface="Meiryo UI"/>
                <a:cs typeface="+mn-cs"/>
              </a:rPr>
              <a:t>生涯設計</a:t>
            </a:r>
            <a:r>
              <a:rPr kumimoji="0" lang="en-US" altLang="ja-JP" sz="1200" b="0" i="0" u="none" strike="noStrike" kern="0" cap="none" spc="0" normalizeH="0" baseline="0" noProof="0">
                <a:ln>
                  <a:noFill/>
                </a:ln>
                <a:solidFill>
                  <a:prstClr val="black">
                    <a:lumMod val="75000"/>
                    <a:lumOff val="25000"/>
                  </a:prstClr>
                </a:solidFill>
                <a:effectLst/>
                <a:uLnTx/>
                <a:uFillTx/>
                <a:latin typeface="Meiryo UI"/>
                <a:ea typeface="Meiryo UI"/>
                <a:cs typeface="+mn-cs"/>
              </a:rPr>
              <a:t>D</a:t>
            </a:r>
          </a:p>
        </p:txBody>
      </p:sp>
      <p:sp>
        <p:nvSpPr>
          <p:cNvPr id="114" name="テキスト ボックス 113">
            <a:extLst>
              <a:ext uri="{FF2B5EF4-FFF2-40B4-BE49-F238E27FC236}">
                <a16:creationId xmlns:a16="http://schemas.microsoft.com/office/drawing/2014/main" id="{3523EAFD-8F3B-035E-FA23-9A42FF0A39DC}"/>
              </a:ext>
            </a:extLst>
          </p:cNvPr>
          <p:cNvSpPr txBox="1"/>
          <p:nvPr/>
        </p:nvSpPr>
        <p:spPr>
          <a:xfrm>
            <a:off x="289042" y="1008059"/>
            <a:ext cx="11690595" cy="684803"/>
          </a:xfrm>
          <a:prstGeom prst="rect">
            <a:avLst/>
          </a:prstGeom>
          <a:solidFill>
            <a:schemeClr val="bg2"/>
          </a:solidFill>
        </p:spPr>
        <p:txBody>
          <a:bodyPr wrap="square" lIns="288000" rIns="180000">
            <a:spAutoFit/>
          </a:bodyPr>
          <a:lstStyle/>
          <a:p>
            <a:pPr marL="0" marR="0" lvl="0" indent="0" algn="l" defTabSz="914400" rtl="0" eaLnBrk="1" fontAlgn="auto" latinLnBrk="0" hangingPunct="1">
              <a:lnSpc>
                <a:spcPct val="100000"/>
              </a:lnSpc>
              <a:spcBef>
                <a:spcPts val="300"/>
              </a:spcBef>
              <a:spcAft>
                <a:spcPts val="0"/>
              </a:spcAft>
              <a:buClrTx/>
              <a:buSzTx/>
              <a:buFontTx/>
              <a:buNone/>
              <a:tabLst/>
              <a:defRPr/>
            </a:pPr>
            <a:r>
              <a:rPr kumimoji="0" lang="ja-JP" altLang="en-US" sz="1800" b="0" i="0" u="none" strike="noStrike" kern="0" cap="none" spc="0" normalizeH="0" baseline="0" noProof="0">
                <a:ln>
                  <a:noFill/>
                </a:ln>
                <a:solidFill>
                  <a:srgbClr val="000000"/>
                </a:solidFill>
                <a:effectLst/>
                <a:uLnTx/>
                <a:uFillTx/>
                <a:latin typeface="Meiryo UI"/>
                <a:ea typeface="Meiryo UI"/>
                <a:cs typeface="+mn-cs"/>
              </a:rPr>
              <a:t>・お客さまの体験価値を高めるため、生涯設計</a:t>
            </a:r>
            <a:r>
              <a:rPr kumimoji="0" lang="en-US" altLang="ja-JP" sz="1800" b="0" i="0" u="none" strike="noStrike" kern="0" cap="none" spc="0" normalizeH="0" baseline="0" noProof="0">
                <a:ln>
                  <a:noFill/>
                </a:ln>
                <a:solidFill>
                  <a:srgbClr val="000000"/>
                </a:solidFill>
                <a:effectLst/>
                <a:uLnTx/>
                <a:uFillTx/>
                <a:latin typeface="Meiryo UI"/>
                <a:ea typeface="Meiryo UI"/>
                <a:cs typeface="+mn-cs"/>
              </a:rPr>
              <a:t>D</a:t>
            </a:r>
            <a:r>
              <a:rPr kumimoji="0" lang="ja-JP" altLang="en-US" sz="1800" b="0" i="0" u="none" strike="noStrike" kern="0" cap="none" spc="0" normalizeH="0" baseline="0" noProof="0">
                <a:ln>
                  <a:noFill/>
                </a:ln>
                <a:solidFill>
                  <a:srgbClr val="000000"/>
                </a:solidFill>
                <a:effectLst/>
                <a:uLnTx/>
                <a:uFillTx/>
                <a:latin typeface="Meiryo UI"/>
                <a:ea typeface="Meiryo UI"/>
                <a:cs typeface="+mn-cs"/>
              </a:rPr>
              <a:t>が自ら学びスキルを高めていくことができる仕組みを構築する</a:t>
            </a:r>
            <a:endParaRPr kumimoji="0" lang="en-US" altLang="ja-JP" sz="1800" b="0" i="0" u="none" strike="noStrike" kern="0" cap="none" spc="0" normalizeH="0" baseline="0" noProof="0">
              <a:ln>
                <a:noFill/>
              </a:ln>
              <a:solidFill>
                <a:srgbClr val="000000"/>
              </a:solidFill>
              <a:effectLst/>
              <a:uLnTx/>
              <a:uFillTx/>
              <a:latin typeface="Meiryo UI"/>
              <a:ea typeface="Meiryo UI"/>
              <a:cs typeface="+mn-cs"/>
            </a:endParaRPr>
          </a:p>
          <a:p>
            <a:pPr marL="85725" marR="0" lvl="0" indent="-85725" algn="l" defTabSz="914400" rtl="0" eaLnBrk="1" fontAlgn="auto" latinLnBrk="0" hangingPunct="1">
              <a:lnSpc>
                <a:spcPct val="100000"/>
              </a:lnSpc>
              <a:spcBef>
                <a:spcPts val="300"/>
              </a:spcBef>
              <a:spcAft>
                <a:spcPts val="0"/>
              </a:spcAft>
              <a:buClrTx/>
              <a:buSzTx/>
              <a:buFontTx/>
              <a:buNone/>
              <a:tabLst/>
              <a:defRPr/>
            </a:pPr>
            <a:r>
              <a:rPr kumimoji="0" lang="ja-JP" altLang="en-US" sz="1800" b="0" i="0" u="none" strike="noStrike" kern="0" cap="none" spc="0" normalizeH="0" baseline="0" noProof="0">
                <a:ln>
                  <a:noFill/>
                </a:ln>
                <a:solidFill>
                  <a:srgbClr val="000000"/>
                </a:solidFill>
                <a:effectLst/>
                <a:uLnTx/>
                <a:uFillTx/>
                <a:latin typeface="Meiryo UI"/>
                <a:ea typeface="Meiryo UI"/>
                <a:cs typeface="+mn-cs"/>
              </a:rPr>
              <a:t>・</a:t>
            </a:r>
            <a:r>
              <a:rPr kumimoji="0" lang="en-US" altLang="ja-JP" sz="1800" b="0" i="0" u="none" strike="noStrike" kern="0" cap="none" spc="0" normalizeH="0" baseline="0" noProof="0">
                <a:ln>
                  <a:noFill/>
                </a:ln>
                <a:solidFill>
                  <a:srgbClr val="000000"/>
                </a:solidFill>
                <a:effectLst/>
                <a:uLnTx/>
                <a:uFillTx/>
                <a:latin typeface="Meiryo UI"/>
                <a:ea typeface="Meiryo UI"/>
                <a:cs typeface="+mn-cs"/>
              </a:rPr>
              <a:t>『</a:t>
            </a:r>
            <a:r>
              <a:rPr kumimoji="0" lang="ja-JP" altLang="en-US" sz="1800" b="0" i="0" u="none" strike="noStrike" kern="0" cap="none" spc="0" normalizeH="0" baseline="0" noProof="0">
                <a:ln>
                  <a:noFill/>
                </a:ln>
                <a:solidFill>
                  <a:srgbClr val="000000"/>
                </a:solidFill>
                <a:effectLst/>
                <a:uLnTx/>
                <a:uFillTx/>
                <a:latin typeface="Meiryo UI"/>
                <a:ea typeface="Meiryo UI"/>
                <a:cs typeface="+mn-cs"/>
              </a:rPr>
              <a:t>あいまい検索</a:t>
            </a:r>
            <a:r>
              <a:rPr kumimoji="0" lang="en-US" altLang="ja-JP" sz="1800" b="0" i="0" u="none" strike="noStrike" kern="0" cap="none" spc="0" normalizeH="0" baseline="0" noProof="0">
                <a:ln>
                  <a:noFill/>
                </a:ln>
                <a:solidFill>
                  <a:srgbClr val="000000"/>
                </a:solidFill>
                <a:effectLst/>
                <a:uLnTx/>
                <a:uFillTx/>
                <a:latin typeface="Meiryo UI"/>
                <a:ea typeface="Meiryo UI"/>
                <a:cs typeface="+mn-cs"/>
              </a:rPr>
              <a:t>』</a:t>
            </a:r>
            <a:r>
              <a:rPr kumimoji="0" lang="ja-JP" altLang="en-US" sz="1800" b="0" i="0" u="none" strike="noStrike" kern="0" cap="none" spc="0" normalizeH="0" baseline="0" noProof="0">
                <a:ln>
                  <a:noFill/>
                </a:ln>
                <a:solidFill>
                  <a:srgbClr val="000000"/>
                </a:solidFill>
                <a:effectLst/>
                <a:uLnTx/>
                <a:uFillTx/>
                <a:latin typeface="Meiryo UI"/>
                <a:ea typeface="Meiryo UI"/>
                <a:cs typeface="+mn-cs"/>
              </a:rPr>
              <a:t>については特定のお客さまに対して </a:t>
            </a:r>
            <a:r>
              <a:rPr kumimoji="0" lang="ja-JP" altLang="en-US" sz="1800" b="1" i="0" u="none" strike="noStrike" kern="0" cap="none" spc="0" normalizeH="0" baseline="0" noProof="0">
                <a:ln>
                  <a:noFill/>
                </a:ln>
                <a:solidFill>
                  <a:srgbClr val="C00000"/>
                </a:solidFill>
                <a:effectLst/>
                <a:uLnTx/>
                <a:uFillTx/>
                <a:latin typeface="Meiryo UI"/>
                <a:ea typeface="Meiryo UI"/>
                <a:cs typeface="+mn-cs"/>
              </a:rPr>
              <a:t>“（次回）訪問・お客さま対応のヒントに繋がる” </a:t>
            </a:r>
            <a:r>
              <a:rPr kumimoji="0" lang="ja-JP" altLang="en-US" sz="1800" b="0" i="0" u="none" strike="noStrike" kern="0" cap="none" spc="0" normalizeH="0" baseline="0" noProof="0">
                <a:ln>
                  <a:noFill/>
                </a:ln>
                <a:solidFill>
                  <a:srgbClr val="000000"/>
                </a:solidFill>
                <a:effectLst/>
                <a:uLnTx/>
                <a:uFillTx/>
                <a:latin typeface="Meiryo UI"/>
                <a:ea typeface="Meiryo UI"/>
                <a:cs typeface="+mn-cs"/>
              </a:rPr>
              <a:t>ような機能にしたい</a:t>
            </a:r>
          </a:p>
        </p:txBody>
      </p:sp>
      <p:sp>
        <p:nvSpPr>
          <p:cNvPr id="115" name="テキスト ボックス 114">
            <a:extLst>
              <a:ext uri="{FF2B5EF4-FFF2-40B4-BE49-F238E27FC236}">
                <a16:creationId xmlns:a16="http://schemas.microsoft.com/office/drawing/2014/main" id="{882089F9-1681-F24A-034C-728802172285}"/>
              </a:ext>
            </a:extLst>
          </p:cNvPr>
          <p:cNvSpPr txBox="1"/>
          <p:nvPr/>
        </p:nvSpPr>
        <p:spPr>
          <a:xfrm>
            <a:off x="213217" y="2100848"/>
            <a:ext cx="330679" cy="474284"/>
          </a:xfrm>
          <a:prstGeom prst="rect">
            <a:avLst/>
          </a:prstGeom>
          <a:solidFill>
            <a:srgbClr val="002060"/>
          </a:solidFill>
        </p:spPr>
        <p:txBody>
          <a:bodyPr wrap="square" anchor="ctr">
            <a:noAutofit/>
          </a:bodyPr>
          <a:lstStyle/>
          <a:p>
            <a:pPr marL="0" marR="0" lvl="0" indent="0" algn="ctr" defTabSz="914400" rtl="0" eaLnBrk="1" fontAlgn="auto" latinLnBrk="0" hangingPunct="1">
              <a:lnSpc>
                <a:spcPct val="100000"/>
              </a:lnSpc>
              <a:spcBef>
                <a:spcPts val="300"/>
              </a:spcBef>
              <a:spcAft>
                <a:spcPts val="0"/>
              </a:spcAft>
              <a:buClrTx/>
              <a:buSzTx/>
              <a:buFontTx/>
              <a:buNone/>
              <a:tabLst/>
              <a:defRPr/>
            </a:pPr>
            <a:r>
              <a:rPr kumimoji="0" lang="ja-JP" altLang="en-US" sz="2000" b="1" i="0" u="none" strike="noStrike" kern="0" cap="none" spc="0" normalizeH="0" baseline="0" noProof="0">
                <a:ln>
                  <a:noFill/>
                </a:ln>
                <a:solidFill>
                  <a:prstClr val="white"/>
                </a:solidFill>
                <a:effectLst/>
                <a:uLnTx/>
                <a:uFillTx/>
                <a:latin typeface="Meiryo UI"/>
                <a:ea typeface="Meiryo UI"/>
                <a:cs typeface="+mn-cs"/>
              </a:rPr>
              <a:t>１</a:t>
            </a:r>
          </a:p>
        </p:txBody>
      </p:sp>
      <p:pic>
        <p:nvPicPr>
          <p:cNvPr id="3" name="図 2">
            <a:extLst>
              <a:ext uri="{FF2B5EF4-FFF2-40B4-BE49-F238E27FC236}">
                <a16:creationId xmlns:a16="http://schemas.microsoft.com/office/drawing/2014/main" id="{8FA9246A-253F-927E-653C-0225C04D1869}"/>
              </a:ext>
            </a:extLst>
          </p:cNvPr>
          <p:cNvPicPr>
            <a:picLocks noChangeAspect="1"/>
          </p:cNvPicPr>
          <p:nvPr/>
        </p:nvPicPr>
        <p:blipFill>
          <a:blip r:embed="rId8"/>
          <a:stretch>
            <a:fillRect/>
          </a:stretch>
        </p:blipFill>
        <p:spPr>
          <a:xfrm>
            <a:off x="1965096" y="3444135"/>
            <a:ext cx="609685" cy="838317"/>
          </a:xfrm>
          <a:prstGeom prst="rect">
            <a:avLst/>
          </a:prstGeom>
        </p:spPr>
      </p:pic>
      <p:sp>
        <p:nvSpPr>
          <p:cNvPr id="7" name="正方形/長方形 6">
            <a:extLst>
              <a:ext uri="{FF2B5EF4-FFF2-40B4-BE49-F238E27FC236}">
                <a16:creationId xmlns:a16="http://schemas.microsoft.com/office/drawing/2014/main" id="{1EBB0AE2-3CD7-26FC-B1EE-5CBBB2FE60B2}"/>
              </a:ext>
            </a:extLst>
          </p:cNvPr>
          <p:cNvSpPr/>
          <p:nvPr/>
        </p:nvSpPr>
        <p:spPr>
          <a:xfrm>
            <a:off x="1701032" y="3241871"/>
            <a:ext cx="1202513" cy="276999"/>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rPr>
              <a:t>新リーフ等をお知らせ</a:t>
            </a:r>
          </a:p>
        </p:txBody>
      </p:sp>
      <p:sp>
        <p:nvSpPr>
          <p:cNvPr id="27" name="吹き出し: 角を丸めた四角形 26">
            <a:extLst>
              <a:ext uri="{FF2B5EF4-FFF2-40B4-BE49-F238E27FC236}">
                <a16:creationId xmlns:a16="http://schemas.microsoft.com/office/drawing/2014/main" id="{44C5F828-9E9F-2523-604D-842D15F4A31F}"/>
              </a:ext>
            </a:extLst>
          </p:cNvPr>
          <p:cNvSpPr/>
          <p:nvPr/>
        </p:nvSpPr>
        <p:spPr>
          <a:xfrm>
            <a:off x="4074004" y="3345834"/>
            <a:ext cx="1718563" cy="738452"/>
          </a:xfrm>
          <a:prstGeom prst="wedgeRoundRectCallout">
            <a:avLst>
              <a:gd name="adj1" fmla="val -57044"/>
              <a:gd name="adj2" fmla="val 47022"/>
              <a:gd name="adj3" fmla="val 16667"/>
            </a:avLst>
          </a:prstGeom>
          <a:solidFill>
            <a:schemeClr val="tx2">
              <a:lumMod val="40000"/>
              <a:lumOff val="6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400" b="1"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rPr>
              <a:t>あのリーフ</a:t>
            </a:r>
            <a:endParaRPr kumimoji="1" lang="en-US" altLang="ja-JP" sz="1400" b="1"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400" b="1"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rPr>
              <a:t>誰にお知らせ</a:t>
            </a:r>
            <a:endParaRPr kumimoji="1" lang="en-US" altLang="ja-JP" sz="1400" b="1"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400" b="1"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rPr>
              <a:t>しようかな・・・？</a:t>
            </a:r>
          </a:p>
        </p:txBody>
      </p:sp>
      <p:sp>
        <p:nvSpPr>
          <p:cNvPr id="28" name="タイトル 1">
            <a:extLst>
              <a:ext uri="{FF2B5EF4-FFF2-40B4-BE49-F238E27FC236}">
                <a16:creationId xmlns:a16="http://schemas.microsoft.com/office/drawing/2014/main" id="{4C3A2C54-6C41-EDD1-D265-1C72AEA3DB2D}"/>
              </a:ext>
            </a:extLst>
          </p:cNvPr>
          <p:cNvSpPr txBox="1">
            <a:spLocks/>
          </p:cNvSpPr>
          <p:nvPr/>
        </p:nvSpPr>
        <p:spPr>
          <a:xfrm>
            <a:off x="289135" y="2774477"/>
            <a:ext cx="825150" cy="320214"/>
          </a:xfrm>
          <a:prstGeom prst="rect">
            <a:avLst/>
          </a:prstGeom>
          <a:solidFill>
            <a:schemeClr val="accent1">
              <a:lumMod val="20000"/>
              <a:lumOff val="80000"/>
            </a:schemeClr>
          </a:solidFill>
        </p:spPr>
        <p:txBody>
          <a:bodyPr anchor="ctr">
            <a:noAutofit/>
          </a:bodyPr>
          <a:lstStyle>
            <a:lvl1pPr algn="l" defTabSz="1219170" rtl="0" eaLnBrk="1" latinLnBrk="0" hangingPunct="1">
              <a:lnSpc>
                <a:spcPct val="100000"/>
              </a:lnSpc>
              <a:spcBef>
                <a:spcPct val="0"/>
              </a:spcBef>
              <a:buNone/>
              <a:defRPr kumimoji="1" sz="2400" kern="1200">
                <a:solidFill>
                  <a:schemeClr val="tx1"/>
                </a:solidFill>
                <a:latin typeface="Meiryo UI" panose="020B0604030504040204" pitchFamily="50" charset="-128"/>
                <a:ea typeface="Meiryo UI" panose="020B0604030504040204" pitchFamily="50" charset="-128"/>
                <a:cs typeface="+mj-cs"/>
              </a:defRPr>
            </a:lvl1pPr>
          </a:lstStyle>
          <a:p>
            <a:pPr marL="0" marR="0" lvl="0" indent="0" algn="ctr" defTabSz="1219170" rtl="0" eaLnBrk="1" fontAlgn="auto" latinLnBrk="0" hangingPunct="1">
              <a:lnSpc>
                <a:spcPct val="100000"/>
              </a:lnSpc>
              <a:spcBef>
                <a:spcPct val="0"/>
              </a:spcBef>
              <a:spcAft>
                <a:spcPts val="0"/>
              </a:spcAft>
              <a:buClrTx/>
              <a:buSzTx/>
              <a:buFontTx/>
              <a:buNone/>
              <a:tabLst/>
              <a:defRPr/>
            </a:pPr>
            <a:r>
              <a:rPr kumimoji="1" lang="ja-JP" altLang="en-US" sz="1800" b="0" i="0" u="none" strike="noStrike" kern="1200" cap="none" spc="0" normalizeH="0" baseline="0" noProof="0">
                <a:ln>
                  <a:noFill/>
                </a:ln>
                <a:solidFill>
                  <a:srgbClr val="282828"/>
                </a:solidFill>
                <a:effectLst/>
                <a:uLnTx/>
                <a:uFillTx/>
                <a:latin typeface="Meiryo UI" panose="020B0604030504040204" pitchFamily="50" charset="-128"/>
                <a:ea typeface="Meiryo UI" panose="020B0604030504040204" pitchFamily="50" charset="-128"/>
                <a:cs typeface="+mj-cs"/>
              </a:rPr>
              <a:t>朝礼</a:t>
            </a:r>
            <a:endParaRPr kumimoji="1" lang="en-US" altLang="ja-JP" sz="1800" b="0" i="0" u="none" strike="noStrike" kern="1200" cap="none" spc="0" normalizeH="0" baseline="0" noProof="0">
              <a:ln>
                <a:noFill/>
              </a:ln>
              <a:solidFill>
                <a:srgbClr val="282828"/>
              </a:solidFill>
              <a:effectLst/>
              <a:uLnTx/>
              <a:uFillTx/>
              <a:latin typeface="Meiryo UI" panose="020B0604030504040204" pitchFamily="50" charset="-128"/>
              <a:ea typeface="Meiryo UI" panose="020B0604030504040204" pitchFamily="50" charset="-128"/>
              <a:cs typeface="+mj-cs"/>
            </a:endParaRPr>
          </a:p>
        </p:txBody>
      </p:sp>
      <p:pic>
        <p:nvPicPr>
          <p:cNvPr id="29" name="図 28">
            <a:extLst>
              <a:ext uri="{FF2B5EF4-FFF2-40B4-BE49-F238E27FC236}">
                <a16:creationId xmlns:a16="http://schemas.microsoft.com/office/drawing/2014/main" id="{FDB076DC-27B2-D68B-F222-9FC0F5DEE8F9}"/>
              </a:ext>
            </a:extLst>
          </p:cNvPr>
          <p:cNvPicPr>
            <a:picLocks noChangeAspect="1"/>
          </p:cNvPicPr>
          <p:nvPr/>
        </p:nvPicPr>
        <p:blipFill>
          <a:blip r:embed="rId3" cstate="print">
            <a:extLst>
              <a:ext uri="{BEBA8EAE-BF5A-486C-A8C5-ECC9F3942E4B}">
                <a14:imgProps xmlns:a14="http://schemas.microsoft.com/office/drawing/2010/main">
                  <a14:imgLayer r:embed="rId4">
                    <a14:imgEffect>
                      <a14:colorTemperature colorTemp="5900"/>
                    </a14:imgEffect>
                  </a14:imgLayer>
                </a14:imgProps>
              </a:ext>
              <a:ext uri="{28A0092B-C50C-407E-A947-70E740481C1C}">
                <a14:useLocalDpi xmlns:a14="http://schemas.microsoft.com/office/drawing/2010/main" val="0"/>
              </a:ext>
            </a:extLst>
          </a:blip>
          <a:stretch>
            <a:fillRect/>
          </a:stretch>
        </p:blipFill>
        <p:spPr>
          <a:xfrm>
            <a:off x="677594" y="5638510"/>
            <a:ext cx="827499" cy="771766"/>
          </a:xfrm>
          <a:prstGeom prst="rect">
            <a:avLst/>
          </a:prstGeom>
        </p:spPr>
      </p:pic>
      <p:pic>
        <p:nvPicPr>
          <p:cNvPr id="30" name="図 29">
            <a:extLst>
              <a:ext uri="{FF2B5EF4-FFF2-40B4-BE49-F238E27FC236}">
                <a16:creationId xmlns:a16="http://schemas.microsoft.com/office/drawing/2014/main" id="{C15E4C85-68B0-15D1-C4B6-CBF69B35D8D8}"/>
              </a:ext>
            </a:extLst>
          </p:cNvPr>
          <p:cNvPicPr>
            <a:picLocks noChangeAspect="1"/>
          </p:cNvPicPr>
          <p:nvPr/>
        </p:nvPicPr>
        <p:blipFill>
          <a:blip r:embed="rId5">
            <a:grayscl/>
          </a:blip>
          <a:stretch>
            <a:fillRect/>
          </a:stretch>
        </p:blipFill>
        <p:spPr>
          <a:xfrm>
            <a:off x="3134539" y="5737016"/>
            <a:ext cx="737680" cy="713294"/>
          </a:xfrm>
          <a:prstGeom prst="rect">
            <a:avLst/>
          </a:prstGeom>
        </p:spPr>
      </p:pic>
      <p:pic>
        <p:nvPicPr>
          <p:cNvPr id="31" name="グラフィックス 30" descr="右矢印 単色塗りつぶし">
            <a:extLst>
              <a:ext uri="{FF2B5EF4-FFF2-40B4-BE49-F238E27FC236}">
                <a16:creationId xmlns:a16="http://schemas.microsoft.com/office/drawing/2014/main" id="{58481827-B812-90CB-61B8-6D8B834A881D}"/>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rot="10800000" flipH="1">
            <a:off x="1686068" y="5655421"/>
            <a:ext cx="1349715" cy="681049"/>
          </a:xfrm>
          <a:prstGeom prst="rect">
            <a:avLst/>
          </a:prstGeom>
        </p:spPr>
      </p:pic>
      <p:sp>
        <p:nvSpPr>
          <p:cNvPr id="36" name="テキスト ボックス 35">
            <a:extLst>
              <a:ext uri="{FF2B5EF4-FFF2-40B4-BE49-F238E27FC236}">
                <a16:creationId xmlns:a16="http://schemas.microsoft.com/office/drawing/2014/main" id="{983B2CB6-2CC4-907C-5610-5BE7EF5CA4BB}"/>
              </a:ext>
            </a:extLst>
          </p:cNvPr>
          <p:cNvSpPr txBox="1"/>
          <p:nvPr/>
        </p:nvSpPr>
        <p:spPr>
          <a:xfrm>
            <a:off x="388250" y="5295432"/>
            <a:ext cx="1442381" cy="338554"/>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ja-JP" altLang="en-US" sz="1600" b="0" i="0" u="none" strike="noStrike" kern="0" cap="none" spc="0" normalizeH="0" baseline="0" noProof="0">
                <a:ln>
                  <a:noFill/>
                </a:ln>
                <a:solidFill>
                  <a:prstClr val="black">
                    <a:lumMod val="75000"/>
                    <a:lumOff val="25000"/>
                  </a:prstClr>
                </a:solidFill>
                <a:effectLst/>
                <a:uLnTx/>
                <a:uFillTx/>
                <a:latin typeface="Meiryo UI"/>
                <a:ea typeface="Meiryo UI"/>
                <a:cs typeface="+mn-cs"/>
              </a:rPr>
              <a:t>機関長</a:t>
            </a:r>
            <a:endParaRPr kumimoji="0" lang="en-US" altLang="ja-JP" sz="1600" b="0" i="0" u="none" strike="noStrike" kern="0" cap="none" spc="0" normalizeH="0" baseline="0" noProof="0">
              <a:ln>
                <a:noFill/>
              </a:ln>
              <a:solidFill>
                <a:prstClr val="black">
                  <a:lumMod val="75000"/>
                  <a:lumOff val="25000"/>
                </a:prstClr>
              </a:solidFill>
              <a:effectLst/>
              <a:uLnTx/>
              <a:uFillTx/>
              <a:latin typeface="Meiryo UI"/>
              <a:ea typeface="Meiryo UI"/>
              <a:cs typeface="+mn-cs"/>
            </a:endParaRPr>
          </a:p>
        </p:txBody>
      </p:sp>
      <p:sp>
        <p:nvSpPr>
          <p:cNvPr id="43" name="テキスト ボックス 42">
            <a:extLst>
              <a:ext uri="{FF2B5EF4-FFF2-40B4-BE49-F238E27FC236}">
                <a16:creationId xmlns:a16="http://schemas.microsoft.com/office/drawing/2014/main" id="{12426EAA-AA5F-E40D-201D-88509E58046F}"/>
              </a:ext>
            </a:extLst>
          </p:cNvPr>
          <p:cNvSpPr txBox="1"/>
          <p:nvPr/>
        </p:nvSpPr>
        <p:spPr>
          <a:xfrm>
            <a:off x="2812031" y="5322218"/>
            <a:ext cx="1442381" cy="276999"/>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ja-JP" altLang="en-US" sz="1200" b="0" i="0" u="none" strike="noStrike" kern="0" cap="none" spc="0" normalizeH="0" baseline="0" noProof="0">
                <a:ln>
                  <a:noFill/>
                </a:ln>
                <a:solidFill>
                  <a:prstClr val="black">
                    <a:lumMod val="75000"/>
                    <a:lumOff val="25000"/>
                  </a:prstClr>
                </a:solidFill>
                <a:effectLst/>
                <a:uLnTx/>
                <a:uFillTx/>
                <a:latin typeface="Meiryo UI"/>
                <a:ea typeface="Meiryo UI"/>
                <a:cs typeface="+mn-cs"/>
              </a:rPr>
              <a:t>生涯設計</a:t>
            </a:r>
            <a:r>
              <a:rPr kumimoji="0" lang="en-US" altLang="ja-JP" sz="1200" b="0" i="0" u="none" strike="noStrike" kern="0" cap="none" spc="0" normalizeH="0" baseline="0" noProof="0">
                <a:ln>
                  <a:noFill/>
                </a:ln>
                <a:solidFill>
                  <a:prstClr val="black">
                    <a:lumMod val="75000"/>
                    <a:lumOff val="25000"/>
                  </a:prstClr>
                </a:solidFill>
                <a:effectLst/>
                <a:uLnTx/>
                <a:uFillTx/>
                <a:latin typeface="Meiryo UI"/>
                <a:ea typeface="Meiryo UI"/>
                <a:cs typeface="+mn-cs"/>
              </a:rPr>
              <a:t>D</a:t>
            </a:r>
          </a:p>
        </p:txBody>
      </p:sp>
      <p:pic>
        <p:nvPicPr>
          <p:cNvPr id="45" name="図 44">
            <a:extLst>
              <a:ext uri="{FF2B5EF4-FFF2-40B4-BE49-F238E27FC236}">
                <a16:creationId xmlns:a16="http://schemas.microsoft.com/office/drawing/2014/main" id="{0DD4B4E0-9A7E-4534-CF76-2992B803985E}"/>
              </a:ext>
            </a:extLst>
          </p:cNvPr>
          <p:cNvPicPr>
            <a:picLocks noChangeAspect="1"/>
          </p:cNvPicPr>
          <p:nvPr/>
        </p:nvPicPr>
        <p:blipFill>
          <a:blip r:embed="rId8"/>
          <a:stretch>
            <a:fillRect/>
          </a:stretch>
        </p:blipFill>
        <p:spPr>
          <a:xfrm>
            <a:off x="1965096" y="5579435"/>
            <a:ext cx="609685" cy="838317"/>
          </a:xfrm>
          <a:prstGeom prst="rect">
            <a:avLst/>
          </a:prstGeom>
        </p:spPr>
      </p:pic>
      <p:sp>
        <p:nvSpPr>
          <p:cNvPr id="47" name="正方形/長方形 46">
            <a:extLst>
              <a:ext uri="{FF2B5EF4-FFF2-40B4-BE49-F238E27FC236}">
                <a16:creationId xmlns:a16="http://schemas.microsoft.com/office/drawing/2014/main" id="{A486940D-E8B6-E167-D7BA-583D3DFD694B}"/>
              </a:ext>
            </a:extLst>
          </p:cNvPr>
          <p:cNvSpPr/>
          <p:nvPr/>
        </p:nvSpPr>
        <p:spPr>
          <a:xfrm>
            <a:off x="1759156" y="5404795"/>
            <a:ext cx="1086267" cy="276999"/>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rPr>
              <a:t>次の訪問の</a:t>
            </a:r>
            <a:endParaRPr kumimoji="1" lang="en-US" altLang="ja-JP"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rPr>
              <a:t>アドバイス</a:t>
            </a:r>
          </a:p>
        </p:txBody>
      </p:sp>
      <p:sp>
        <p:nvSpPr>
          <p:cNvPr id="52" name="吹き出し: 角を丸めた四角形 51">
            <a:extLst>
              <a:ext uri="{FF2B5EF4-FFF2-40B4-BE49-F238E27FC236}">
                <a16:creationId xmlns:a16="http://schemas.microsoft.com/office/drawing/2014/main" id="{94066E29-7B50-9B03-8DDB-0B14469C78A9}"/>
              </a:ext>
            </a:extLst>
          </p:cNvPr>
          <p:cNvSpPr/>
          <p:nvPr/>
        </p:nvSpPr>
        <p:spPr>
          <a:xfrm>
            <a:off x="4074004" y="5481134"/>
            <a:ext cx="1718563" cy="738452"/>
          </a:xfrm>
          <a:prstGeom prst="wedgeRoundRectCallout">
            <a:avLst>
              <a:gd name="adj1" fmla="val -57044"/>
              <a:gd name="adj2" fmla="val 47022"/>
              <a:gd name="adj3" fmla="val 16667"/>
            </a:avLst>
          </a:prstGeom>
          <a:solidFill>
            <a:schemeClr val="tx2">
              <a:lumMod val="40000"/>
              <a:lumOff val="6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400" b="1"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rPr>
              <a:t>教えてもらった</a:t>
            </a:r>
            <a:endParaRPr kumimoji="1" lang="en-US" altLang="ja-JP" sz="1400" b="1"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400" b="1"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rPr>
              <a:t>リーフを使って</a:t>
            </a:r>
            <a:endParaRPr kumimoji="1" lang="en-US" altLang="ja-JP" sz="1400" b="1"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400" b="1"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rPr>
              <a:t>アポ取ります！</a:t>
            </a:r>
          </a:p>
        </p:txBody>
      </p:sp>
      <p:sp>
        <p:nvSpPr>
          <p:cNvPr id="55" name="タイトル 1">
            <a:extLst>
              <a:ext uri="{FF2B5EF4-FFF2-40B4-BE49-F238E27FC236}">
                <a16:creationId xmlns:a16="http://schemas.microsoft.com/office/drawing/2014/main" id="{56BD6F56-4460-BF98-F20C-A886333D829C}"/>
              </a:ext>
            </a:extLst>
          </p:cNvPr>
          <p:cNvSpPr txBox="1">
            <a:spLocks/>
          </p:cNvSpPr>
          <p:nvPr/>
        </p:nvSpPr>
        <p:spPr>
          <a:xfrm>
            <a:off x="289135" y="4909777"/>
            <a:ext cx="825150" cy="320214"/>
          </a:xfrm>
          <a:prstGeom prst="rect">
            <a:avLst/>
          </a:prstGeom>
          <a:solidFill>
            <a:schemeClr val="accent1">
              <a:lumMod val="20000"/>
              <a:lumOff val="80000"/>
            </a:schemeClr>
          </a:solidFill>
        </p:spPr>
        <p:txBody>
          <a:bodyPr anchor="ctr">
            <a:noAutofit/>
          </a:bodyPr>
          <a:lstStyle>
            <a:lvl1pPr algn="l" defTabSz="1219170" rtl="0" eaLnBrk="1" latinLnBrk="0" hangingPunct="1">
              <a:lnSpc>
                <a:spcPct val="100000"/>
              </a:lnSpc>
              <a:spcBef>
                <a:spcPct val="0"/>
              </a:spcBef>
              <a:buNone/>
              <a:defRPr kumimoji="1" sz="2400" kern="1200">
                <a:solidFill>
                  <a:schemeClr val="tx1"/>
                </a:solidFill>
                <a:latin typeface="Meiryo UI" panose="020B0604030504040204" pitchFamily="50" charset="-128"/>
                <a:ea typeface="Meiryo UI" panose="020B0604030504040204" pitchFamily="50" charset="-128"/>
                <a:cs typeface="+mj-cs"/>
              </a:defRPr>
            </a:lvl1pPr>
          </a:lstStyle>
          <a:p>
            <a:pPr marL="0" marR="0" lvl="0" indent="0" algn="ctr" defTabSz="1219170" rtl="0" eaLnBrk="1" fontAlgn="auto" latinLnBrk="0" hangingPunct="1">
              <a:lnSpc>
                <a:spcPct val="100000"/>
              </a:lnSpc>
              <a:spcBef>
                <a:spcPct val="0"/>
              </a:spcBef>
              <a:spcAft>
                <a:spcPts val="0"/>
              </a:spcAft>
              <a:buClrTx/>
              <a:buSzTx/>
              <a:buFontTx/>
              <a:buNone/>
              <a:tabLst/>
              <a:defRPr/>
            </a:pPr>
            <a:r>
              <a:rPr kumimoji="1" lang="ja-JP" altLang="en-US" sz="1800" b="0" i="0" u="none" strike="noStrike" kern="1200" cap="none" spc="0" normalizeH="0" baseline="0" noProof="0">
                <a:ln>
                  <a:noFill/>
                </a:ln>
                <a:solidFill>
                  <a:srgbClr val="282828"/>
                </a:solidFill>
                <a:effectLst/>
                <a:uLnTx/>
                <a:uFillTx/>
                <a:latin typeface="Meiryo UI" panose="020B0604030504040204" pitchFamily="50" charset="-128"/>
                <a:ea typeface="Meiryo UI" panose="020B0604030504040204" pitchFamily="50" charset="-128"/>
                <a:cs typeface="+mj-cs"/>
              </a:rPr>
              <a:t>対話</a:t>
            </a:r>
            <a:endParaRPr kumimoji="1" lang="en-US" altLang="ja-JP" sz="1800" b="0" i="0" u="none" strike="noStrike" kern="1200" cap="none" spc="0" normalizeH="0" baseline="0" noProof="0">
              <a:ln>
                <a:noFill/>
              </a:ln>
              <a:solidFill>
                <a:srgbClr val="282828"/>
              </a:solidFill>
              <a:effectLst/>
              <a:uLnTx/>
              <a:uFillTx/>
              <a:latin typeface="Meiryo UI" panose="020B0604030504040204" pitchFamily="50" charset="-128"/>
              <a:ea typeface="Meiryo UI" panose="020B0604030504040204" pitchFamily="50" charset="-128"/>
              <a:cs typeface="+mj-cs"/>
            </a:endParaRPr>
          </a:p>
        </p:txBody>
      </p:sp>
      <p:sp>
        <p:nvSpPr>
          <p:cNvPr id="64" name="タイトル 1">
            <a:extLst>
              <a:ext uri="{FF2B5EF4-FFF2-40B4-BE49-F238E27FC236}">
                <a16:creationId xmlns:a16="http://schemas.microsoft.com/office/drawing/2014/main" id="{6D3EFE05-C72B-0819-2C31-2524D52CA5B6}"/>
              </a:ext>
            </a:extLst>
          </p:cNvPr>
          <p:cNvSpPr txBox="1">
            <a:spLocks/>
          </p:cNvSpPr>
          <p:nvPr/>
        </p:nvSpPr>
        <p:spPr>
          <a:xfrm>
            <a:off x="6815565" y="2174001"/>
            <a:ext cx="4546311" cy="738452"/>
          </a:xfrm>
          <a:prstGeom prst="rect">
            <a:avLst/>
          </a:prstGeom>
        </p:spPr>
        <p:txBody>
          <a:bodyPr>
            <a:noAutofit/>
          </a:bodyPr>
          <a:lstStyle>
            <a:lvl1pPr algn="l" defTabSz="1219170" rtl="0" eaLnBrk="1" latinLnBrk="0" hangingPunct="1">
              <a:lnSpc>
                <a:spcPct val="100000"/>
              </a:lnSpc>
              <a:spcBef>
                <a:spcPct val="0"/>
              </a:spcBef>
              <a:buNone/>
              <a:defRPr kumimoji="1" sz="2400" kern="1200">
                <a:solidFill>
                  <a:schemeClr val="tx1"/>
                </a:solidFill>
                <a:latin typeface="Meiryo UI" panose="020B0604030504040204" pitchFamily="50" charset="-128"/>
                <a:ea typeface="Meiryo UI" panose="020B0604030504040204" pitchFamily="50" charset="-128"/>
                <a:cs typeface="+mj-cs"/>
              </a:defRPr>
            </a:lvl1pPr>
          </a:lstStyle>
          <a:p>
            <a:pPr marL="0" marR="0" lvl="0" indent="0" algn="l" defTabSz="1219170" rtl="0" eaLnBrk="1" fontAlgn="auto" latinLnBrk="0" hangingPunct="1">
              <a:lnSpc>
                <a:spcPct val="100000"/>
              </a:lnSpc>
              <a:spcBef>
                <a:spcPct val="0"/>
              </a:spcBef>
              <a:spcAft>
                <a:spcPts val="0"/>
              </a:spcAft>
              <a:buClrTx/>
              <a:buSzTx/>
              <a:buFontTx/>
              <a:buNone/>
              <a:tabLst/>
              <a:defRPr/>
            </a:pPr>
            <a:r>
              <a:rPr kumimoji="1" lang="ja-JP" altLang="en-US" sz="1800" b="1" i="0" u="none" strike="noStrike" kern="1200" cap="none" spc="0" normalizeH="0" baseline="0" noProof="0">
                <a:ln>
                  <a:noFill/>
                </a:ln>
                <a:solidFill>
                  <a:srgbClr val="282828"/>
                </a:solidFill>
                <a:effectLst/>
                <a:uLnTx/>
                <a:uFillTx/>
                <a:latin typeface="Meiryo UI" panose="020B0604030504040204" pitchFamily="50" charset="-128"/>
                <a:ea typeface="Meiryo UI" panose="020B0604030504040204" pitchFamily="50" charset="-128"/>
                <a:cs typeface="+mj-cs"/>
              </a:rPr>
              <a:t>課題・解決策整理</a:t>
            </a:r>
            <a:endParaRPr kumimoji="1" lang="en-US" altLang="ja-JP" sz="1800" b="1" i="0" u="none" strike="noStrike" kern="1200" cap="none" spc="0" normalizeH="0" baseline="0" noProof="0">
              <a:ln>
                <a:noFill/>
              </a:ln>
              <a:solidFill>
                <a:srgbClr val="282828"/>
              </a:solidFill>
              <a:effectLst/>
              <a:uLnTx/>
              <a:uFillTx/>
              <a:latin typeface="Meiryo UI" panose="020B0604030504040204" pitchFamily="50" charset="-128"/>
              <a:ea typeface="Meiryo UI" panose="020B0604030504040204" pitchFamily="50" charset="-128"/>
              <a:cs typeface="+mj-cs"/>
            </a:endParaRPr>
          </a:p>
        </p:txBody>
      </p:sp>
      <p:sp>
        <p:nvSpPr>
          <p:cNvPr id="65" name="テキスト ボックス 64">
            <a:extLst>
              <a:ext uri="{FF2B5EF4-FFF2-40B4-BE49-F238E27FC236}">
                <a16:creationId xmlns:a16="http://schemas.microsoft.com/office/drawing/2014/main" id="{273A31CE-9B66-8475-D80D-7D82DE1E7650}"/>
              </a:ext>
            </a:extLst>
          </p:cNvPr>
          <p:cNvSpPr txBox="1"/>
          <p:nvPr/>
        </p:nvSpPr>
        <p:spPr>
          <a:xfrm>
            <a:off x="6489907" y="2100848"/>
            <a:ext cx="330679" cy="474284"/>
          </a:xfrm>
          <a:prstGeom prst="rect">
            <a:avLst/>
          </a:prstGeom>
          <a:solidFill>
            <a:srgbClr val="002060"/>
          </a:solidFill>
        </p:spPr>
        <p:txBody>
          <a:bodyPr wrap="square" anchor="ctr">
            <a:noAutofit/>
          </a:bodyPr>
          <a:lstStyle/>
          <a:p>
            <a:pPr marL="0" marR="0" lvl="0" indent="0" algn="ctr" defTabSz="914400" rtl="0" eaLnBrk="1" fontAlgn="auto" latinLnBrk="0" hangingPunct="1">
              <a:lnSpc>
                <a:spcPct val="100000"/>
              </a:lnSpc>
              <a:spcBef>
                <a:spcPts val="300"/>
              </a:spcBef>
              <a:spcAft>
                <a:spcPts val="0"/>
              </a:spcAft>
              <a:buClrTx/>
              <a:buSzTx/>
              <a:buFontTx/>
              <a:buNone/>
              <a:tabLst/>
              <a:defRPr/>
            </a:pPr>
            <a:r>
              <a:rPr kumimoji="0" lang="ja-JP" altLang="en-US" sz="2000" b="1" i="0" u="none" strike="noStrike" kern="0" cap="none" spc="0" normalizeH="0" baseline="0" noProof="0">
                <a:ln>
                  <a:noFill/>
                </a:ln>
                <a:solidFill>
                  <a:prstClr val="white"/>
                </a:solidFill>
                <a:effectLst/>
                <a:uLnTx/>
                <a:uFillTx/>
                <a:latin typeface="Meiryo UI"/>
                <a:ea typeface="Meiryo UI"/>
                <a:cs typeface="+mn-cs"/>
              </a:rPr>
              <a:t>２</a:t>
            </a:r>
          </a:p>
        </p:txBody>
      </p:sp>
      <p:sp>
        <p:nvSpPr>
          <p:cNvPr id="5" name="タイトル 1">
            <a:extLst>
              <a:ext uri="{FF2B5EF4-FFF2-40B4-BE49-F238E27FC236}">
                <a16:creationId xmlns:a16="http://schemas.microsoft.com/office/drawing/2014/main" id="{5C97FD29-8DEB-6536-83D7-31988020B947}"/>
              </a:ext>
            </a:extLst>
          </p:cNvPr>
          <p:cNvSpPr txBox="1">
            <a:spLocks/>
          </p:cNvSpPr>
          <p:nvPr/>
        </p:nvSpPr>
        <p:spPr>
          <a:xfrm>
            <a:off x="6479182" y="2780185"/>
            <a:ext cx="2667420" cy="320214"/>
          </a:xfrm>
          <a:prstGeom prst="rect">
            <a:avLst/>
          </a:prstGeom>
          <a:solidFill>
            <a:schemeClr val="accent1">
              <a:lumMod val="60000"/>
              <a:lumOff val="40000"/>
            </a:schemeClr>
          </a:solidFill>
        </p:spPr>
        <p:txBody>
          <a:bodyPr anchor="ctr">
            <a:noAutofit/>
          </a:bodyPr>
          <a:lstStyle>
            <a:lvl1pPr algn="l" defTabSz="1219170" rtl="0" eaLnBrk="1" latinLnBrk="0" hangingPunct="1">
              <a:lnSpc>
                <a:spcPct val="100000"/>
              </a:lnSpc>
              <a:spcBef>
                <a:spcPct val="0"/>
              </a:spcBef>
              <a:buNone/>
              <a:defRPr kumimoji="1" sz="2400" kern="1200">
                <a:solidFill>
                  <a:schemeClr val="tx1"/>
                </a:solidFill>
                <a:latin typeface="Meiryo UI" panose="020B0604030504040204" pitchFamily="50" charset="-128"/>
                <a:ea typeface="Meiryo UI" panose="020B0604030504040204" pitchFamily="50" charset="-128"/>
                <a:cs typeface="+mj-cs"/>
              </a:defRPr>
            </a:lvl1pPr>
          </a:lstStyle>
          <a:p>
            <a:pPr marL="0" marR="0" lvl="0" indent="0" algn="ctr" defTabSz="1219170" rtl="0" eaLnBrk="1" fontAlgn="auto" latinLnBrk="0" hangingPunct="1">
              <a:lnSpc>
                <a:spcPct val="100000"/>
              </a:lnSpc>
              <a:spcBef>
                <a:spcPct val="0"/>
              </a:spcBef>
              <a:spcAft>
                <a:spcPts val="0"/>
              </a:spcAft>
              <a:buClrTx/>
              <a:buSzTx/>
              <a:buFontTx/>
              <a:buNone/>
              <a:tabLst/>
              <a:defRPr/>
            </a:pPr>
            <a:r>
              <a:rPr kumimoji="1" lang="ja-JP" altLang="en-US" sz="1800" b="0" i="0" u="none" strike="noStrike" kern="1200" cap="none" spc="0" normalizeH="0" baseline="0" noProof="0">
                <a:ln>
                  <a:noFill/>
                </a:ln>
                <a:solidFill>
                  <a:srgbClr val="282828"/>
                </a:solidFill>
                <a:effectLst/>
                <a:uLnTx/>
                <a:uFillTx/>
                <a:latin typeface="Meiryo UI" panose="020B0604030504040204" pitchFamily="50" charset="-128"/>
                <a:ea typeface="Meiryo UI" panose="020B0604030504040204" pitchFamily="50" charset="-128"/>
                <a:cs typeface="+mj-cs"/>
              </a:rPr>
              <a:t>課題</a:t>
            </a:r>
            <a:endParaRPr kumimoji="1" lang="en-US" altLang="ja-JP" sz="1800" b="0" i="0" u="none" strike="noStrike" kern="1200" cap="none" spc="0" normalizeH="0" baseline="0" noProof="0">
              <a:ln>
                <a:noFill/>
              </a:ln>
              <a:solidFill>
                <a:srgbClr val="282828"/>
              </a:solidFill>
              <a:effectLst/>
              <a:uLnTx/>
              <a:uFillTx/>
              <a:latin typeface="Meiryo UI" panose="020B0604030504040204" pitchFamily="50" charset="-128"/>
              <a:ea typeface="Meiryo UI" panose="020B0604030504040204" pitchFamily="50" charset="-128"/>
              <a:cs typeface="+mj-cs"/>
            </a:endParaRPr>
          </a:p>
        </p:txBody>
      </p:sp>
      <p:sp>
        <p:nvSpPr>
          <p:cNvPr id="66" name="タイトル 1">
            <a:extLst>
              <a:ext uri="{FF2B5EF4-FFF2-40B4-BE49-F238E27FC236}">
                <a16:creationId xmlns:a16="http://schemas.microsoft.com/office/drawing/2014/main" id="{1809263A-072F-CF6E-B436-5C72D7527186}"/>
              </a:ext>
            </a:extLst>
          </p:cNvPr>
          <p:cNvSpPr txBox="1">
            <a:spLocks/>
          </p:cNvSpPr>
          <p:nvPr/>
        </p:nvSpPr>
        <p:spPr>
          <a:xfrm>
            <a:off x="9359891" y="2782485"/>
            <a:ext cx="2667420" cy="320214"/>
          </a:xfrm>
          <a:prstGeom prst="rect">
            <a:avLst/>
          </a:prstGeom>
          <a:solidFill>
            <a:schemeClr val="accent2">
              <a:lumMod val="60000"/>
              <a:lumOff val="40000"/>
            </a:schemeClr>
          </a:solidFill>
        </p:spPr>
        <p:txBody>
          <a:bodyPr anchor="ctr">
            <a:noAutofit/>
          </a:bodyPr>
          <a:lstStyle>
            <a:lvl1pPr algn="l" defTabSz="1219170" rtl="0" eaLnBrk="1" latinLnBrk="0" hangingPunct="1">
              <a:lnSpc>
                <a:spcPct val="100000"/>
              </a:lnSpc>
              <a:spcBef>
                <a:spcPct val="0"/>
              </a:spcBef>
              <a:buNone/>
              <a:defRPr kumimoji="1" sz="2400" kern="1200">
                <a:solidFill>
                  <a:schemeClr val="tx1"/>
                </a:solidFill>
                <a:latin typeface="Meiryo UI" panose="020B0604030504040204" pitchFamily="50" charset="-128"/>
                <a:ea typeface="Meiryo UI" panose="020B0604030504040204" pitchFamily="50" charset="-128"/>
                <a:cs typeface="+mj-cs"/>
              </a:defRPr>
            </a:lvl1pPr>
          </a:lstStyle>
          <a:p>
            <a:pPr marL="0" marR="0" lvl="0" indent="0" algn="ctr" defTabSz="1219170" rtl="0" eaLnBrk="1" fontAlgn="auto" latinLnBrk="0" hangingPunct="1">
              <a:lnSpc>
                <a:spcPct val="100000"/>
              </a:lnSpc>
              <a:spcBef>
                <a:spcPct val="0"/>
              </a:spcBef>
              <a:spcAft>
                <a:spcPts val="0"/>
              </a:spcAft>
              <a:buClrTx/>
              <a:buSzTx/>
              <a:buFontTx/>
              <a:buNone/>
              <a:tabLst/>
              <a:defRPr/>
            </a:pPr>
            <a:r>
              <a:rPr kumimoji="1" lang="ja-JP" altLang="en-US" sz="1800" b="0" i="0" u="none" strike="noStrike" kern="1200" cap="none" spc="0" normalizeH="0" baseline="0" noProof="0">
                <a:ln>
                  <a:noFill/>
                </a:ln>
                <a:solidFill>
                  <a:srgbClr val="282828"/>
                </a:solidFill>
                <a:effectLst/>
                <a:uLnTx/>
                <a:uFillTx/>
                <a:latin typeface="Meiryo UI" panose="020B0604030504040204" pitchFamily="50" charset="-128"/>
                <a:ea typeface="Meiryo UI" panose="020B0604030504040204" pitchFamily="50" charset="-128"/>
                <a:cs typeface="+mj-cs"/>
              </a:rPr>
              <a:t>解決策</a:t>
            </a:r>
            <a:endParaRPr kumimoji="1" lang="en-US" altLang="ja-JP" sz="1800" b="0" i="0" u="none" strike="noStrike" kern="1200" cap="none" spc="0" normalizeH="0" baseline="0" noProof="0">
              <a:ln>
                <a:noFill/>
              </a:ln>
              <a:solidFill>
                <a:srgbClr val="282828"/>
              </a:solidFill>
              <a:effectLst/>
              <a:uLnTx/>
              <a:uFillTx/>
              <a:latin typeface="Meiryo UI" panose="020B0604030504040204" pitchFamily="50" charset="-128"/>
              <a:ea typeface="Meiryo UI" panose="020B0604030504040204" pitchFamily="50" charset="-128"/>
              <a:cs typeface="+mj-cs"/>
            </a:endParaRPr>
          </a:p>
        </p:txBody>
      </p:sp>
      <p:sp>
        <p:nvSpPr>
          <p:cNvPr id="67" name="タイトル 1">
            <a:extLst>
              <a:ext uri="{FF2B5EF4-FFF2-40B4-BE49-F238E27FC236}">
                <a16:creationId xmlns:a16="http://schemas.microsoft.com/office/drawing/2014/main" id="{B8F3C916-923B-125C-C8D2-C004B79B33E5}"/>
              </a:ext>
            </a:extLst>
          </p:cNvPr>
          <p:cNvSpPr txBox="1">
            <a:spLocks/>
          </p:cNvSpPr>
          <p:nvPr/>
        </p:nvSpPr>
        <p:spPr>
          <a:xfrm>
            <a:off x="6489907" y="3176198"/>
            <a:ext cx="2667420" cy="1008000"/>
          </a:xfrm>
          <a:prstGeom prst="rect">
            <a:avLst/>
          </a:prstGeom>
          <a:solidFill>
            <a:schemeClr val="accent1">
              <a:lumMod val="20000"/>
              <a:lumOff val="80000"/>
            </a:schemeClr>
          </a:solidFill>
        </p:spPr>
        <p:txBody>
          <a:bodyPr anchor="ctr">
            <a:noAutofit/>
          </a:bodyPr>
          <a:lstStyle>
            <a:lvl1pPr algn="l" defTabSz="1219170" rtl="0" eaLnBrk="1" latinLnBrk="0" hangingPunct="1">
              <a:lnSpc>
                <a:spcPct val="100000"/>
              </a:lnSpc>
              <a:spcBef>
                <a:spcPct val="0"/>
              </a:spcBef>
              <a:buNone/>
              <a:defRPr kumimoji="1" sz="2400" kern="1200">
                <a:solidFill>
                  <a:schemeClr val="tx1"/>
                </a:solidFill>
                <a:latin typeface="Meiryo UI" panose="020B0604030504040204" pitchFamily="50" charset="-128"/>
                <a:ea typeface="Meiryo UI" panose="020B0604030504040204" pitchFamily="50" charset="-128"/>
                <a:cs typeface="+mj-cs"/>
              </a:defRPr>
            </a:lvl1pPr>
          </a:lstStyle>
          <a:p>
            <a:pPr marL="0" marR="0" lvl="0" indent="0" algn="ctr" defTabSz="1219170" rtl="0" eaLnBrk="1" fontAlgn="auto" latinLnBrk="0" hangingPunct="1">
              <a:lnSpc>
                <a:spcPct val="100000"/>
              </a:lnSpc>
              <a:spcBef>
                <a:spcPct val="0"/>
              </a:spcBef>
              <a:spcAft>
                <a:spcPts val="0"/>
              </a:spcAft>
              <a:buClrTx/>
              <a:buSzTx/>
              <a:buFontTx/>
              <a:buNone/>
              <a:tabLst/>
              <a:defRPr/>
            </a:pPr>
            <a:r>
              <a:rPr lang="ja-JP" altLang="en-US" sz="1400" dirty="0">
                <a:solidFill>
                  <a:srgbClr val="282828"/>
                </a:solidFill>
              </a:rPr>
              <a:t>指導者を通じてでないと</a:t>
            </a:r>
            <a:endParaRPr lang="en-US" altLang="ja-JP" sz="1400" dirty="0">
              <a:solidFill>
                <a:srgbClr val="282828"/>
              </a:solidFill>
            </a:endParaRPr>
          </a:p>
          <a:p>
            <a:pPr marL="0" marR="0" lvl="0" indent="0" algn="ctr" defTabSz="1219170" rtl="0" eaLnBrk="1" fontAlgn="auto" latinLnBrk="0" hangingPunct="1">
              <a:lnSpc>
                <a:spcPct val="100000"/>
              </a:lnSpc>
              <a:spcBef>
                <a:spcPct val="0"/>
              </a:spcBef>
              <a:spcAft>
                <a:spcPts val="0"/>
              </a:spcAft>
              <a:buClrTx/>
              <a:buSzTx/>
              <a:buFontTx/>
              <a:buNone/>
              <a:tabLst/>
              <a:defRPr/>
            </a:pPr>
            <a:r>
              <a:rPr kumimoji="1" lang="ja-JP" altLang="en-US" sz="1400" b="0" i="0" u="none" strike="noStrike" kern="1200" cap="none" spc="0" normalizeH="0" baseline="0" noProof="0" dirty="0">
                <a:ln>
                  <a:noFill/>
                </a:ln>
                <a:solidFill>
                  <a:srgbClr val="282828"/>
                </a:solidFill>
                <a:effectLst/>
                <a:uLnTx/>
                <a:uFillTx/>
                <a:latin typeface="Meiryo UI" panose="020B0604030504040204" pitchFamily="50" charset="-128"/>
                <a:ea typeface="Meiryo UI" panose="020B0604030504040204" pitchFamily="50" charset="-128"/>
                <a:cs typeface="+mj-cs"/>
              </a:rPr>
              <a:t>販売資料・教材を</a:t>
            </a:r>
            <a:endParaRPr kumimoji="1" lang="en-US" altLang="ja-JP" sz="1400" b="0" i="0" u="none" strike="noStrike" kern="1200" cap="none" spc="0" normalizeH="0" baseline="0" noProof="0" dirty="0">
              <a:ln>
                <a:noFill/>
              </a:ln>
              <a:solidFill>
                <a:srgbClr val="282828"/>
              </a:solidFill>
              <a:effectLst/>
              <a:uLnTx/>
              <a:uFillTx/>
              <a:latin typeface="Meiryo UI" panose="020B0604030504040204" pitchFamily="50" charset="-128"/>
              <a:ea typeface="Meiryo UI" panose="020B0604030504040204" pitchFamily="50" charset="-128"/>
              <a:cs typeface="+mj-cs"/>
            </a:endParaRPr>
          </a:p>
          <a:p>
            <a:pPr marL="0" marR="0" lvl="0" indent="0" algn="ctr" defTabSz="1219170" rtl="0" eaLnBrk="1" fontAlgn="auto" latinLnBrk="0" hangingPunct="1">
              <a:lnSpc>
                <a:spcPct val="100000"/>
              </a:lnSpc>
              <a:spcBef>
                <a:spcPct val="0"/>
              </a:spcBef>
              <a:spcAft>
                <a:spcPts val="0"/>
              </a:spcAft>
              <a:buClrTx/>
              <a:buSzTx/>
              <a:buFontTx/>
              <a:buNone/>
              <a:tabLst/>
              <a:defRPr/>
            </a:pPr>
            <a:r>
              <a:rPr kumimoji="1" lang="ja-JP" altLang="en-US" sz="1400" b="0" i="0" u="none" strike="noStrike" kern="1200" cap="none" spc="0" normalizeH="0" baseline="0" noProof="0" dirty="0">
                <a:ln>
                  <a:noFill/>
                </a:ln>
                <a:solidFill>
                  <a:srgbClr val="282828"/>
                </a:solidFill>
                <a:effectLst/>
                <a:uLnTx/>
                <a:uFillTx/>
                <a:latin typeface="Meiryo UI" panose="020B0604030504040204" pitchFamily="50" charset="-128"/>
                <a:ea typeface="Meiryo UI" panose="020B0604030504040204" pitchFamily="50" charset="-128"/>
                <a:cs typeface="+mj-cs"/>
              </a:rPr>
              <a:t>知ることができない</a:t>
            </a:r>
            <a:endParaRPr kumimoji="1" lang="en-US" altLang="ja-JP" sz="1400" b="0" i="0" u="none" strike="noStrike" kern="1200" cap="none" spc="0" normalizeH="0" baseline="0" noProof="0" dirty="0">
              <a:ln>
                <a:noFill/>
              </a:ln>
              <a:solidFill>
                <a:srgbClr val="282828"/>
              </a:solidFill>
              <a:effectLst/>
              <a:uLnTx/>
              <a:uFillTx/>
              <a:latin typeface="Meiryo UI" panose="020B0604030504040204" pitchFamily="50" charset="-128"/>
              <a:ea typeface="Meiryo UI" panose="020B0604030504040204" pitchFamily="50" charset="-128"/>
              <a:cs typeface="+mj-cs"/>
            </a:endParaRPr>
          </a:p>
        </p:txBody>
      </p:sp>
      <p:sp>
        <p:nvSpPr>
          <p:cNvPr id="68" name="タイトル 1">
            <a:extLst>
              <a:ext uri="{FF2B5EF4-FFF2-40B4-BE49-F238E27FC236}">
                <a16:creationId xmlns:a16="http://schemas.microsoft.com/office/drawing/2014/main" id="{37336905-2003-D78C-E8D5-3F7275266790}"/>
              </a:ext>
            </a:extLst>
          </p:cNvPr>
          <p:cNvSpPr txBox="1">
            <a:spLocks/>
          </p:cNvSpPr>
          <p:nvPr/>
        </p:nvSpPr>
        <p:spPr>
          <a:xfrm>
            <a:off x="9370616" y="3178498"/>
            <a:ext cx="2667420" cy="1008000"/>
          </a:xfrm>
          <a:prstGeom prst="rect">
            <a:avLst/>
          </a:prstGeom>
          <a:solidFill>
            <a:schemeClr val="accent2">
              <a:lumMod val="20000"/>
              <a:lumOff val="80000"/>
            </a:schemeClr>
          </a:solidFill>
        </p:spPr>
        <p:txBody>
          <a:bodyPr anchor="ctr">
            <a:noAutofit/>
          </a:bodyPr>
          <a:lstStyle>
            <a:lvl1pPr algn="l" defTabSz="1219170" rtl="0" eaLnBrk="1" latinLnBrk="0" hangingPunct="1">
              <a:lnSpc>
                <a:spcPct val="100000"/>
              </a:lnSpc>
              <a:spcBef>
                <a:spcPct val="0"/>
              </a:spcBef>
              <a:buNone/>
              <a:defRPr kumimoji="1" sz="2400" kern="1200">
                <a:solidFill>
                  <a:schemeClr val="tx1"/>
                </a:solidFill>
                <a:latin typeface="Meiryo UI" panose="020B0604030504040204" pitchFamily="50" charset="-128"/>
                <a:ea typeface="Meiryo UI" panose="020B0604030504040204" pitchFamily="50" charset="-128"/>
                <a:cs typeface="+mj-cs"/>
              </a:defRPr>
            </a:lvl1pPr>
          </a:lstStyle>
          <a:p>
            <a:pPr marL="0" marR="0" lvl="0" indent="0" algn="ctr" defTabSz="1219170" rtl="0" eaLnBrk="1" fontAlgn="auto" latinLnBrk="0" hangingPunct="1">
              <a:lnSpc>
                <a:spcPct val="100000"/>
              </a:lnSpc>
              <a:spcBef>
                <a:spcPct val="0"/>
              </a:spcBef>
              <a:spcAft>
                <a:spcPts val="0"/>
              </a:spcAft>
              <a:buClrTx/>
              <a:buSzTx/>
              <a:buFontTx/>
              <a:buNone/>
              <a:tabLst/>
              <a:defRPr/>
            </a:pPr>
            <a:r>
              <a:rPr kumimoji="1" lang="ja-JP" altLang="en-US" sz="1400" b="0" i="0" u="none" strike="noStrike" kern="1200" cap="none" spc="0" normalizeH="0" baseline="0" noProof="0">
                <a:ln>
                  <a:noFill/>
                </a:ln>
                <a:solidFill>
                  <a:srgbClr val="282828"/>
                </a:solidFill>
                <a:effectLst/>
                <a:uLnTx/>
                <a:uFillTx/>
                <a:latin typeface="Meiryo UI" panose="020B0604030504040204" pitchFamily="50" charset="-128"/>
                <a:ea typeface="Meiryo UI" panose="020B0604030504040204" pitchFamily="50" charset="-128"/>
                <a:cs typeface="+mj-cs"/>
              </a:rPr>
              <a:t>生</a:t>
            </a:r>
            <a:r>
              <a:rPr kumimoji="1" lang="en-US" altLang="ja-JP" sz="1400" b="0" i="0" u="none" strike="noStrike" kern="1200" cap="none" spc="0" normalizeH="0" baseline="0" noProof="0">
                <a:ln>
                  <a:noFill/>
                </a:ln>
                <a:solidFill>
                  <a:srgbClr val="282828"/>
                </a:solidFill>
                <a:effectLst/>
                <a:uLnTx/>
                <a:uFillTx/>
                <a:latin typeface="Meiryo UI" panose="020B0604030504040204" pitchFamily="50" charset="-128"/>
                <a:ea typeface="Meiryo UI" panose="020B0604030504040204" pitchFamily="50" charset="-128"/>
                <a:cs typeface="+mj-cs"/>
              </a:rPr>
              <a:t>D</a:t>
            </a:r>
            <a:r>
              <a:rPr kumimoji="1" lang="ja-JP" altLang="en-US" sz="1400" b="0" i="0" u="none" strike="noStrike" kern="1200" cap="none" spc="0" normalizeH="0" baseline="0" noProof="0">
                <a:ln>
                  <a:noFill/>
                </a:ln>
                <a:solidFill>
                  <a:srgbClr val="282828"/>
                </a:solidFill>
                <a:effectLst/>
                <a:uLnTx/>
                <a:uFillTx/>
                <a:latin typeface="Meiryo UI" panose="020B0604030504040204" pitchFamily="50" charset="-128"/>
                <a:ea typeface="Meiryo UI" panose="020B0604030504040204" pitchFamily="50" charset="-128"/>
                <a:cs typeface="+mj-cs"/>
              </a:rPr>
              <a:t>が</a:t>
            </a:r>
            <a:r>
              <a:rPr kumimoji="1" lang="ja-JP" altLang="en-US" sz="1600" b="1" i="0" u="none" strike="noStrike" kern="1200" cap="none" spc="0" normalizeH="0" baseline="0" noProof="0">
                <a:ln>
                  <a:noFill/>
                </a:ln>
                <a:solidFill>
                  <a:srgbClr val="C00000"/>
                </a:solidFill>
                <a:effectLst/>
                <a:uLnTx/>
                <a:uFillTx/>
                <a:latin typeface="Meiryo UI" panose="020B0604030504040204" pitchFamily="50" charset="-128"/>
                <a:ea typeface="Meiryo UI" panose="020B0604030504040204" pitchFamily="50" charset="-128"/>
                <a:cs typeface="+mj-cs"/>
              </a:rPr>
              <a:t>自ら探し</a:t>
            </a:r>
            <a:r>
              <a:rPr kumimoji="1" lang="en-US" altLang="ja-JP" sz="1600" b="1" i="0" u="none" strike="noStrike" kern="1200" cap="none" spc="0" normalizeH="0" baseline="0" noProof="0">
                <a:ln>
                  <a:noFill/>
                </a:ln>
                <a:solidFill>
                  <a:srgbClr val="C00000"/>
                </a:solidFill>
                <a:effectLst/>
                <a:uLnTx/>
                <a:uFillTx/>
                <a:latin typeface="Meiryo UI" panose="020B0604030504040204" pitchFamily="50" charset="-128"/>
                <a:ea typeface="Meiryo UI" panose="020B0604030504040204" pitchFamily="50" charset="-128"/>
                <a:cs typeface="+mj-cs"/>
              </a:rPr>
              <a:t>/</a:t>
            </a:r>
            <a:r>
              <a:rPr kumimoji="1" lang="ja-JP" altLang="en-US" sz="1600" b="1" i="0" u="none" strike="noStrike" kern="1200" cap="none" spc="0" normalizeH="0" baseline="0" noProof="0">
                <a:ln>
                  <a:noFill/>
                </a:ln>
                <a:solidFill>
                  <a:srgbClr val="C00000"/>
                </a:solidFill>
                <a:effectLst/>
                <a:uLnTx/>
                <a:uFillTx/>
                <a:latin typeface="Meiryo UI" panose="020B0604030504040204" pitchFamily="50" charset="-128"/>
                <a:ea typeface="Meiryo UI" panose="020B0604030504040204" pitchFamily="50" charset="-128"/>
                <a:cs typeface="+mj-cs"/>
              </a:rPr>
              <a:t>発見</a:t>
            </a:r>
            <a:endParaRPr kumimoji="1" lang="en-US" altLang="ja-JP" sz="1400" b="1" i="0" u="none" strike="noStrike" kern="1200" cap="none" spc="0" normalizeH="0" baseline="0" noProof="0">
              <a:ln>
                <a:noFill/>
              </a:ln>
              <a:solidFill>
                <a:srgbClr val="C00000"/>
              </a:solidFill>
              <a:effectLst/>
              <a:uLnTx/>
              <a:uFillTx/>
              <a:latin typeface="Meiryo UI" panose="020B0604030504040204" pitchFamily="50" charset="-128"/>
              <a:ea typeface="Meiryo UI" panose="020B0604030504040204" pitchFamily="50" charset="-128"/>
              <a:cs typeface="+mj-cs"/>
            </a:endParaRPr>
          </a:p>
          <a:p>
            <a:pPr marL="0" marR="0" lvl="0" indent="0" algn="ctr" defTabSz="1219170" rtl="0" eaLnBrk="1" fontAlgn="auto" latinLnBrk="0" hangingPunct="1">
              <a:lnSpc>
                <a:spcPct val="100000"/>
              </a:lnSpc>
              <a:spcBef>
                <a:spcPct val="0"/>
              </a:spcBef>
              <a:spcAft>
                <a:spcPts val="0"/>
              </a:spcAft>
              <a:buClrTx/>
              <a:buSzTx/>
              <a:buFontTx/>
              <a:buNone/>
              <a:tabLst/>
              <a:defRPr/>
            </a:pPr>
            <a:r>
              <a:rPr kumimoji="1" lang="ja-JP" altLang="en-US" sz="1400" b="0" i="0" u="none" strike="noStrike" kern="1200" cap="none" spc="0" normalizeH="0" baseline="0" noProof="0">
                <a:ln>
                  <a:noFill/>
                </a:ln>
                <a:solidFill>
                  <a:srgbClr val="282828"/>
                </a:solidFill>
                <a:effectLst/>
                <a:uLnTx/>
                <a:uFillTx/>
                <a:latin typeface="Meiryo UI" panose="020B0604030504040204" pitchFamily="50" charset="-128"/>
                <a:ea typeface="Meiryo UI" panose="020B0604030504040204" pitchFamily="50" charset="-128"/>
                <a:cs typeface="+mj-cs"/>
              </a:rPr>
              <a:t>できる環境の構築</a:t>
            </a:r>
            <a:endParaRPr kumimoji="1" lang="en-US" altLang="ja-JP" sz="1400" b="0" i="0" u="none" strike="noStrike" kern="1200" cap="none" spc="0" normalizeH="0" baseline="0" noProof="0">
              <a:ln>
                <a:noFill/>
              </a:ln>
              <a:solidFill>
                <a:srgbClr val="282828"/>
              </a:solidFill>
              <a:effectLst/>
              <a:uLnTx/>
              <a:uFillTx/>
              <a:latin typeface="Meiryo UI" panose="020B0604030504040204" pitchFamily="50" charset="-128"/>
              <a:ea typeface="Meiryo UI" panose="020B0604030504040204" pitchFamily="50" charset="-128"/>
              <a:cs typeface="+mj-cs"/>
            </a:endParaRPr>
          </a:p>
          <a:p>
            <a:pPr marL="0" marR="0" lvl="0" indent="0" algn="ctr" defTabSz="1219170" rtl="0" eaLnBrk="1" fontAlgn="auto" latinLnBrk="0" hangingPunct="1">
              <a:lnSpc>
                <a:spcPct val="100000"/>
              </a:lnSpc>
              <a:spcBef>
                <a:spcPct val="0"/>
              </a:spcBef>
              <a:spcAft>
                <a:spcPts val="0"/>
              </a:spcAft>
              <a:buClrTx/>
              <a:buSzTx/>
              <a:buFontTx/>
              <a:buNone/>
              <a:tabLst/>
              <a:defRPr/>
            </a:pPr>
            <a:r>
              <a:rPr kumimoji="1" lang="ja-JP" altLang="en-US" sz="1400" b="0" i="0" u="none" strike="noStrike" kern="1200" cap="none" spc="0" normalizeH="0" baseline="0" noProof="0">
                <a:ln>
                  <a:noFill/>
                </a:ln>
                <a:solidFill>
                  <a:srgbClr val="282828"/>
                </a:solidFill>
                <a:effectLst/>
                <a:uLnTx/>
                <a:uFillTx/>
                <a:latin typeface="Meiryo UI" panose="020B0604030504040204" pitchFamily="50" charset="-128"/>
                <a:ea typeface="Meiryo UI" panose="020B0604030504040204" pitchFamily="50" charset="-128"/>
                <a:cs typeface="+mj-cs"/>
              </a:rPr>
              <a:t>（＝デジ棚）</a:t>
            </a:r>
            <a:endParaRPr kumimoji="1" lang="en-US" altLang="ja-JP" sz="1400" b="0" i="0" u="none" strike="noStrike" kern="1200" cap="none" spc="0" normalizeH="0" baseline="0" noProof="0">
              <a:ln>
                <a:noFill/>
              </a:ln>
              <a:solidFill>
                <a:srgbClr val="282828"/>
              </a:solidFill>
              <a:effectLst/>
              <a:uLnTx/>
              <a:uFillTx/>
              <a:latin typeface="Meiryo UI" panose="020B0604030504040204" pitchFamily="50" charset="-128"/>
              <a:ea typeface="Meiryo UI" panose="020B0604030504040204" pitchFamily="50" charset="-128"/>
              <a:cs typeface="+mj-cs"/>
            </a:endParaRPr>
          </a:p>
        </p:txBody>
      </p:sp>
      <p:sp>
        <p:nvSpPr>
          <p:cNvPr id="71" name="タイトル 1">
            <a:extLst>
              <a:ext uri="{FF2B5EF4-FFF2-40B4-BE49-F238E27FC236}">
                <a16:creationId xmlns:a16="http://schemas.microsoft.com/office/drawing/2014/main" id="{9DC76D01-C3D3-20CE-A777-0A6ED7A38D4A}"/>
              </a:ext>
            </a:extLst>
          </p:cNvPr>
          <p:cNvSpPr txBox="1">
            <a:spLocks/>
          </p:cNvSpPr>
          <p:nvPr/>
        </p:nvSpPr>
        <p:spPr>
          <a:xfrm>
            <a:off x="6489907" y="4294085"/>
            <a:ext cx="2667420" cy="1008000"/>
          </a:xfrm>
          <a:prstGeom prst="rect">
            <a:avLst/>
          </a:prstGeom>
          <a:solidFill>
            <a:schemeClr val="accent1">
              <a:lumMod val="20000"/>
              <a:lumOff val="80000"/>
            </a:schemeClr>
          </a:solidFill>
        </p:spPr>
        <p:txBody>
          <a:bodyPr anchor="ctr">
            <a:noAutofit/>
          </a:bodyPr>
          <a:lstStyle>
            <a:lvl1pPr algn="l" defTabSz="1219170" rtl="0" eaLnBrk="1" latinLnBrk="0" hangingPunct="1">
              <a:lnSpc>
                <a:spcPct val="100000"/>
              </a:lnSpc>
              <a:spcBef>
                <a:spcPct val="0"/>
              </a:spcBef>
              <a:buNone/>
              <a:defRPr kumimoji="1" sz="2400" kern="1200">
                <a:solidFill>
                  <a:schemeClr val="tx1"/>
                </a:solidFill>
                <a:latin typeface="Meiryo UI" panose="020B0604030504040204" pitchFamily="50" charset="-128"/>
                <a:ea typeface="Meiryo UI" panose="020B0604030504040204" pitchFamily="50" charset="-128"/>
                <a:cs typeface="+mj-cs"/>
              </a:defRPr>
            </a:lvl1pPr>
          </a:lstStyle>
          <a:p>
            <a:pPr marL="0" marR="0" lvl="0" indent="0" algn="ctr" defTabSz="1219170" rtl="0" eaLnBrk="1" fontAlgn="auto" latinLnBrk="0" hangingPunct="1">
              <a:lnSpc>
                <a:spcPct val="100000"/>
              </a:lnSpc>
              <a:spcBef>
                <a:spcPct val="0"/>
              </a:spcBef>
              <a:spcAft>
                <a:spcPts val="0"/>
              </a:spcAft>
              <a:buClrTx/>
              <a:buSzTx/>
              <a:buFontTx/>
              <a:buNone/>
              <a:tabLst/>
              <a:defRPr/>
            </a:pPr>
            <a:r>
              <a:rPr kumimoji="1" lang="ja-JP" altLang="en-US" sz="1400" b="0" i="0" u="none" strike="noStrike" kern="1200" cap="none" spc="0" normalizeH="0" baseline="0" noProof="0">
                <a:ln>
                  <a:noFill/>
                </a:ln>
                <a:solidFill>
                  <a:srgbClr val="282828"/>
                </a:solidFill>
                <a:effectLst/>
                <a:uLnTx/>
                <a:uFillTx/>
                <a:latin typeface="Meiryo UI" panose="020B0604030504040204" pitchFamily="50" charset="-128"/>
                <a:ea typeface="Meiryo UI" panose="020B0604030504040204" pitchFamily="50" charset="-128"/>
                <a:cs typeface="+mj-cs"/>
              </a:rPr>
              <a:t>お客さま訪問に対する</a:t>
            </a:r>
            <a:endParaRPr kumimoji="1" lang="en-US" altLang="ja-JP" sz="1400" b="0" i="0" u="none" strike="noStrike" kern="1200" cap="none" spc="0" normalizeH="0" baseline="0" noProof="0">
              <a:ln>
                <a:noFill/>
              </a:ln>
              <a:solidFill>
                <a:srgbClr val="282828"/>
              </a:solidFill>
              <a:effectLst/>
              <a:uLnTx/>
              <a:uFillTx/>
              <a:latin typeface="Meiryo UI" panose="020B0604030504040204" pitchFamily="50" charset="-128"/>
              <a:ea typeface="Meiryo UI" panose="020B0604030504040204" pitchFamily="50" charset="-128"/>
              <a:cs typeface="+mj-cs"/>
            </a:endParaRPr>
          </a:p>
          <a:p>
            <a:pPr marL="0" marR="0" lvl="0" indent="0" algn="ctr" defTabSz="1219170" rtl="0" eaLnBrk="1" fontAlgn="auto" latinLnBrk="0" hangingPunct="1">
              <a:lnSpc>
                <a:spcPct val="100000"/>
              </a:lnSpc>
              <a:spcBef>
                <a:spcPct val="0"/>
              </a:spcBef>
              <a:spcAft>
                <a:spcPts val="0"/>
              </a:spcAft>
              <a:buClrTx/>
              <a:buSzTx/>
              <a:buFontTx/>
              <a:buNone/>
              <a:tabLst/>
              <a:defRPr/>
            </a:pPr>
            <a:r>
              <a:rPr lang="ja-JP" altLang="en-US" sz="1400">
                <a:solidFill>
                  <a:srgbClr val="282828"/>
                </a:solidFill>
              </a:rPr>
              <a:t>ヒント・アドバイスを</a:t>
            </a:r>
            <a:endParaRPr lang="en-US" altLang="ja-JP" sz="1400">
              <a:solidFill>
                <a:srgbClr val="282828"/>
              </a:solidFill>
            </a:endParaRPr>
          </a:p>
          <a:p>
            <a:pPr marL="0" marR="0" lvl="0" indent="0" algn="ctr" defTabSz="1219170" rtl="0" eaLnBrk="1" fontAlgn="auto" latinLnBrk="0" hangingPunct="1">
              <a:lnSpc>
                <a:spcPct val="100000"/>
              </a:lnSpc>
              <a:spcBef>
                <a:spcPct val="0"/>
              </a:spcBef>
              <a:spcAft>
                <a:spcPts val="0"/>
              </a:spcAft>
              <a:buClrTx/>
              <a:buSzTx/>
              <a:buFontTx/>
              <a:buNone/>
              <a:tabLst/>
              <a:defRPr/>
            </a:pPr>
            <a:r>
              <a:rPr kumimoji="1" lang="ja-JP" altLang="en-US" sz="1400" b="0" i="0" u="none" strike="noStrike" kern="1200" cap="none" spc="0" normalizeH="0" baseline="0" noProof="0">
                <a:ln>
                  <a:noFill/>
                </a:ln>
                <a:solidFill>
                  <a:srgbClr val="282828"/>
                </a:solidFill>
                <a:effectLst/>
                <a:uLnTx/>
                <a:uFillTx/>
                <a:latin typeface="Meiryo UI" panose="020B0604030504040204" pitchFamily="50" charset="-128"/>
                <a:ea typeface="Meiryo UI" panose="020B0604030504040204" pitchFamily="50" charset="-128"/>
                <a:cs typeface="+mj-cs"/>
              </a:rPr>
              <a:t>対話以外の場で得るのが難しい</a:t>
            </a:r>
            <a:endParaRPr kumimoji="1" lang="en-US" altLang="ja-JP" sz="1400" b="0" i="0" u="none" strike="noStrike" kern="1200" cap="none" spc="0" normalizeH="0" baseline="0" noProof="0">
              <a:ln>
                <a:noFill/>
              </a:ln>
              <a:solidFill>
                <a:srgbClr val="282828"/>
              </a:solidFill>
              <a:effectLst/>
              <a:uLnTx/>
              <a:uFillTx/>
              <a:latin typeface="Meiryo UI" panose="020B0604030504040204" pitchFamily="50" charset="-128"/>
              <a:ea typeface="Meiryo UI" panose="020B0604030504040204" pitchFamily="50" charset="-128"/>
              <a:cs typeface="+mj-cs"/>
            </a:endParaRPr>
          </a:p>
        </p:txBody>
      </p:sp>
      <p:sp>
        <p:nvSpPr>
          <p:cNvPr id="72" name="タイトル 1">
            <a:extLst>
              <a:ext uri="{FF2B5EF4-FFF2-40B4-BE49-F238E27FC236}">
                <a16:creationId xmlns:a16="http://schemas.microsoft.com/office/drawing/2014/main" id="{AFC64F45-41AA-69C6-7981-A97586C9BAFF}"/>
              </a:ext>
            </a:extLst>
          </p:cNvPr>
          <p:cNvSpPr txBox="1">
            <a:spLocks/>
          </p:cNvSpPr>
          <p:nvPr/>
        </p:nvSpPr>
        <p:spPr>
          <a:xfrm>
            <a:off x="9370616" y="4296385"/>
            <a:ext cx="2667420" cy="1008000"/>
          </a:xfrm>
          <a:prstGeom prst="rect">
            <a:avLst/>
          </a:prstGeom>
          <a:solidFill>
            <a:schemeClr val="accent2">
              <a:lumMod val="20000"/>
              <a:lumOff val="80000"/>
            </a:schemeClr>
          </a:solidFill>
        </p:spPr>
        <p:txBody>
          <a:bodyPr anchor="ctr">
            <a:noAutofit/>
          </a:bodyPr>
          <a:lstStyle>
            <a:lvl1pPr algn="l" defTabSz="1219170" rtl="0" eaLnBrk="1" latinLnBrk="0" hangingPunct="1">
              <a:lnSpc>
                <a:spcPct val="100000"/>
              </a:lnSpc>
              <a:spcBef>
                <a:spcPct val="0"/>
              </a:spcBef>
              <a:buNone/>
              <a:defRPr kumimoji="1" sz="2400" kern="1200">
                <a:solidFill>
                  <a:schemeClr val="tx1"/>
                </a:solidFill>
                <a:latin typeface="Meiryo UI" panose="020B0604030504040204" pitchFamily="50" charset="-128"/>
                <a:ea typeface="Meiryo UI" panose="020B0604030504040204" pitchFamily="50" charset="-128"/>
                <a:cs typeface="+mj-cs"/>
              </a:defRPr>
            </a:lvl1pPr>
          </a:lstStyle>
          <a:p>
            <a:pPr marL="444500" marR="0" lvl="0" indent="-177800" algn="ctr" defTabSz="1219170" rtl="0" eaLnBrk="1" fontAlgn="auto" latinLnBrk="0" hangingPunct="1">
              <a:lnSpc>
                <a:spcPct val="100000"/>
              </a:lnSpc>
              <a:spcBef>
                <a:spcPct val="0"/>
              </a:spcBef>
              <a:spcAft>
                <a:spcPts val="0"/>
              </a:spcAft>
              <a:buClrTx/>
              <a:buSzTx/>
              <a:buFontTx/>
              <a:buNone/>
              <a:tabLst/>
              <a:defRPr/>
            </a:pPr>
            <a:r>
              <a:rPr lang="ja-JP" altLang="en-US" sz="1800" b="1">
                <a:solidFill>
                  <a:srgbClr val="C00000"/>
                </a:solidFill>
              </a:rPr>
              <a:t>訪問ヒント</a:t>
            </a:r>
            <a:r>
              <a:rPr lang="ja-JP" altLang="en-US" sz="1400">
                <a:solidFill>
                  <a:srgbClr val="282828"/>
                </a:solidFill>
              </a:rPr>
              <a:t>を</a:t>
            </a:r>
            <a:endParaRPr lang="en-US" altLang="ja-JP" sz="1400">
              <a:solidFill>
                <a:srgbClr val="282828"/>
              </a:solidFill>
            </a:endParaRPr>
          </a:p>
          <a:p>
            <a:pPr marL="444500" marR="0" lvl="0" indent="-177800" algn="ctr" defTabSz="1219170" rtl="0" eaLnBrk="1" fontAlgn="auto" latinLnBrk="0" hangingPunct="1">
              <a:lnSpc>
                <a:spcPct val="100000"/>
              </a:lnSpc>
              <a:spcBef>
                <a:spcPct val="0"/>
              </a:spcBef>
              <a:spcAft>
                <a:spcPts val="0"/>
              </a:spcAft>
              <a:buClrTx/>
              <a:buSzTx/>
              <a:buFontTx/>
              <a:buNone/>
              <a:tabLst/>
              <a:defRPr/>
            </a:pPr>
            <a:r>
              <a:rPr lang="ja-JP" altLang="en-US" sz="1400">
                <a:solidFill>
                  <a:srgbClr val="282828"/>
                </a:solidFill>
              </a:rPr>
              <a:t>デジ棚通じて</a:t>
            </a:r>
            <a:endParaRPr lang="en-US" altLang="ja-JP" sz="1400">
              <a:solidFill>
                <a:srgbClr val="282828"/>
              </a:solidFill>
            </a:endParaRPr>
          </a:p>
          <a:p>
            <a:pPr marL="444500" marR="0" lvl="0" indent="-177800" algn="ctr" defTabSz="1219170" rtl="0" eaLnBrk="1" fontAlgn="auto" latinLnBrk="0" hangingPunct="1">
              <a:lnSpc>
                <a:spcPct val="100000"/>
              </a:lnSpc>
              <a:spcBef>
                <a:spcPct val="0"/>
              </a:spcBef>
              <a:spcAft>
                <a:spcPts val="0"/>
              </a:spcAft>
              <a:buClrTx/>
              <a:buSzTx/>
              <a:buFontTx/>
              <a:buNone/>
              <a:tabLst/>
              <a:defRPr/>
            </a:pPr>
            <a:r>
              <a:rPr lang="ja-JP" altLang="en-US" sz="1400">
                <a:solidFill>
                  <a:srgbClr val="282828"/>
                </a:solidFill>
              </a:rPr>
              <a:t>生</a:t>
            </a:r>
            <a:r>
              <a:rPr lang="en-US" altLang="ja-JP" sz="1400">
                <a:solidFill>
                  <a:srgbClr val="282828"/>
                </a:solidFill>
              </a:rPr>
              <a:t>D</a:t>
            </a:r>
            <a:r>
              <a:rPr lang="ja-JP" altLang="en-US" sz="1400">
                <a:solidFill>
                  <a:srgbClr val="282828"/>
                </a:solidFill>
              </a:rPr>
              <a:t>にアドバイス</a:t>
            </a:r>
            <a:endParaRPr lang="en-US" altLang="ja-JP" sz="1400">
              <a:solidFill>
                <a:srgbClr val="282828"/>
              </a:solidFill>
            </a:endParaRPr>
          </a:p>
        </p:txBody>
      </p:sp>
      <p:sp>
        <p:nvSpPr>
          <p:cNvPr id="73" name="タイトル 1">
            <a:extLst>
              <a:ext uri="{FF2B5EF4-FFF2-40B4-BE49-F238E27FC236}">
                <a16:creationId xmlns:a16="http://schemas.microsoft.com/office/drawing/2014/main" id="{C59CC143-5E0A-CC30-3476-B651FDBBB52A}"/>
              </a:ext>
            </a:extLst>
          </p:cNvPr>
          <p:cNvSpPr txBox="1">
            <a:spLocks/>
          </p:cNvSpPr>
          <p:nvPr/>
        </p:nvSpPr>
        <p:spPr>
          <a:xfrm>
            <a:off x="6489907" y="5411972"/>
            <a:ext cx="2667420" cy="1008000"/>
          </a:xfrm>
          <a:prstGeom prst="rect">
            <a:avLst/>
          </a:prstGeom>
          <a:solidFill>
            <a:schemeClr val="accent1">
              <a:lumMod val="20000"/>
              <a:lumOff val="80000"/>
            </a:schemeClr>
          </a:solidFill>
        </p:spPr>
        <p:txBody>
          <a:bodyPr anchor="ctr">
            <a:noAutofit/>
          </a:bodyPr>
          <a:lstStyle>
            <a:lvl1pPr algn="l" defTabSz="1219170" rtl="0" eaLnBrk="1" latinLnBrk="0" hangingPunct="1">
              <a:lnSpc>
                <a:spcPct val="100000"/>
              </a:lnSpc>
              <a:spcBef>
                <a:spcPct val="0"/>
              </a:spcBef>
              <a:buNone/>
              <a:defRPr kumimoji="1" sz="2400" kern="1200">
                <a:solidFill>
                  <a:schemeClr val="tx1"/>
                </a:solidFill>
                <a:latin typeface="Meiryo UI" panose="020B0604030504040204" pitchFamily="50" charset="-128"/>
                <a:ea typeface="Meiryo UI" panose="020B0604030504040204" pitchFamily="50" charset="-128"/>
                <a:cs typeface="+mj-cs"/>
              </a:defRPr>
            </a:lvl1pPr>
          </a:lstStyle>
          <a:p>
            <a:pPr marL="0" marR="0" lvl="0" indent="0" algn="ctr" defTabSz="1219170" rtl="0" eaLnBrk="1" fontAlgn="auto" latinLnBrk="0" hangingPunct="1">
              <a:lnSpc>
                <a:spcPct val="100000"/>
              </a:lnSpc>
              <a:spcBef>
                <a:spcPct val="0"/>
              </a:spcBef>
              <a:spcAft>
                <a:spcPts val="0"/>
              </a:spcAft>
              <a:buClrTx/>
              <a:buSzTx/>
              <a:buFontTx/>
              <a:buNone/>
              <a:tabLst/>
              <a:defRPr/>
            </a:pPr>
            <a:r>
              <a:rPr kumimoji="1" lang="ja-JP" altLang="en-US" sz="1400" b="0" i="0" u="none" strike="noStrike" kern="1200" cap="none" spc="0" normalizeH="0" baseline="0" noProof="0" dirty="0">
                <a:ln>
                  <a:noFill/>
                </a:ln>
                <a:solidFill>
                  <a:srgbClr val="282828"/>
                </a:solidFill>
                <a:effectLst/>
                <a:uLnTx/>
                <a:uFillTx/>
                <a:latin typeface="Meiryo UI" panose="020B0604030504040204" pitchFamily="50" charset="-128"/>
                <a:ea typeface="Meiryo UI" panose="020B0604030504040204" pitchFamily="50" charset="-128"/>
                <a:cs typeface="+mj-cs"/>
              </a:rPr>
              <a:t>指導者の業務量増加・</a:t>
            </a:r>
            <a:endParaRPr kumimoji="1" lang="en-US" altLang="ja-JP" sz="1400" b="0" i="0" u="none" strike="noStrike" kern="1200" cap="none" spc="0" normalizeH="0" baseline="0" noProof="0" dirty="0">
              <a:ln>
                <a:noFill/>
              </a:ln>
              <a:solidFill>
                <a:srgbClr val="282828"/>
              </a:solidFill>
              <a:effectLst/>
              <a:uLnTx/>
              <a:uFillTx/>
              <a:latin typeface="Meiryo UI" panose="020B0604030504040204" pitchFamily="50" charset="-128"/>
              <a:ea typeface="Meiryo UI" panose="020B0604030504040204" pitchFamily="50" charset="-128"/>
              <a:cs typeface="+mj-cs"/>
            </a:endParaRPr>
          </a:p>
          <a:p>
            <a:pPr marL="0" marR="0" lvl="0" indent="0" algn="ctr" defTabSz="1219170" rtl="0" eaLnBrk="1" fontAlgn="auto" latinLnBrk="0" hangingPunct="1">
              <a:lnSpc>
                <a:spcPct val="100000"/>
              </a:lnSpc>
              <a:spcBef>
                <a:spcPct val="0"/>
              </a:spcBef>
              <a:spcAft>
                <a:spcPts val="0"/>
              </a:spcAft>
              <a:buClrTx/>
              <a:buSzTx/>
              <a:buFontTx/>
              <a:buNone/>
              <a:tabLst/>
              <a:defRPr/>
            </a:pPr>
            <a:r>
              <a:rPr kumimoji="1" lang="ja-JP" altLang="en-US" sz="1400" b="0" i="0" u="none" strike="noStrike" kern="1200" cap="none" spc="0" normalizeH="0" baseline="0" noProof="0" dirty="0">
                <a:ln>
                  <a:noFill/>
                </a:ln>
                <a:solidFill>
                  <a:srgbClr val="282828"/>
                </a:solidFill>
                <a:effectLst/>
                <a:uLnTx/>
                <a:uFillTx/>
                <a:latin typeface="Meiryo UI" panose="020B0604030504040204" pitchFamily="50" charset="-128"/>
                <a:ea typeface="Meiryo UI" panose="020B0604030504040204" pitchFamily="50" charset="-128"/>
                <a:cs typeface="+mj-cs"/>
              </a:rPr>
              <a:t>オフィス体制の変革に伴う</a:t>
            </a:r>
            <a:endParaRPr kumimoji="1" lang="en-US" altLang="ja-JP" sz="1400" b="0" i="0" u="none" strike="noStrike" kern="1200" cap="none" spc="0" normalizeH="0" baseline="0" noProof="0" dirty="0">
              <a:ln>
                <a:noFill/>
              </a:ln>
              <a:solidFill>
                <a:srgbClr val="282828"/>
              </a:solidFill>
              <a:effectLst/>
              <a:uLnTx/>
              <a:uFillTx/>
              <a:latin typeface="Meiryo UI" panose="020B0604030504040204" pitchFamily="50" charset="-128"/>
              <a:ea typeface="Meiryo UI" panose="020B0604030504040204" pitchFamily="50" charset="-128"/>
              <a:cs typeface="+mj-cs"/>
            </a:endParaRPr>
          </a:p>
          <a:p>
            <a:pPr marL="0" marR="0" lvl="0" indent="0" algn="ctr" defTabSz="1219170" rtl="0" eaLnBrk="1" fontAlgn="auto" latinLnBrk="0" hangingPunct="1">
              <a:lnSpc>
                <a:spcPct val="100000"/>
              </a:lnSpc>
              <a:spcBef>
                <a:spcPct val="0"/>
              </a:spcBef>
              <a:spcAft>
                <a:spcPts val="0"/>
              </a:spcAft>
              <a:buClrTx/>
              <a:buSzTx/>
              <a:buFontTx/>
              <a:buNone/>
              <a:tabLst/>
              <a:defRPr/>
            </a:pPr>
            <a:r>
              <a:rPr lang="ja-JP" altLang="en-US" sz="1400" dirty="0">
                <a:solidFill>
                  <a:srgbClr val="282828"/>
                </a:solidFill>
              </a:rPr>
              <a:t>各種教育・照会機会の減少</a:t>
            </a:r>
            <a:endParaRPr lang="en-US" altLang="ja-JP" sz="1400" dirty="0">
              <a:solidFill>
                <a:srgbClr val="282828"/>
              </a:solidFill>
            </a:endParaRPr>
          </a:p>
          <a:p>
            <a:pPr marL="0" marR="0" lvl="0" indent="0" algn="ctr" defTabSz="1219170" rtl="0" eaLnBrk="1" fontAlgn="auto" latinLnBrk="0" hangingPunct="1">
              <a:lnSpc>
                <a:spcPct val="100000"/>
              </a:lnSpc>
              <a:spcBef>
                <a:spcPct val="0"/>
              </a:spcBef>
              <a:spcAft>
                <a:spcPts val="0"/>
              </a:spcAft>
              <a:buClrTx/>
              <a:buSzTx/>
              <a:buFontTx/>
              <a:buNone/>
              <a:tabLst/>
              <a:defRPr/>
            </a:pPr>
            <a:r>
              <a:rPr kumimoji="1" lang="ja-JP" altLang="en-US" sz="1100" b="0" i="0" u="none" strike="noStrike" kern="1200" cap="none" spc="0" normalizeH="0" baseline="0" noProof="0" dirty="0">
                <a:ln>
                  <a:noFill/>
                </a:ln>
                <a:solidFill>
                  <a:srgbClr val="282828"/>
                </a:solidFill>
                <a:effectLst/>
                <a:uLnTx/>
                <a:uFillTx/>
                <a:latin typeface="Meiryo UI" panose="020B0604030504040204" pitchFamily="50" charset="-128"/>
                <a:ea typeface="Meiryo UI" panose="020B0604030504040204" pitchFamily="50" charset="-128"/>
                <a:cs typeface="+mj-cs"/>
              </a:rPr>
              <a:t>（事務・保全なども含む）</a:t>
            </a:r>
            <a:endParaRPr kumimoji="1" lang="en-US" altLang="ja-JP" sz="1100" b="0" i="0" u="none" strike="noStrike" kern="1200" cap="none" spc="0" normalizeH="0" baseline="0" noProof="0" dirty="0">
              <a:ln>
                <a:noFill/>
              </a:ln>
              <a:solidFill>
                <a:srgbClr val="282828"/>
              </a:solidFill>
              <a:effectLst/>
              <a:uLnTx/>
              <a:uFillTx/>
              <a:latin typeface="Meiryo UI" panose="020B0604030504040204" pitchFamily="50" charset="-128"/>
              <a:ea typeface="Meiryo UI" panose="020B0604030504040204" pitchFamily="50" charset="-128"/>
              <a:cs typeface="+mj-cs"/>
            </a:endParaRPr>
          </a:p>
        </p:txBody>
      </p:sp>
      <p:sp>
        <p:nvSpPr>
          <p:cNvPr id="2" name="正方形/長方形 1">
            <a:extLst>
              <a:ext uri="{FF2B5EF4-FFF2-40B4-BE49-F238E27FC236}">
                <a16:creationId xmlns:a16="http://schemas.microsoft.com/office/drawing/2014/main" id="{0769B9C3-A36F-A80C-A302-449275044813}"/>
              </a:ext>
            </a:extLst>
          </p:cNvPr>
          <p:cNvSpPr/>
          <p:nvPr/>
        </p:nvSpPr>
        <p:spPr>
          <a:xfrm>
            <a:off x="9370616" y="4292394"/>
            <a:ext cx="376058" cy="2148848"/>
          </a:xfrm>
          <a:prstGeom prst="rect">
            <a:avLst/>
          </a:prstGeom>
          <a:solidFill>
            <a:srgbClr val="C00000"/>
          </a:solidFill>
          <a:ln>
            <a:noFill/>
          </a:ln>
          <a:effectLst/>
        </p:spPr>
        <p:style>
          <a:lnRef idx="1">
            <a:schemeClr val="accent1"/>
          </a:lnRef>
          <a:fillRef idx="3">
            <a:schemeClr val="accent1"/>
          </a:fillRef>
          <a:effectRef idx="2">
            <a:schemeClr val="accent1"/>
          </a:effectRef>
          <a:fontRef idx="minor">
            <a:schemeClr val="lt1"/>
          </a:fontRef>
        </p:style>
        <p:txBody>
          <a:bodyPr vert="eaVert" rtlCol="0" anchor="ctr"/>
          <a:lstStyle/>
          <a:p>
            <a:pPr algn="ctr"/>
            <a:r>
              <a:rPr lang="ja-JP" altLang="en-US" sz="1400">
                <a:solidFill>
                  <a:schemeClr val="bg1"/>
                </a:solidFill>
                <a:latin typeface="BIZ UDPゴシック" panose="020B0400000000000000" pitchFamily="50" charset="-128"/>
                <a:ea typeface="BIZ UDPゴシック" panose="020B0400000000000000" pitchFamily="50" charset="-128"/>
              </a:rPr>
              <a:t>あいまい検索で強化</a:t>
            </a:r>
            <a:endParaRPr kumimoji="1" lang="ja-JP" altLang="en-US" sz="1400">
              <a:solidFill>
                <a:schemeClr val="bg1"/>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189217213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タイトル 1">
            <a:extLst>
              <a:ext uri="{FF2B5EF4-FFF2-40B4-BE49-F238E27FC236}">
                <a16:creationId xmlns:a16="http://schemas.microsoft.com/office/drawing/2014/main" id="{D05AEA5E-BEEE-5A65-0F23-1E4291CA3AA6}"/>
              </a:ext>
            </a:extLst>
          </p:cNvPr>
          <p:cNvSpPr txBox="1">
            <a:spLocks/>
          </p:cNvSpPr>
          <p:nvPr/>
        </p:nvSpPr>
        <p:spPr>
          <a:xfrm>
            <a:off x="317802" y="53214"/>
            <a:ext cx="11328097" cy="738452"/>
          </a:xfrm>
          <a:prstGeom prst="rect">
            <a:avLst/>
          </a:prstGeom>
        </p:spPr>
        <p:txBody>
          <a:bodyPr>
            <a:noAutofit/>
          </a:bodyPr>
          <a:lstStyle>
            <a:lvl1pPr algn="l" defTabSz="1219170" rtl="0" eaLnBrk="1" latinLnBrk="0" hangingPunct="1">
              <a:lnSpc>
                <a:spcPct val="100000"/>
              </a:lnSpc>
              <a:spcBef>
                <a:spcPct val="0"/>
              </a:spcBef>
              <a:buNone/>
              <a:defRPr kumimoji="1" sz="2400" kern="1200">
                <a:solidFill>
                  <a:schemeClr val="tx1"/>
                </a:solidFill>
                <a:latin typeface="Meiryo UI" panose="020B0604030504040204" pitchFamily="50" charset="-128"/>
                <a:ea typeface="Meiryo UI" panose="020B0604030504040204" pitchFamily="50" charset="-128"/>
                <a:cs typeface="+mj-cs"/>
              </a:defRPr>
            </a:lvl1pPr>
          </a:lstStyle>
          <a:p>
            <a:pPr marL="0" marR="0" lvl="0" indent="0" algn="l" defTabSz="1219170" rtl="0" eaLnBrk="1" fontAlgn="auto" latinLnBrk="0" hangingPunct="1">
              <a:lnSpc>
                <a:spcPct val="100000"/>
              </a:lnSpc>
              <a:spcBef>
                <a:spcPct val="0"/>
              </a:spcBef>
              <a:spcAft>
                <a:spcPts val="0"/>
              </a:spcAft>
              <a:buClrTx/>
              <a:buSzTx/>
              <a:buFontTx/>
              <a:buNone/>
              <a:tabLst/>
              <a:defRPr/>
            </a:pPr>
            <a:r>
              <a:rPr kumimoji="1" lang="ja-JP" altLang="en-US" sz="2400" b="1" i="0" u="none" strike="noStrike" kern="1200" cap="none" spc="0" normalizeH="0" baseline="0" noProof="0" dirty="0">
                <a:ln>
                  <a:noFill/>
                </a:ln>
                <a:solidFill>
                  <a:srgbClr val="282828"/>
                </a:solidFill>
                <a:effectLst/>
                <a:uLnTx/>
                <a:uFillTx/>
                <a:latin typeface="Meiryo UI" panose="020B0604030504040204" pitchFamily="50" charset="-128"/>
                <a:ea typeface="Meiryo UI" panose="020B0604030504040204" pitchFamily="50" charset="-128"/>
                <a:cs typeface="+mj-cs"/>
              </a:rPr>
              <a:t>自律型教育（デジ棚）</a:t>
            </a:r>
            <a:endParaRPr kumimoji="1" lang="en-US" altLang="ja-JP" sz="2400" b="1" i="0" u="none" strike="noStrike" kern="1200" cap="none" spc="0" normalizeH="0" baseline="0" noProof="0" dirty="0">
              <a:ln>
                <a:noFill/>
              </a:ln>
              <a:solidFill>
                <a:srgbClr val="282828"/>
              </a:solidFill>
              <a:effectLst/>
              <a:uLnTx/>
              <a:uFillTx/>
              <a:latin typeface="Meiryo UI" panose="020B0604030504040204" pitchFamily="50" charset="-128"/>
              <a:ea typeface="Meiryo UI" panose="020B0604030504040204" pitchFamily="50" charset="-128"/>
              <a:cs typeface="+mj-cs"/>
            </a:endParaRPr>
          </a:p>
          <a:p>
            <a:pPr marL="0" marR="0" lvl="0" indent="0" algn="l" defTabSz="1219170" rtl="0" eaLnBrk="1" fontAlgn="auto" latinLnBrk="0" hangingPunct="1">
              <a:lnSpc>
                <a:spcPct val="100000"/>
              </a:lnSpc>
              <a:spcBef>
                <a:spcPct val="0"/>
              </a:spcBef>
              <a:spcAft>
                <a:spcPts val="0"/>
              </a:spcAft>
              <a:buClrTx/>
              <a:buSzTx/>
              <a:buFontTx/>
              <a:buNone/>
              <a:tabLst/>
              <a:defRPr/>
            </a:pPr>
            <a:r>
              <a:rPr kumimoji="1" lang="ja-JP" altLang="en-US" sz="2000" b="0" i="0" u="none" strike="noStrike" kern="1200" cap="none" spc="0" normalizeH="0" baseline="0" noProof="0" dirty="0">
                <a:ln>
                  <a:noFill/>
                </a:ln>
                <a:solidFill>
                  <a:srgbClr val="282828"/>
                </a:solidFill>
                <a:effectLst/>
                <a:uLnTx/>
                <a:uFillTx/>
                <a:latin typeface="Meiryo UI" panose="020B0604030504040204" pitchFamily="50" charset="-128"/>
                <a:ea typeface="Meiryo UI" panose="020B0604030504040204" pitchFamily="50" charset="-128"/>
                <a:cs typeface="+mj-cs"/>
              </a:rPr>
              <a:t>～あいまい検索導入に伴う実現したい姿～</a:t>
            </a:r>
            <a:endParaRPr kumimoji="1" lang="en-US" altLang="ja-JP" sz="2000" b="0" i="0" u="none" strike="noStrike" kern="1200" cap="none" spc="0" normalizeH="0" baseline="0" noProof="0" dirty="0">
              <a:ln>
                <a:noFill/>
              </a:ln>
              <a:solidFill>
                <a:srgbClr val="282828"/>
              </a:solidFill>
              <a:effectLst/>
              <a:uLnTx/>
              <a:uFillTx/>
              <a:latin typeface="Meiryo UI" panose="020B0604030504040204" pitchFamily="50" charset="-128"/>
              <a:ea typeface="Meiryo UI" panose="020B0604030504040204" pitchFamily="50" charset="-128"/>
              <a:cs typeface="+mj-cs"/>
            </a:endParaRPr>
          </a:p>
        </p:txBody>
      </p:sp>
      <p:sp>
        <p:nvSpPr>
          <p:cNvPr id="39" name="タイトル 1">
            <a:extLst>
              <a:ext uri="{FF2B5EF4-FFF2-40B4-BE49-F238E27FC236}">
                <a16:creationId xmlns:a16="http://schemas.microsoft.com/office/drawing/2014/main" id="{60124A46-311D-B629-0E39-BF64849F3340}"/>
              </a:ext>
            </a:extLst>
          </p:cNvPr>
          <p:cNvSpPr txBox="1">
            <a:spLocks/>
          </p:cNvSpPr>
          <p:nvPr/>
        </p:nvSpPr>
        <p:spPr>
          <a:xfrm>
            <a:off x="516044" y="1983304"/>
            <a:ext cx="4546311" cy="738452"/>
          </a:xfrm>
          <a:prstGeom prst="rect">
            <a:avLst/>
          </a:prstGeom>
        </p:spPr>
        <p:txBody>
          <a:bodyPr>
            <a:noAutofit/>
          </a:bodyPr>
          <a:lstStyle>
            <a:lvl1pPr algn="l" defTabSz="1219170" rtl="0" eaLnBrk="1" latinLnBrk="0" hangingPunct="1">
              <a:lnSpc>
                <a:spcPct val="100000"/>
              </a:lnSpc>
              <a:spcBef>
                <a:spcPct val="0"/>
              </a:spcBef>
              <a:buNone/>
              <a:defRPr kumimoji="1" sz="2400" kern="1200">
                <a:solidFill>
                  <a:schemeClr val="tx1"/>
                </a:solidFill>
                <a:latin typeface="Meiryo UI" panose="020B0604030504040204" pitchFamily="50" charset="-128"/>
                <a:ea typeface="Meiryo UI" panose="020B0604030504040204" pitchFamily="50" charset="-128"/>
                <a:cs typeface="+mj-cs"/>
              </a:defRPr>
            </a:lvl1pPr>
          </a:lstStyle>
          <a:p>
            <a:pPr marL="0" marR="0" lvl="0" indent="0" algn="l" defTabSz="1219170" rtl="0" eaLnBrk="1" fontAlgn="auto" latinLnBrk="0" hangingPunct="1">
              <a:lnSpc>
                <a:spcPct val="100000"/>
              </a:lnSpc>
              <a:spcBef>
                <a:spcPct val="0"/>
              </a:spcBef>
              <a:spcAft>
                <a:spcPts val="0"/>
              </a:spcAft>
              <a:buClrTx/>
              <a:buSzTx/>
              <a:buFontTx/>
              <a:buNone/>
              <a:tabLst/>
              <a:defRPr/>
            </a:pPr>
            <a:r>
              <a:rPr kumimoji="1" lang="ja-JP" altLang="en-US" sz="1800" b="1" i="0" u="none" strike="noStrike" kern="1200" cap="none" spc="0" normalizeH="0" baseline="0" noProof="0">
                <a:ln>
                  <a:noFill/>
                </a:ln>
                <a:solidFill>
                  <a:srgbClr val="282828"/>
                </a:solidFill>
                <a:effectLst/>
                <a:uLnTx/>
                <a:uFillTx/>
                <a:latin typeface="Meiryo UI" panose="020B0604030504040204" pitchFamily="50" charset="-128"/>
                <a:ea typeface="Meiryo UI" panose="020B0604030504040204" pitchFamily="50" charset="-128"/>
                <a:cs typeface="+mj-cs"/>
              </a:rPr>
              <a:t>実現したい姿</a:t>
            </a:r>
            <a:endParaRPr kumimoji="1" lang="en-US" altLang="ja-JP" sz="1800" b="1" i="0" u="none" strike="noStrike" kern="1200" cap="none" spc="0" normalizeH="0" baseline="0" noProof="0">
              <a:ln>
                <a:noFill/>
              </a:ln>
              <a:solidFill>
                <a:srgbClr val="282828"/>
              </a:solidFill>
              <a:effectLst/>
              <a:uLnTx/>
              <a:uFillTx/>
              <a:latin typeface="Meiryo UI" panose="020B0604030504040204" pitchFamily="50" charset="-128"/>
              <a:ea typeface="Meiryo UI" panose="020B0604030504040204" pitchFamily="50" charset="-128"/>
              <a:cs typeface="+mj-cs"/>
            </a:endParaRPr>
          </a:p>
        </p:txBody>
      </p:sp>
      <p:sp>
        <p:nvSpPr>
          <p:cNvPr id="114" name="テキスト ボックス 113">
            <a:extLst>
              <a:ext uri="{FF2B5EF4-FFF2-40B4-BE49-F238E27FC236}">
                <a16:creationId xmlns:a16="http://schemas.microsoft.com/office/drawing/2014/main" id="{3523EAFD-8F3B-035E-FA23-9A42FF0A39DC}"/>
              </a:ext>
            </a:extLst>
          </p:cNvPr>
          <p:cNvSpPr txBox="1"/>
          <p:nvPr/>
        </p:nvSpPr>
        <p:spPr>
          <a:xfrm>
            <a:off x="289042" y="1008059"/>
            <a:ext cx="11690595" cy="684803"/>
          </a:xfrm>
          <a:prstGeom prst="rect">
            <a:avLst/>
          </a:prstGeom>
          <a:solidFill>
            <a:schemeClr val="bg2"/>
          </a:solidFill>
        </p:spPr>
        <p:txBody>
          <a:bodyPr wrap="square" lIns="288000" rIns="180000">
            <a:spAutoFit/>
          </a:bodyPr>
          <a:lstStyle/>
          <a:p>
            <a:pPr marL="0" marR="0" lvl="0" indent="0" algn="l" defTabSz="914400" rtl="0" eaLnBrk="1" fontAlgn="auto" latinLnBrk="0" hangingPunct="1">
              <a:lnSpc>
                <a:spcPct val="100000"/>
              </a:lnSpc>
              <a:spcBef>
                <a:spcPts val="300"/>
              </a:spcBef>
              <a:spcAft>
                <a:spcPts val="0"/>
              </a:spcAft>
              <a:buClrTx/>
              <a:buSzTx/>
              <a:buFontTx/>
              <a:buNone/>
              <a:tabLst/>
              <a:defRPr/>
            </a:pPr>
            <a:r>
              <a:rPr kumimoji="0" lang="ja-JP" altLang="en-US" sz="1800" b="0" i="0" u="none" strike="noStrike" kern="0" cap="none" spc="0" normalizeH="0" baseline="0" noProof="0">
                <a:ln>
                  <a:noFill/>
                </a:ln>
                <a:solidFill>
                  <a:srgbClr val="000000"/>
                </a:solidFill>
                <a:effectLst/>
                <a:uLnTx/>
                <a:uFillTx/>
                <a:latin typeface="Meiryo UI"/>
                <a:ea typeface="Meiryo UI"/>
                <a:cs typeface="+mn-cs"/>
              </a:rPr>
              <a:t>・お客さまの体験価値を高めるため、生涯設計</a:t>
            </a:r>
            <a:r>
              <a:rPr kumimoji="0" lang="en-US" altLang="ja-JP" sz="1800" b="0" i="0" u="none" strike="noStrike" kern="0" cap="none" spc="0" normalizeH="0" baseline="0" noProof="0">
                <a:ln>
                  <a:noFill/>
                </a:ln>
                <a:solidFill>
                  <a:srgbClr val="000000"/>
                </a:solidFill>
                <a:effectLst/>
                <a:uLnTx/>
                <a:uFillTx/>
                <a:latin typeface="Meiryo UI"/>
                <a:ea typeface="Meiryo UI"/>
                <a:cs typeface="+mn-cs"/>
              </a:rPr>
              <a:t>D</a:t>
            </a:r>
            <a:r>
              <a:rPr kumimoji="0" lang="ja-JP" altLang="en-US" sz="1800" b="0" i="0" u="none" strike="noStrike" kern="0" cap="none" spc="0" normalizeH="0" baseline="0" noProof="0">
                <a:ln>
                  <a:noFill/>
                </a:ln>
                <a:solidFill>
                  <a:srgbClr val="000000"/>
                </a:solidFill>
                <a:effectLst/>
                <a:uLnTx/>
                <a:uFillTx/>
                <a:latin typeface="Meiryo UI"/>
                <a:ea typeface="Meiryo UI"/>
                <a:cs typeface="+mn-cs"/>
              </a:rPr>
              <a:t>が自ら学びスキルを高めていくことができる仕組みを構築する</a:t>
            </a:r>
            <a:endParaRPr kumimoji="0" lang="en-US" altLang="ja-JP" sz="1800" b="0" i="0" u="none" strike="noStrike" kern="0" cap="none" spc="0" normalizeH="0" baseline="0" noProof="0">
              <a:ln>
                <a:noFill/>
              </a:ln>
              <a:solidFill>
                <a:srgbClr val="000000"/>
              </a:solidFill>
              <a:effectLst/>
              <a:uLnTx/>
              <a:uFillTx/>
              <a:latin typeface="Meiryo UI"/>
              <a:ea typeface="Meiryo UI"/>
              <a:cs typeface="+mn-cs"/>
            </a:endParaRPr>
          </a:p>
          <a:p>
            <a:pPr marL="85725" marR="0" lvl="0" indent="-85725" algn="l" defTabSz="914400" rtl="0" eaLnBrk="1" fontAlgn="auto" latinLnBrk="0" hangingPunct="1">
              <a:lnSpc>
                <a:spcPct val="100000"/>
              </a:lnSpc>
              <a:spcBef>
                <a:spcPts val="300"/>
              </a:spcBef>
              <a:spcAft>
                <a:spcPts val="0"/>
              </a:spcAft>
              <a:buClrTx/>
              <a:buSzTx/>
              <a:buFontTx/>
              <a:buNone/>
              <a:tabLst/>
              <a:defRPr/>
            </a:pPr>
            <a:r>
              <a:rPr kumimoji="0" lang="ja-JP" altLang="en-US" sz="1800" b="0" i="0" u="none" strike="noStrike" kern="0" cap="none" spc="0" normalizeH="0" baseline="0" noProof="0">
                <a:ln>
                  <a:noFill/>
                </a:ln>
                <a:solidFill>
                  <a:srgbClr val="000000"/>
                </a:solidFill>
                <a:effectLst/>
                <a:uLnTx/>
                <a:uFillTx/>
                <a:latin typeface="Meiryo UI"/>
                <a:ea typeface="Meiryo UI"/>
                <a:cs typeface="+mn-cs"/>
              </a:rPr>
              <a:t>・</a:t>
            </a:r>
            <a:r>
              <a:rPr kumimoji="0" lang="en-US" altLang="ja-JP" sz="1800" b="0" i="0" u="none" strike="noStrike" kern="0" cap="none" spc="0" normalizeH="0" baseline="0" noProof="0">
                <a:ln>
                  <a:noFill/>
                </a:ln>
                <a:solidFill>
                  <a:srgbClr val="000000"/>
                </a:solidFill>
                <a:effectLst/>
                <a:uLnTx/>
                <a:uFillTx/>
                <a:latin typeface="Meiryo UI"/>
                <a:ea typeface="Meiryo UI"/>
                <a:cs typeface="+mn-cs"/>
              </a:rPr>
              <a:t>『</a:t>
            </a:r>
            <a:r>
              <a:rPr kumimoji="0" lang="ja-JP" altLang="en-US" sz="1800" b="0" i="0" u="none" strike="noStrike" kern="0" cap="none" spc="0" normalizeH="0" baseline="0" noProof="0">
                <a:ln>
                  <a:noFill/>
                </a:ln>
                <a:solidFill>
                  <a:srgbClr val="000000"/>
                </a:solidFill>
                <a:effectLst/>
                <a:uLnTx/>
                <a:uFillTx/>
                <a:latin typeface="Meiryo UI"/>
                <a:ea typeface="Meiryo UI"/>
                <a:cs typeface="+mn-cs"/>
              </a:rPr>
              <a:t>あいまい検索</a:t>
            </a:r>
            <a:r>
              <a:rPr kumimoji="0" lang="en-US" altLang="ja-JP" sz="1800" b="0" i="0" u="none" strike="noStrike" kern="0" cap="none" spc="0" normalizeH="0" baseline="0" noProof="0">
                <a:ln>
                  <a:noFill/>
                </a:ln>
                <a:solidFill>
                  <a:srgbClr val="000000"/>
                </a:solidFill>
                <a:effectLst/>
                <a:uLnTx/>
                <a:uFillTx/>
                <a:latin typeface="Meiryo UI"/>
                <a:ea typeface="Meiryo UI"/>
                <a:cs typeface="+mn-cs"/>
              </a:rPr>
              <a:t>』</a:t>
            </a:r>
            <a:r>
              <a:rPr kumimoji="0" lang="ja-JP" altLang="en-US" sz="1800" b="0" i="0" u="none" strike="noStrike" kern="0" cap="none" spc="0" normalizeH="0" baseline="0" noProof="0">
                <a:ln>
                  <a:noFill/>
                </a:ln>
                <a:solidFill>
                  <a:srgbClr val="000000"/>
                </a:solidFill>
                <a:effectLst/>
                <a:uLnTx/>
                <a:uFillTx/>
                <a:latin typeface="Meiryo UI"/>
                <a:ea typeface="Meiryo UI"/>
                <a:cs typeface="+mn-cs"/>
              </a:rPr>
              <a:t>については特定のお客さまに対して </a:t>
            </a:r>
            <a:r>
              <a:rPr kumimoji="0" lang="ja-JP" altLang="en-US" sz="1800" b="1" i="0" u="none" strike="noStrike" kern="0" cap="none" spc="0" normalizeH="0" baseline="0" noProof="0">
                <a:ln>
                  <a:noFill/>
                </a:ln>
                <a:solidFill>
                  <a:srgbClr val="C00000"/>
                </a:solidFill>
                <a:effectLst/>
                <a:uLnTx/>
                <a:uFillTx/>
                <a:latin typeface="Meiryo UI"/>
                <a:ea typeface="Meiryo UI"/>
                <a:cs typeface="+mn-cs"/>
              </a:rPr>
              <a:t>“（次回）訪問・お客さま対応のヒントに繋がる” </a:t>
            </a:r>
            <a:r>
              <a:rPr kumimoji="0" lang="ja-JP" altLang="en-US" sz="1800" b="0" i="0" u="none" strike="noStrike" kern="0" cap="none" spc="0" normalizeH="0" baseline="0" noProof="0">
                <a:ln>
                  <a:noFill/>
                </a:ln>
                <a:solidFill>
                  <a:srgbClr val="000000"/>
                </a:solidFill>
                <a:effectLst/>
                <a:uLnTx/>
                <a:uFillTx/>
                <a:latin typeface="Meiryo UI"/>
                <a:ea typeface="Meiryo UI"/>
                <a:cs typeface="+mn-cs"/>
              </a:rPr>
              <a:t>ような機能にしたい</a:t>
            </a:r>
          </a:p>
        </p:txBody>
      </p:sp>
      <p:sp>
        <p:nvSpPr>
          <p:cNvPr id="115" name="テキスト ボックス 114">
            <a:extLst>
              <a:ext uri="{FF2B5EF4-FFF2-40B4-BE49-F238E27FC236}">
                <a16:creationId xmlns:a16="http://schemas.microsoft.com/office/drawing/2014/main" id="{882089F9-1681-F24A-034C-728802172285}"/>
              </a:ext>
            </a:extLst>
          </p:cNvPr>
          <p:cNvSpPr txBox="1"/>
          <p:nvPr/>
        </p:nvSpPr>
        <p:spPr>
          <a:xfrm>
            <a:off x="190386" y="1910151"/>
            <a:ext cx="330679" cy="474284"/>
          </a:xfrm>
          <a:prstGeom prst="rect">
            <a:avLst/>
          </a:prstGeom>
          <a:solidFill>
            <a:srgbClr val="002060"/>
          </a:solidFill>
        </p:spPr>
        <p:txBody>
          <a:bodyPr wrap="square" anchor="ctr">
            <a:noAutofit/>
          </a:bodyPr>
          <a:lstStyle/>
          <a:p>
            <a:pPr marL="0" marR="0" lvl="0" indent="0" algn="ctr" defTabSz="914400" rtl="0" eaLnBrk="1" fontAlgn="auto" latinLnBrk="0" hangingPunct="1">
              <a:lnSpc>
                <a:spcPct val="100000"/>
              </a:lnSpc>
              <a:spcBef>
                <a:spcPts val="300"/>
              </a:spcBef>
              <a:spcAft>
                <a:spcPts val="0"/>
              </a:spcAft>
              <a:buClrTx/>
              <a:buSzTx/>
              <a:buFontTx/>
              <a:buNone/>
              <a:tabLst/>
              <a:defRPr/>
            </a:pPr>
            <a:r>
              <a:rPr kumimoji="0" lang="ja-JP" altLang="en-US" sz="2000" b="1" i="0" u="none" strike="noStrike" kern="0" cap="none" spc="0" normalizeH="0" baseline="0" noProof="0">
                <a:ln>
                  <a:noFill/>
                </a:ln>
                <a:solidFill>
                  <a:prstClr val="white"/>
                </a:solidFill>
                <a:effectLst/>
                <a:uLnTx/>
                <a:uFillTx/>
                <a:latin typeface="Meiryo UI"/>
                <a:ea typeface="Meiryo UI"/>
                <a:cs typeface="+mn-cs"/>
              </a:rPr>
              <a:t>３</a:t>
            </a:r>
          </a:p>
        </p:txBody>
      </p:sp>
      <p:sp>
        <p:nvSpPr>
          <p:cNvPr id="74" name="タイトル 1">
            <a:extLst>
              <a:ext uri="{FF2B5EF4-FFF2-40B4-BE49-F238E27FC236}">
                <a16:creationId xmlns:a16="http://schemas.microsoft.com/office/drawing/2014/main" id="{BD2BFA68-D0AB-4B36-5A48-CD3095435530}"/>
              </a:ext>
            </a:extLst>
          </p:cNvPr>
          <p:cNvSpPr txBox="1">
            <a:spLocks/>
          </p:cNvSpPr>
          <p:nvPr/>
        </p:nvSpPr>
        <p:spPr>
          <a:xfrm>
            <a:off x="289135" y="2917352"/>
            <a:ext cx="2114460" cy="320214"/>
          </a:xfrm>
          <a:prstGeom prst="rect">
            <a:avLst/>
          </a:prstGeom>
          <a:solidFill>
            <a:schemeClr val="accent1">
              <a:lumMod val="20000"/>
              <a:lumOff val="80000"/>
            </a:schemeClr>
          </a:solidFill>
        </p:spPr>
        <p:txBody>
          <a:bodyPr anchor="ctr">
            <a:noAutofit/>
          </a:bodyPr>
          <a:lstStyle>
            <a:lvl1pPr algn="l" defTabSz="1219170" rtl="0" eaLnBrk="1" latinLnBrk="0" hangingPunct="1">
              <a:lnSpc>
                <a:spcPct val="100000"/>
              </a:lnSpc>
              <a:spcBef>
                <a:spcPct val="0"/>
              </a:spcBef>
              <a:buNone/>
              <a:defRPr kumimoji="1" sz="2400" kern="1200">
                <a:solidFill>
                  <a:schemeClr val="tx1"/>
                </a:solidFill>
                <a:latin typeface="Meiryo UI" panose="020B0604030504040204" pitchFamily="50" charset="-128"/>
                <a:ea typeface="Meiryo UI" panose="020B0604030504040204" pitchFamily="50" charset="-128"/>
                <a:cs typeface="+mj-cs"/>
              </a:defRPr>
            </a:lvl1pPr>
          </a:lstStyle>
          <a:p>
            <a:pPr marL="0" marR="0" lvl="0" indent="0" algn="ctr" defTabSz="1219170" rtl="0" eaLnBrk="1" fontAlgn="auto" latinLnBrk="0" hangingPunct="1">
              <a:lnSpc>
                <a:spcPct val="100000"/>
              </a:lnSpc>
              <a:spcBef>
                <a:spcPct val="0"/>
              </a:spcBef>
              <a:spcAft>
                <a:spcPts val="0"/>
              </a:spcAft>
              <a:buClrTx/>
              <a:buSzTx/>
              <a:buFontTx/>
              <a:buNone/>
              <a:tabLst/>
              <a:defRPr/>
            </a:pPr>
            <a:r>
              <a:rPr kumimoji="1" lang="ja-JP" altLang="en-US" sz="1600" b="0" i="0" u="none" strike="noStrike" kern="1200" cap="none" spc="0" normalizeH="0" baseline="0" noProof="0">
                <a:ln>
                  <a:noFill/>
                </a:ln>
                <a:solidFill>
                  <a:srgbClr val="282828"/>
                </a:solidFill>
                <a:effectLst/>
                <a:uLnTx/>
                <a:uFillTx/>
                <a:latin typeface="Meiryo UI" panose="020B0604030504040204" pitchFamily="50" charset="-128"/>
                <a:ea typeface="Meiryo UI" panose="020B0604030504040204" pitchFamily="50" charset="-128"/>
                <a:cs typeface="+mj-cs"/>
              </a:rPr>
              <a:t>ライフイベント・変化</a:t>
            </a:r>
            <a:endParaRPr kumimoji="1" lang="en-US" altLang="ja-JP" sz="1600" b="0" i="0" u="none" strike="noStrike" kern="1200" cap="none" spc="0" normalizeH="0" baseline="0" noProof="0">
              <a:ln>
                <a:noFill/>
              </a:ln>
              <a:solidFill>
                <a:srgbClr val="282828"/>
              </a:solidFill>
              <a:effectLst/>
              <a:uLnTx/>
              <a:uFillTx/>
              <a:latin typeface="Meiryo UI" panose="020B0604030504040204" pitchFamily="50" charset="-128"/>
              <a:ea typeface="Meiryo UI" panose="020B0604030504040204" pitchFamily="50" charset="-128"/>
              <a:cs typeface="+mj-cs"/>
            </a:endParaRPr>
          </a:p>
        </p:txBody>
      </p:sp>
      <p:sp>
        <p:nvSpPr>
          <p:cNvPr id="75" name="タイトル 1">
            <a:extLst>
              <a:ext uri="{FF2B5EF4-FFF2-40B4-BE49-F238E27FC236}">
                <a16:creationId xmlns:a16="http://schemas.microsoft.com/office/drawing/2014/main" id="{A4547960-4E71-96C4-F381-8AF9A4A88FC8}"/>
              </a:ext>
            </a:extLst>
          </p:cNvPr>
          <p:cNvSpPr txBox="1">
            <a:spLocks/>
          </p:cNvSpPr>
          <p:nvPr/>
        </p:nvSpPr>
        <p:spPr>
          <a:xfrm>
            <a:off x="289135" y="3275417"/>
            <a:ext cx="2114460" cy="3424788"/>
          </a:xfrm>
          <a:prstGeom prst="rect">
            <a:avLst/>
          </a:prstGeom>
          <a:solidFill>
            <a:schemeClr val="bg1"/>
          </a:solidFill>
          <a:ln>
            <a:solidFill>
              <a:srgbClr val="4F81BD"/>
            </a:solidFill>
          </a:ln>
        </p:spPr>
        <p:txBody>
          <a:bodyPr anchor="ctr">
            <a:noAutofit/>
          </a:bodyPr>
          <a:lstStyle>
            <a:lvl1pPr algn="l" defTabSz="1219170" rtl="0" eaLnBrk="1" latinLnBrk="0" hangingPunct="1">
              <a:lnSpc>
                <a:spcPct val="100000"/>
              </a:lnSpc>
              <a:spcBef>
                <a:spcPct val="0"/>
              </a:spcBef>
              <a:buNone/>
              <a:defRPr kumimoji="1" sz="2400" kern="1200">
                <a:solidFill>
                  <a:schemeClr val="tx1"/>
                </a:solidFill>
                <a:latin typeface="Meiryo UI" panose="020B0604030504040204" pitchFamily="50" charset="-128"/>
                <a:ea typeface="Meiryo UI" panose="020B0604030504040204" pitchFamily="50" charset="-128"/>
                <a:cs typeface="+mj-cs"/>
              </a:defRPr>
            </a:lvl1pPr>
          </a:lstStyle>
          <a:p>
            <a:pPr marL="0" marR="0" lvl="0" indent="0" algn="ctr" defTabSz="1219170" rtl="0" eaLnBrk="1" fontAlgn="auto" latinLnBrk="0" hangingPunct="1">
              <a:lnSpc>
                <a:spcPct val="100000"/>
              </a:lnSpc>
              <a:spcBef>
                <a:spcPct val="0"/>
              </a:spcBef>
              <a:spcAft>
                <a:spcPts val="0"/>
              </a:spcAft>
              <a:buClrTx/>
              <a:buSzTx/>
              <a:buFontTx/>
              <a:buNone/>
              <a:tabLst/>
              <a:defRPr/>
            </a:pPr>
            <a:r>
              <a:rPr kumimoji="1" lang="ja-JP" altLang="en-US" sz="1600" b="0" i="0" u="none" strike="noStrike" kern="1200" cap="none" spc="0" normalizeH="0" baseline="0" noProof="0" dirty="0">
                <a:ln>
                  <a:noFill/>
                </a:ln>
                <a:solidFill>
                  <a:srgbClr val="282828"/>
                </a:solidFill>
                <a:effectLst/>
                <a:uLnTx/>
                <a:uFillTx/>
                <a:latin typeface="Meiryo UI" panose="020B0604030504040204" pitchFamily="50" charset="-128"/>
                <a:ea typeface="Meiryo UI" panose="020B0604030504040204" pitchFamily="50" charset="-128"/>
                <a:cs typeface="+mj-cs"/>
              </a:rPr>
              <a:t>就職</a:t>
            </a:r>
            <a:endParaRPr kumimoji="1" lang="en-US" altLang="ja-JP" sz="1600" b="0" i="0" u="none" strike="noStrike" kern="1200" cap="none" spc="0" normalizeH="0" baseline="0" noProof="0" dirty="0">
              <a:ln>
                <a:noFill/>
              </a:ln>
              <a:solidFill>
                <a:srgbClr val="282828"/>
              </a:solidFill>
              <a:effectLst/>
              <a:uLnTx/>
              <a:uFillTx/>
              <a:latin typeface="Meiryo UI" panose="020B0604030504040204" pitchFamily="50" charset="-128"/>
              <a:ea typeface="Meiryo UI" panose="020B0604030504040204" pitchFamily="50" charset="-128"/>
              <a:cs typeface="+mj-cs"/>
            </a:endParaRPr>
          </a:p>
          <a:p>
            <a:pPr marL="0" marR="0" lvl="0" indent="0" algn="ctr" defTabSz="1219170" rtl="0" eaLnBrk="1" fontAlgn="auto" latinLnBrk="0" hangingPunct="1">
              <a:lnSpc>
                <a:spcPct val="100000"/>
              </a:lnSpc>
              <a:spcBef>
                <a:spcPct val="0"/>
              </a:spcBef>
              <a:spcAft>
                <a:spcPts val="0"/>
              </a:spcAft>
              <a:buClrTx/>
              <a:buSzTx/>
              <a:buFontTx/>
              <a:buNone/>
              <a:tabLst/>
              <a:defRPr/>
            </a:pPr>
            <a:r>
              <a:rPr lang="ja-JP" altLang="en-US" sz="1600" dirty="0">
                <a:solidFill>
                  <a:srgbClr val="282828"/>
                </a:solidFill>
              </a:rPr>
              <a:t>結婚</a:t>
            </a:r>
            <a:endParaRPr lang="en-US" altLang="ja-JP" sz="1600" dirty="0">
              <a:solidFill>
                <a:srgbClr val="282828"/>
              </a:solidFill>
            </a:endParaRPr>
          </a:p>
          <a:p>
            <a:pPr marL="0" marR="0" lvl="0" indent="0" algn="ctr" defTabSz="1219170" rtl="0" eaLnBrk="1" fontAlgn="auto" latinLnBrk="0" hangingPunct="1">
              <a:lnSpc>
                <a:spcPct val="100000"/>
              </a:lnSpc>
              <a:spcBef>
                <a:spcPct val="0"/>
              </a:spcBef>
              <a:spcAft>
                <a:spcPts val="0"/>
              </a:spcAft>
              <a:buClrTx/>
              <a:buSzTx/>
              <a:buFontTx/>
              <a:buNone/>
              <a:tabLst/>
              <a:defRPr/>
            </a:pPr>
            <a:r>
              <a:rPr kumimoji="1" lang="ja-JP" altLang="en-US" sz="1600" b="0" i="0" u="none" strike="noStrike" kern="1200" cap="none" spc="0" normalizeH="0" baseline="0" noProof="0" dirty="0">
                <a:ln>
                  <a:noFill/>
                </a:ln>
                <a:solidFill>
                  <a:srgbClr val="282828"/>
                </a:solidFill>
                <a:effectLst/>
                <a:uLnTx/>
                <a:uFillTx/>
                <a:latin typeface="Meiryo UI" panose="020B0604030504040204" pitchFamily="50" charset="-128"/>
                <a:ea typeface="Meiryo UI" panose="020B0604030504040204" pitchFamily="50" charset="-128"/>
                <a:cs typeface="+mj-cs"/>
              </a:rPr>
              <a:t>出産</a:t>
            </a:r>
            <a:endParaRPr kumimoji="1" lang="en-US" altLang="ja-JP" sz="1600" b="0" i="0" u="none" strike="noStrike" kern="1200" cap="none" spc="0" normalizeH="0" baseline="0" noProof="0" dirty="0">
              <a:ln>
                <a:noFill/>
              </a:ln>
              <a:solidFill>
                <a:srgbClr val="282828"/>
              </a:solidFill>
              <a:effectLst/>
              <a:uLnTx/>
              <a:uFillTx/>
              <a:latin typeface="Meiryo UI" panose="020B0604030504040204" pitchFamily="50" charset="-128"/>
              <a:ea typeface="Meiryo UI" panose="020B0604030504040204" pitchFamily="50" charset="-128"/>
              <a:cs typeface="+mj-cs"/>
            </a:endParaRPr>
          </a:p>
          <a:p>
            <a:pPr marL="0" marR="0" lvl="0" indent="0" algn="ctr" defTabSz="1219170" rtl="0" eaLnBrk="1" fontAlgn="auto" latinLnBrk="0" hangingPunct="1">
              <a:lnSpc>
                <a:spcPct val="100000"/>
              </a:lnSpc>
              <a:spcBef>
                <a:spcPct val="0"/>
              </a:spcBef>
              <a:spcAft>
                <a:spcPts val="0"/>
              </a:spcAft>
              <a:buClrTx/>
              <a:buSzTx/>
              <a:buFontTx/>
              <a:buNone/>
              <a:tabLst/>
              <a:defRPr/>
            </a:pPr>
            <a:r>
              <a:rPr lang="ja-JP" altLang="en-US" sz="1600" dirty="0">
                <a:solidFill>
                  <a:srgbClr val="282828"/>
                </a:solidFill>
              </a:rPr>
              <a:t>家購入</a:t>
            </a:r>
            <a:endParaRPr lang="en-US" altLang="ja-JP" sz="1600" dirty="0">
              <a:solidFill>
                <a:srgbClr val="282828"/>
              </a:solidFill>
            </a:endParaRPr>
          </a:p>
          <a:p>
            <a:pPr marL="0" marR="0" lvl="0" indent="0" algn="ctr" defTabSz="1219170" rtl="0" eaLnBrk="1" fontAlgn="auto" latinLnBrk="0" hangingPunct="1">
              <a:lnSpc>
                <a:spcPct val="100000"/>
              </a:lnSpc>
              <a:spcBef>
                <a:spcPct val="0"/>
              </a:spcBef>
              <a:spcAft>
                <a:spcPts val="0"/>
              </a:spcAft>
              <a:buClrTx/>
              <a:buSzTx/>
              <a:buFontTx/>
              <a:buNone/>
              <a:tabLst/>
              <a:defRPr/>
            </a:pPr>
            <a:r>
              <a:rPr kumimoji="1" lang="ja-JP" altLang="en-US" sz="1600" b="0" i="0" u="none" strike="noStrike" kern="1200" cap="none" spc="0" normalizeH="0" baseline="0" noProof="0" dirty="0">
                <a:ln>
                  <a:noFill/>
                </a:ln>
                <a:solidFill>
                  <a:srgbClr val="282828"/>
                </a:solidFill>
                <a:effectLst/>
                <a:uLnTx/>
                <a:uFillTx/>
                <a:latin typeface="Meiryo UI" panose="020B0604030504040204" pitchFamily="50" charset="-128"/>
                <a:ea typeface="Meiryo UI" panose="020B0604030504040204" pitchFamily="50" charset="-128"/>
                <a:cs typeface="+mj-cs"/>
              </a:rPr>
              <a:t>子独立</a:t>
            </a:r>
            <a:endParaRPr kumimoji="1" lang="en-US" altLang="ja-JP" sz="1600" b="0" i="0" u="none" strike="noStrike" kern="1200" cap="none" spc="0" normalizeH="0" baseline="0" noProof="0" dirty="0">
              <a:ln>
                <a:noFill/>
              </a:ln>
              <a:solidFill>
                <a:srgbClr val="282828"/>
              </a:solidFill>
              <a:effectLst/>
              <a:uLnTx/>
              <a:uFillTx/>
              <a:latin typeface="Meiryo UI" panose="020B0604030504040204" pitchFamily="50" charset="-128"/>
              <a:ea typeface="Meiryo UI" panose="020B0604030504040204" pitchFamily="50" charset="-128"/>
              <a:cs typeface="+mj-cs"/>
            </a:endParaRPr>
          </a:p>
          <a:p>
            <a:pPr marL="0" marR="0" lvl="0" indent="0" algn="ctr" defTabSz="1219170" rtl="0" eaLnBrk="1" fontAlgn="auto" latinLnBrk="0" hangingPunct="1">
              <a:lnSpc>
                <a:spcPct val="100000"/>
              </a:lnSpc>
              <a:spcBef>
                <a:spcPct val="0"/>
              </a:spcBef>
              <a:spcAft>
                <a:spcPts val="0"/>
              </a:spcAft>
              <a:buClrTx/>
              <a:buSzTx/>
              <a:buFontTx/>
              <a:buNone/>
              <a:tabLst/>
              <a:defRPr/>
            </a:pPr>
            <a:r>
              <a:rPr lang="ja-JP" altLang="en-US" sz="1600" dirty="0">
                <a:solidFill>
                  <a:srgbClr val="282828"/>
                </a:solidFill>
              </a:rPr>
              <a:t>退職</a:t>
            </a:r>
            <a:endParaRPr lang="en-US" altLang="ja-JP" sz="1600" dirty="0">
              <a:solidFill>
                <a:srgbClr val="282828"/>
              </a:solidFill>
            </a:endParaRPr>
          </a:p>
          <a:p>
            <a:pPr marL="0" marR="0" lvl="0" indent="0" algn="ctr" defTabSz="1219170" rtl="0" eaLnBrk="1" fontAlgn="auto" latinLnBrk="0" hangingPunct="1">
              <a:lnSpc>
                <a:spcPct val="100000"/>
              </a:lnSpc>
              <a:spcBef>
                <a:spcPct val="0"/>
              </a:spcBef>
              <a:spcAft>
                <a:spcPts val="0"/>
              </a:spcAft>
              <a:buClrTx/>
              <a:buSzTx/>
              <a:buFontTx/>
              <a:buNone/>
              <a:tabLst/>
              <a:defRPr/>
            </a:pPr>
            <a:r>
              <a:rPr kumimoji="1" lang="ja-JP" altLang="en-US" sz="1600" b="0" i="0" u="none" strike="noStrike" kern="1200" cap="none" spc="0" normalizeH="0" baseline="0" noProof="0" dirty="0">
                <a:ln>
                  <a:noFill/>
                </a:ln>
                <a:solidFill>
                  <a:srgbClr val="282828"/>
                </a:solidFill>
                <a:effectLst/>
                <a:uLnTx/>
                <a:uFillTx/>
                <a:latin typeface="Meiryo UI" panose="020B0604030504040204" pitchFamily="50" charset="-128"/>
                <a:ea typeface="Meiryo UI" panose="020B0604030504040204" pitchFamily="50" charset="-128"/>
                <a:cs typeface="+mj-cs"/>
              </a:rPr>
              <a:t>死亡</a:t>
            </a:r>
            <a:endParaRPr kumimoji="1" lang="en-US" altLang="ja-JP" sz="1600" b="0" i="0" u="none" strike="noStrike" kern="1200" cap="none" spc="0" normalizeH="0" baseline="0" noProof="0" dirty="0">
              <a:ln>
                <a:noFill/>
              </a:ln>
              <a:solidFill>
                <a:srgbClr val="282828"/>
              </a:solidFill>
              <a:effectLst/>
              <a:uLnTx/>
              <a:uFillTx/>
              <a:latin typeface="Meiryo UI" panose="020B0604030504040204" pitchFamily="50" charset="-128"/>
              <a:ea typeface="Meiryo UI" panose="020B0604030504040204" pitchFamily="50" charset="-128"/>
              <a:cs typeface="+mj-cs"/>
            </a:endParaRPr>
          </a:p>
          <a:p>
            <a:pPr marL="0" marR="0" lvl="0" indent="0" algn="ctr" defTabSz="1219170" rtl="0" eaLnBrk="1" fontAlgn="auto" latinLnBrk="0" hangingPunct="1">
              <a:lnSpc>
                <a:spcPct val="100000"/>
              </a:lnSpc>
              <a:spcBef>
                <a:spcPct val="0"/>
              </a:spcBef>
              <a:spcAft>
                <a:spcPts val="0"/>
              </a:spcAft>
              <a:buClrTx/>
              <a:buSzTx/>
              <a:buFontTx/>
              <a:buNone/>
              <a:tabLst/>
              <a:defRPr/>
            </a:pPr>
            <a:r>
              <a:rPr lang="ja-JP" altLang="en-US" sz="1600" dirty="0">
                <a:solidFill>
                  <a:srgbClr val="282828"/>
                </a:solidFill>
              </a:rPr>
              <a:t>入院</a:t>
            </a:r>
            <a:endParaRPr lang="en-US" altLang="ja-JP" sz="1600" dirty="0">
              <a:solidFill>
                <a:srgbClr val="282828"/>
              </a:solidFill>
            </a:endParaRPr>
          </a:p>
          <a:p>
            <a:pPr marL="0" marR="0" lvl="0" indent="0" algn="ctr" defTabSz="1219170" rtl="0" eaLnBrk="1" fontAlgn="auto" latinLnBrk="0" hangingPunct="1">
              <a:lnSpc>
                <a:spcPct val="100000"/>
              </a:lnSpc>
              <a:spcBef>
                <a:spcPct val="0"/>
              </a:spcBef>
              <a:spcAft>
                <a:spcPts val="0"/>
              </a:spcAft>
              <a:buClrTx/>
              <a:buSzTx/>
              <a:buFontTx/>
              <a:buNone/>
              <a:tabLst/>
              <a:defRPr/>
            </a:pPr>
            <a:r>
              <a:rPr kumimoji="1" lang="ja-JP" altLang="en-US" sz="1600" b="0" i="0" u="none" strike="noStrike" kern="1200" cap="none" spc="0" normalizeH="0" baseline="0" noProof="0" dirty="0">
                <a:ln>
                  <a:noFill/>
                </a:ln>
                <a:solidFill>
                  <a:srgbClr val="282828"/>
                </a:solidFill>
                <a:effectLst/>
                <a:uLnTx/>
                <a:uFillTx/>
                <a:latin typeface="Meiryo UI" panose="020B0604030504040204" pitchFamily="50" charset="-128"/>
                <a:ea typeface="Meiryo UI" panose="020B0604030504040204" pitchFamily="50" charset="-128"/>
                <a:cs typeface="+mj-cs"/>
              </a:rPr>
              <a:t>大病</a:t>
            </a:r>
            <a:endParaRPr kumimoji="1" lang="en-US" altLang="ja-JP" sz="1600" b="0" i="0" u="none" strike="noStrike" kern="1200" cap="none" spc="0" normalizeH="0" baseline="0" noProof="0" dirty="0">
              <a:ln>
                <a:noFill/>
              </a:ln>
              <a:solidFill>
                <a:srgbClr val="282828"/>
              </a:solidFill>
              <a:effectLst/>
              <a:uLnTx/>
              <a:uFillTx/>
              <a:latin typeface="Meiryo UI" panose="020B0604030504040204" pitchFamily="50" charset="-128"/>
              <a:ea typeface="Meiryo UI" panose="020B0604030504040204" pitchFamily="50" charset="-128"/>
              <a:cs typeface="+mj-cs"/>
            </a:endParaRPr>
          </a:p>
          <a:p>
            <a:pPr marL="0" marR="0" lvl="0" indent="0" algn="ctr" defTabSz="1219170" rtl="0" eaLnBrk="1" fontAlgn="auto" latinLnBrk="0" hangingPunct="1">
              <a:lnSpc>
                <a:spcPct val="100000"/>
              </a:lnSpc>
              <a:spcBef>
                <a:spcPct val="0"/>
              </a:spcBef>
              <a:spcAft>
                <a:spcPts val="0"/>
              </a:spcAft>
              <a:buClrTx/>
              <a:buSzTx/>
              <a:buFontTx/>
              <a:buNone/>
              <a:tabLst/>
              <a:defRPr/>
            </a:pPr>
            <a:r>
              <a:rPr lang="ja-JP" altLang="en-US" sz="1600" dirty="0">
                <a:solidFill>
                  <a:srgbClr val="282828"/>
                </a:solidFill>
              </a:rPr>
              <a:t>ケガ</a:t>
            </a:r>
            <a:endParaRPr kumimoji="1" lang="en-US" altLang="ja-JP" sz="1600" b="0" i="0" u="none" strike="noStrike" kern="1200" cap="none" spc="0" normalizeH="0" baseline="0" noProof="0" dirty="0">
              <a:ln>
                <a:noFill/>
              </a:ln>
              <a:solidFill>
                <a:srgbClr val="282828"/>
              </a:solidFill>
              <a:effectLst/>
              <a:uLnTx/>
              <a:uFillTx/>
              <a:latin typeface="Meiryo UI" panose="020B0604030504040204" pitchFamily="50" charset="-128"/>
              <a:ea typeface="Meiryo UI" panose="020B0604030504040204" pitchFamily="50" charset="-128"/>
              <a:cs typeface="+mj-cs"/>
            </a:endParaRPr>
          </a:p>
          <a:p>
            <a:pPr marL="0" marR="0" lvl="0" indent="0" algn="ctr" defTabSz="1219170" rtl="0" eaLnBrk="1" fontAlgn="auto" latinLnBrk="0" hangingPunct="1">
              <a:lnSpc>
                <a:spcPct val="100000"/>
              </a:lnSpc>
              <a:spcBef>
                <a:spcPct val="0"/>
              </a:spcBef>
              <a:spcAft>
                <a:spcPts val="0"/>
              </a:spcAft>
              <a:buClrTx/>
              <a:buSzTx/>
              <a:buFontTx/>
              <a:buNone/>
              <a:tabLst/>
              <a:defRPr/>
            </a:pPr>
            <a:r>
              <a:rPr lang="ja-JP" altLang="en-US" sz="1600" dirty="0">
                <a:solidFill>
                  <a:srgbClr val="282828"/>
                </a:solidFill>
              </a:rPr>
              <a:t>ペット</a:t>
            </a:r>
            <a:endParaRPr lang="en-US" altLang="ja-JP" sz="1600" dirty="0">
              <a:solidFill>
                <a:srgbClr val="282828"/>
              </a:solidFill>
            </a:endParaRPr>
          </a:p>
          <a:p>
            <a:pPr marL="0" marR="0" lvl="0" indent="0" algn="ctr" defTabSz="1219170" rtl="0" eaLnBrk="1" fontAlgn="auto" latinLnBrk="0" hangingPunct="1">
              <a:lnSpc>
                <a:spcPct val="100000"/>
              </a:lnSpc>
              <a:spcBef>
                <a:spcPct val="0"/>
              </a:spcBef>
              <a:spcAft>
                <a:spcPts val="0"/>
              </a:spcAft>
              <a:buClrTx/>
              <a:buSzTx/>
              <a:buFontTx/>
              <a:buNone/>
              <a:tabLst/>
              <a:defRPr/>
            </a:pPr>
            <a:r>
              <a:rPr lang="ja-JP" altLang="en-US" sz="1600" dirty="0">
                <a:solidFill>
                  <a:srgbClr val="282828"/>
                </a:solidFill>
              </a:rPr>
              <a:t>・・・</a:t>
            </a:r>
            <a:endParaRPr lang="en-US" altLang="ja-JP" sz="1600" dirty="0">
              <a:solidFill>
                <a:srgbClr val="282828"/>
              </a:solidFill>
            </a:endParaRPr>
          </a:p>
        </p:txBody>
      </p:sp>
      <p:sp>
        <p:nvSpPr>
          <p:cNvPr id="76" name="楕円 75">
            <a:extLst>
              <a:ext uri="{FF2B5EF4-FFF2-40B4-BE49-F238E27FC236}">
                <a16:creationId xmlns:a16="http://schemas.microsoft.com/office/drawing/2014/main" id="{5E0F5608-1FC2-4DD6-33C8-8ACE758DF43E}"/>
              </a:ext>
            </a:extLst>
          </p:cNvPr>
          <p:cNvSpPr/>
          <p:nvPr/>
        </p:nvSpPr>
        <p:spPr>
          <a:xfrm>
            <a:off x="5294981" y="5617977"/>
            <a:ext cx="1214779" cy="738452"/>
          </a:xfrm>
          <a:prstGeom prst="ellipse">
            <a:avLst/>
          </a:prstGeom>
          <a:solidFill>
            <a:schemeClr val="accent5">
              <a:lumMod val="20000"/>
              <a:lumOff val="80000"/>
            </a:schemeClr>
          </a:solidFill>
          <a:ln w="762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ja-JP" altLang="en-US" sz="1200">
                <a:solidFill>
                  <a:prstClr val="black">
                    <a:lumMod val="65000"/>
                    <a:lumOff val="35000"/>
                  </a:prstClr>
                </a:solidFill>
                <a:latin typeface="BIZ UDPゴシック" panose="020B0400000000000000" pitchFamily="50" charset="-128"/>
                <a:ea typeface="BIZ UDPゴシック" panose="020B0400000000000000" pitchFamily="50" charset="-128"/>
              </a:rPr>
              <a:t>デジタルバディ</a:t>
            </a:r>
            <a:endParaRPr kumimoji="1" lang="ja-JP" altLang="en-US" sz="1200" b="0" i="0" u="none" strike="noStrike" kern="1200" cap="none" spc="0" normalizeH="0" baseline="0" noProof="0">
              <a:ln>
                <a:noFill/>
              </a:ln>
              <a:solidFill>
                <a:prstClr val="black">
                  <a:lumMod val="65000"/>
                  <a:lumOff val="35000"/>
                </a:prstClr>
              </a:solidFill>
              <a:effectLst/>
              <a:uLnTx/>
              <a:uFillTx/>
              <a:latin typeface="BIZ UDPゴシック" panose="020B0400000000000000" pitchFamily="50" charset="-128"/>
              <a:ea typeface="BIZ UDPゴシック" panose="020B0400000000000000" pitchFamily="50" charset="-128"/>
              <a:cs typeface="+mn-cs"/>
            </a:endParaRPr>
          </a:p>
        </p:txBody>
      </p:sp>
      <p:grpSp>
        <p:nvGrpSpPr>
          <p:cNvPr id="77" name="グループ化 76">
            <a:extLst>
              <a:ext uri="{FF2B5EF4-FFF2-40B4-BE49-F238E27FC236}">
                <a16:creationId xmlns:a16="http://schemas.microsoft.com/office/drawing/2014/main" id="{521DF357-A4C7-6B14-31A5-DEAEC0832572}"/>
              </a:ext>
            </a:extLst>
          </p:cNvPr>
          <p:cNvGrpSpPr>
            <a:grpSpLocks noChangeAspect="1"/>
          </p:cNvGrpSpPr>
          <p:nvPr/>
        </p:nvGrpSpPr>
        <p:grpSpPr>
          <a:xfrm>
            <a:off x="6039526" y="6072656"/>
            <a:ext cx="470234" cy="627548"/>
            <a:chOff x="513920" y="1866028"/>
            <a:chExt cx="2910984" cy="4576278"/>
          </a:xfrm>
        </p:grpSpPr>
        <p:sp>
          <p:nvSpPr>
            <p:cNvPr id="78" name="楕円 77">
              <a:extLst>
                <a:ext uri="{FF2B5EF4-FFF2-40B4-BE49-F238E27FC236}">
                  <a16:creationId xmlns:a16="http://schemas.microsoft.com/office/drawing/2014/main" id="{62B0855C-C17C-824A-D81D-F25B2520411D}"/>
                </a:ext>
              </a:extLst>
            </p:cNvPr>
            <p:cNvSpPr/>
            <p:nvPr/>
          </p:nvSpPr>
          <p:spPr>
            <a:xfrm>
              <a:off x="566833" y="2009773"/>
              <a:ext cx="2834422" cy="4010926"/>
            </a:xfrm>
            <a:prstGeom prst="ellipse">
              <a:avLst/>
            </a:prstGeom>
            <a:solidFill>
              <a:srgbClr val="92846E">
                <a:lumMod val="20000"/>
                <a:lumOff val="80000"/>
              </a:srgbClr>
            </a:solidFill>
            <a:ln w="9525" cap="flat" cmpd="sng" algn="ctr">
              <a:noFill/>
              <a:prstDash val="solid"/>
            </a:ln>
            <a:effectLst>
              <a:softEdge rad="127000"/>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78835" rtl="0" eaLnBrk="1" fontAlgn="auto" latinLnBrk="0" hangingPunct="1">
                <a:lnSpc>
                  <a:spcPct val="100000"/>
                </a:lnSpc>
                <a:spcBef>
                  <a:spcPts val="0"/>
                </a:spcBef>
                <a:spcAft>
                  <a:spcPts val="0"/>
                </a:spcAft>
                <a:buClrTx/>
                <a:buSzTx/>
                <a:buFontTx/>
                <a:buNone/>
                <a:tabLst/>
                <a:defRPr/>
              </a:pPr>
              <a:endParaRPr kumimoji="0" lang="ja-JP" altLang="en-US" sz="1900" b="0" i="0" u="none" strike="noStrike" kern="0" cap="none" spc="0" normalizeH="0" baseline="0" noProof="0">
                <a:ln>
                  <a:noFill/>
                </a:ln>
                <a:solidFill>
                  <a:srgbClr val="000000"/>
                </a:solidFill>
                <a:effectLst/>
                <a:uLnTx/>
                <a:uFillTx/>
                <a:latin typeface="Meiryo UI"/>
                <a:ea typeface="Meiryo UI"/>
                <a:cs typeface="+mn-cs"/>
              </a:endParaRPr>
            </a:p>
          </p:txBody>
        </p:sp>
        <p:pic>
          <p:nvPicPr>
            <p:cNvPr id="107" name="図 106">
              <a:extLst>
                <a:ext uri="{FF2B5EF4-FFF2-40B4-BE49-F238E27FC236}">
                  <a16:creationId xmlns:a16="http://schemas.microsoft.com/office/drawing/2014/main" id="{951199F0-05C3-CEB4-E091-5EDF5877BDF3}"/>
                </a:ext>
              </a:extLst>
            </p:cNvPr>
            <p:cNvPicPr>
              <a:picLocks noChangeAspect="1"/>
            </p:cNvPicPr>
            <p:nvPr/>
          </p:nvPicPr>
          <p:blipFill>
            <a:blip r:embed="rId3">
              <a:extLst>
                <a:ext uri="{BEBA8EAE-BF5A-486C-A8C5-ECC9F3942E4B}">
                  <a14:imgProps xmlns:a14="http://schemas.microsoft.com/office/drawing/2010/main">
                    <a14:imgLayer r:embed="rId4">
                      <a14:imgEffect>
                        <a14:backgroundRemoval t="3582" b="97564" l="6532" r="92793">
                          <a14:foregroundMark x1="45270" y1="7880" x2="56532" y2="7163"/>
                          <a14:foregroundMark x1="48874" y1="3582" x2="50450" y2="4871"/>
                          <a14:foregroundMark x1="27703" y1="54728" x2="40766" y2="79226"/>
                          <a14:foregroundMark x1="74099" y1="84814" x2="75901" y2="52436"/>
                          <a14:foregroundMark x1="75901" y1="52436" x2="75450" y2="51862"/>
                          <a14:foregroundMark x1="71622" y1="49284" x2="63288" y2="72063"/>
                          <a14:foregroundMark x1="63288" y1="72063" x2="67568" y2="80659"/>
                          <a14:foregroundMark x1="67568" y1="80659" x2="79955" y2="88109"/>
                          <a14:foregroundMark x1="79955" y1="88109" x2="88739" y2="79226"/>
                          <a14:foregroundMark x1="88739" y1="79226" x2="88288" y2="57450"/>
                          <a14:foregroundMark x1="88288" y1="57450" x2="81532" y2="50573"/>
                          <a14:foregroundMark x1="93018" y1="57020" x2="90991" y2="90258"/>
                          <a14:foregroundMark x1="28829" y1="52149" x2="12613" y2="64183"/>
                          <a14:foregroundMark x1="12613" y1="64183" x2="16667" y2="75072"/>
                          <a14:foregroundMark x1="16667" y1="75072" x2="39189" y2="91117"/>
                          <a14:foregroundMark x1="80856" y1="92980" x2="34459" y2="86819"/>
                          <a14:foregroundMark x1="12613" y1="79226" x2="8108" y2="90258"/>
                          <a14:foregroundMark x1="8108" y1="90258" x2="15541" y2="85530"/>
                          <a14:foregroundMark x1="11036" y1="94699" x2="6532" y2="97564"/>
                        </a14:backgroundRemoval>
                      </a14:imgEffect>
                    </a14:imgLayer>
                  </a14:imgProps>
                </a:ext>
              </a:extLst>
            </a:blip>
            <a:stretch>
              <a:fillRect/>
            </a:stretch>
          </p:blipFill>
          <p:spPr>
            <a:xfrm>
              <a:off x="513920" y="1866028"/>
              <a:ext cx="2910984" cy="4576278"/>
            </a:xfrm>
            <a:prstGeom prst="rect">
              <a:avLst/>
            </a:prstGeom>
            <a:effectLst>
              <a:outerShdw blurRad="50800" dist="38100" dir="2700000" algn="tl" rotWithShape="0">
                <a:prstClr val="black">
                  <a:alpha val="40000"/>
                </a:prstClr>
              </a:outerShdw>
            </a:effectLst>
          </p:spPr>
        </p:pic>
      </p:grpSp>
      <p:pic>
        <p:nvPicPr>
          <p:cNvPr id="109" name="図 108">
            <a:extLst>
              <a:ext uri="{FF2B5EF4-FFF2-40B4-BE49-F238E27FC236}">
                <a16:creationId xmlns:a16="http://schemas.microsoft.com/office/drawing/2014/main" id="{449D2CF8-F965-7C6A-558C-71DB425B8E14}"/>
              </a:ext>
            </a:extLst>
          </p:cNvPr>
          <p:cNvPicPr>
            <a:picLocks noChangeAspect="1"/>
          </p:cNvPicPr>
          <p:nvPr/>
        </p:nvPicPr>
        <p:blipFill>
          <a:blip r:embed="rId5">
            <a:grayscl/>
          </a:blip>
          <a:stretch>
            <a:fillRect/>
          </a:stretch>
        </p:blipFill>
        <p:spPr>
          <a:xfrm>
            <a:off x="2819718" y="3266280"/>
            <a:ext cx="737680" cy="713294"/>
          </a:xfrm>
          <a:prstGeom prst="rect">
            <a:avLst/>
          </a:prstGeom>
        </p:spPr>
      </p:pic>
      <p:sp>
        <p:nvSpPr>
          <p:cNvPr id="113" name="テキスト ボックス 112">
            <a:extLst>
              <a:ext uri="{FF2B5EF4-FFF2-40B4-BE49-F238E27FC236}">
                <a16:creationId xmlns:a16="http://schemas.microsoft.com/office/drawing/2014/main" id="{5FC2A939-2595-81E9-36F0-0E2A0B0C2E8F}"/>
              </a:ext>
            </a:extLst>
          </p:cNvPr>
          <p:cNvSpPr txBox="1"/>
          <p:nvPr/>
        </p:nvSpPr>
        <p:spPr>
          <a:xfrm>
            <a:off x="2484711" y="2958382"/>
            <a:ext cx="1442381" cy="276999"/>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ja-JP" altLang="en-US" sz="1200" b="0" i="0" u="none" strike="noStrike" kern="0" cap="none" spc="0" normalizeH="0" baseline="0" noProof="0">
                <a:ln>
                  <a:noFill/>
                </a:ln>
                <a:solidFill>
                  <a:prstClr val="black">
                    <a:lumMod val="75000"/>
                    <a:lumOff val="25000"/>
                  </a:prstClr>
                </a:solidFill>
                <a:effectLst/>
                <a:uLnTx/>
                <a:uFillTx/>
                <a:latin typeface="Meiryo UI"/>
                <a:ea typeface="Meiryo UI"/>
                <a:cs typeface="+mn-cs"/>
              </a:rPr>
              <a:t>生涯設計</a:t>
            </a:r>
            <a:r>
              <a:rPr kumimoji="0" lang="en-US" altLang="ja-JP" sz="1200" b="0" i="0" u="none" strike="noStrike" kern="0" cap="none" spc="0" normalizeH="0" baseline="0" noProof="0">
                <a:ln>
                  <a:noFill/>
                </a:ln>
                <a:solidFill>
                  <a:prstClr val="black">
                    <a:lumMod val="75000"/>
                    <a:lumOff val="25000"/>
                  </a:prstClr>
                </a:solidFill>
                <a:effectLst/>
                <a:uLnTx/>
                <a:uFillTx/>
                <a:latin typeface="Meiryo UI"/>
                <a:ea typeface="Meiryo UI"/>
                <a:cs typeface="+mn-cs"/>
              </a:rPr>
              <a:t>D</a:t>
            </a:r>
          </a:p>
        </p:txBody>
      </p:sp>
      <p:sp>
        <p:nvSpPr>
          <p:cNvPr id="116" name="吹き出し: 角を丸めた四角形 115">
            <a:extLst>
              <a:ext uri="{FF2B5EF4-FFF2-40B4-BE49-F238E27FC236}">
                <a16:creationId xmlns:a16="http://schemas.microsoft.com/office/drawing/2014/main" id="{407BFAD8-A5A5-02ED-4C88-3690313EBEDD}"/>
              </a:ext>
            </a:extLst>
          </p:cNvPr>
          <p:cNvSpPr/>
          <p:nvPr/>
        </p:nvSpPr>
        <p:spPr>
          <a:xfrm>
            <a:off x="3759183" y="3010398"/>
            <a:ext cx="2746756" cy="738452"/>
          </a:xfrm>
          <a:prstGeom prst="wedgeRoundRectCallout">
            <a:avLst>
              <a:gd name="adj1" fmla="val -57044"/>
              <a:gd name="adj2" fmla="val 47022"/>
              <a:gd name="adj3" fmla="val 16667"/>
            </a:avLst>
          </a:prstGeom>
          <a:solidFill>
            <a:schemeClr val="tx2">
              <a:lumMod val="40000"/>
              <a:lumOff val="6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40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rPr>
              <a:t>XXX</a:t>
            </a:r>
            <a:r>
              <a:rPr kumimoji="1" lang="ja-JP" altLang="en-US" sz="140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rPr>
              <a:t>さんが</a:t>
            </a:r>
            <a:endParaRPr kumimoji="1" lang="en-US" altLang="ja-JP" sz="140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ja-JP" altLang="en-US" sz="1400">
                <a:solidFill>
                  <a:prstClr val="black"/>
                </a:solidFill>
                <a:latin typeface="Meiryo UI" panose="020B0604030504040204" pitchFamily="50" charset="-128"/>
                <a:ea typeface="Meiryo UI" panose="020B0604030504040204" pitchFamily="50" charset="-128"/>
              </a:rPr>
              <a:t>最近お子様が産まれたみたい！</a:t>
            </a:r>
            <a:endParaRPr lang="en-US" altLang="ja-JP" sz="1400">
              <a:solidFill>
                <a:prstClr val="black"/>
              </a:solidFill>
              <a:latin typeface="Meiryo UI" panose="020B0604030504040204" pitchFamily="50" charset="-128"/>
              <a:ea typeface="Meiryo UI"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40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rPr>
              <a:t>何かお手伝いできることないかしら</a:t>
            </a:r>
          </a:p>
        </p:txBody>
      </p:sp>
      <p:pic>
        <p:nvPicPr>
          <p:cNvPr id="117" name="図 116">
            <a:extLst>
              <a:ext uri="{FF2B5EF4-FFF2-40B4-BE49-F238E27FC236}">
                <a16:creationId xmlns:a16="http://schemas.microsoft.com/office/drawing/2014/main" id="{43692B03-644C-D259-796D-2B646725ABCD}"/>
              </a:ext>
            </a:extLst>
          </p:cNvPr>
          <p:cNvPicPr>
            <a:picLocks noChangeAspect="1"/>
          </p:cNvPicPr>
          <p:nvPr/>
        </p:nvPicPr>
        <p:blipFill>
          <a:blip r:embed="rId6"/>
          <a:stretch>
            <a:fillRect/>
          </a:stretch>
        </p:blipFill>
        <p:spPr>
          <a:xfrm>
            <a:off x="2978523" y="5006825"/>
            <a:ext cx="2441740" cy="1206161"/>
          </a:xfrm>
          <a:prstGeom prst="rect">
            <a:avLst/>
          </a:prstGeom>
          <a:ln>
            <a:solidFill>
              <a:schemeClr val="bg1">
                <a:lumMod val="65000"/>
              </a:schemeClr>
            </a:solidFill>
          </a:ln>
        </p:spPr>
      </p:pic>
      <p:sp>
        <p:nvSpPr>
          <p:cNvPr id="118" name="テキスト ボックス 117">
            <a:extLst>
              <a:ext uri="{FF2B5EF4-FFF2-40B4-BE49-F238E27FC236}">
                <a16:creationId xmlns:a16="http://schemas.microsoft.com/office/drawing/2014/main" id="{DCBC844E-C45C-DCC8-07CB-B1EABB7FC7AC}"/>
              </a:ext>
            </a:extLst>
          </p:cNvPr>
          <p:cNvSpPr txBox="1"/>
          <p:nvPr/>
        </p:nvSpPr>
        <p:spPr>
          <a:xfrm>
            <a:off x="3217781" y="5309684"/>
            <a:ext cx="1938881" cy="600442"/>
          </a:xfrm>
          <a:prstGeom prst="rect">
            <a:avLst/>
          </a:prstGeom>
          <a:solidFill>
            <a:srgbClr val="002060"/>
          </a:solidFill>
        </p:spPr>
        <p:txBody>
          <a:bodyPr wrap="square" anchor="ctr">
            <a:noAutofit/>
          </a:bodyPr>
          <a:lstStyle/>
          <a:p>
            <a:pPr marL="0" marR="0" lvl="0" indent="0" algn="ctr" defTabSz="914400" rtl="0" eaLnBrk="1" fontAlgn="auto" latinLnBrk="0" hangingPunct="1">
              <a:lnSpc>
                <a:spcPct val="100000"/>
              </a:lnSpc>
              <a:spcBef>
                <a:spcPts val="300"/>
              </a:spcBef>
              <a:spcAft>
                <a:spcPts val="0"/>
              </a:spcAft>
              <a:buClrTx/>
              <a:buSzTx/>
              <a:buFontTx/>
              <a:buNone/>
              <a:tabLst/>
              <a:defRPr/>
            </a:pPr>
            <a:r>
              <a:rPr kumimoji="0" lang="ja-JP" altLang="en-US" sz="1400" b="1" i="0" u="none" strike="noStrike" kern="0" cap="none" spc="0" normalizeH="0" baseline="0" noProof="0">
                <a:ln>
                  <a:noFill/>
                </a:ln>
                <a:solidFill>
                  <a:prstClr val="white"/>
                </a:solidFill>
                <a:effectLst/>
                <a:uLnTx/>
                <a:uFillTx/>
                <a:latin typeface="Meiryo UI"/>
                <a:ea typeface="Meiryo UI"/>
                <a:cs typeface="+mn-cs"/>
              </a:rPr>
              <a:t>デジ棚</a:t>
            </a:r>
            <a:endParaRPr kumimoji="0" lang="en-US" altLang="ja-JP" sz="1400" b="1" i="0" u="none" strike="noStrike" kern="0" cap="none" spc="0" normalizeH="0" baseline="0" noProof="0">
              <a:ln>
                <a:noFill/>
              </a:ln>
              <a:solidFill>
                <a:prstClr val="white"/>
              </a:solidFill>
              <a:effectLst/>
              <a:uLnTx/>
              <a:uFillTx/>
              <a:latin typeface="Meiryo UI"/>
              <a:ea typeface="Meiryo UI"/>
              <a:cs typeface="+mn-cs"/>
            </a:endParaRPr>
          </a:p>
          <a:p>
            <a:pPr marL="0" marR="0" lvl="0" indent="0" algn="ctr" defTabSz="914400" rtl="0" eaLnBrk="1" fontAlgn="auto" latinLnBrk="0" hangingPunct="1">
              <a:lnSpc>
                <a:spcPct val="100000"/>
              </a:lnSpc>
              <a:spcBef>
                <a:spcPts val="300"/>
              </a:spcBef>
              <a:spcAft>
                <a:spcPts val="0"/>
              </a:spcAft>
              <a:buClrTx/>
              <a:buSzTx/>
              <a:buFontTx/>
              <a:buNone/>
              <a:tabLst/>
              <a:defRPr/>
            </a:pPr>
            <a:r>
              <a:rPr kumimoji="0" lang="ja-JP" altLang="en-US" sz="1400" b="1" kern="0">
                <a:solidFill>
                  <a:prstClr val="white"/>
                </a:solidFill>
                <a:latin typeface="Meiryo UI"/>
                <a:ea typeface="Meiryo UI"/>
              </a:rPr>
              <a:t>あいまい検索</a:t>
            </a:r>
            <a:endParaRPr kumimoji="0" lang="ja-JP" altLang="en-US" sz="1400" b="1" i="0" u="none" strike="noStrike" kern="0" cap="none" spc="0" normalizeH="0" baseline="0" noProof="0">
              <a:ln>
                <a:noFill/>
              </a:ln>
              <a:solidFill>
                <a:prstClr val="white"/>
              </a:solidFill>
              <a:effectLst/>
              <a:uLnTx/>
              <a:uFillTx/>
              <a:latin typeface="Meiryo UI"/>
              <a:ea typeface="Meiryo UI"/>
              <a:cs typeface="+mn-cs"/>
            </a:endParaRPr>
          </a:p>
        </p:txBody>
      </p:sp>
      <p:cxnSp>
        <p:nvCxnSpPr>
          <p:cNvPr id="120" name="直線コネクタ 119">
            <a:extLst>
              <a:ext uri="{FF2B5EF4-FFF2-40B4-BE49-F238E27FC236}">
                <a16:creationId xmlns:a16="http://schemas.microsoft.com/office/drawing/2014/main" id="{1BEA22AF-C3B6-1B07-3A2D-7041738C319F}"/>
              </a:ext>
            </a:extLst>
          </p:cNvPr>
          <p:cNvCxnSpPr>
            <a:cxnSpLocks/>
          </p:cNvCxnSpPr>
          <p:nvPr/>
        </p:nvCxnSpPr>
        <p:spPr>
          <a:xfrm flipV="1">
            <a:off x="5756018" y="3882880"/>
            <a:ext cx="1140611" cy="1123945"/>
          </a:xfrm>
          <a:prstGeom prst="line">
            <a:avLst/>
          </a:prstGeom>
          <a:effectLst/>
        </p:spPr>
        <p:style>
          <a:lnRef idx="2">
            <a:schemeClr val="accent1"/>
          </a:lnRef>
          <a:fillRef idx="0">
            <a:schemeClr val="accent1"/>
          </a:fillRef>
          <a:effectRef idx="1">
            <a:schemeClr val="accent1"/>
          </a:effectRef>
          <a:fontRef idx="minor">
            <a:schemeClr val="tx1"/>
          </a:fontRef>
        </p:style>
      </p:cxnSp>
      <p:cxnSp>
        <p:nvCxnSpPr>
          <p:cNvPr id="121" name="直線コネクタ 120">
            <a:extLst>
              <a:ext uri="{FF2B5EF4-FFF2-40B4-BE49-F238E27FC236}">
                <a16:creationId xmlns:a16="http://schemas.microsoft.com/office/drawing/2014/main" id="{88DA39CD-CF5B-53FD-3074-B4710B82B7F2}"/>
              </a:ext>
            </a:extLst>
          </p:cNvPr>
          <p:cNvCxnSpPr>
            <a:cxnSpLocks/>
          </p:cNvCxnSpPr>
          <p:nvPr/>
        </p:nvCxnSpPr>
        <p:spPr>
          <a:xfrm flipV="1">
            <a:off x="5756018" y="4583062"/>
            <a:ext cx="1140611" cy="432010"/>
          </a:xfrm>
          <a:prstGeom prst="line">
            <a:avLst/>
          </a:prstGeom>
          <a:effectLst/>
        </p:spPr>
        <p:style>
          <a:lnRef idx="2">
            <a:schemeClr val="accent1"/>
          </a:lnRef>
          <a:fillRef idx="0">
            <a:schemeClr val="accent1"/>
          </a:fillRef>
          <a:effectRef idx="1">
            <a:schemeClr val="accent1"/>
          </a:effectRef>
          <a:fontRef idx="minor">
            <a:schemeClr val="tx1"/>
          </a:fontRef>
        </p:style>
      </p:cxnSp>
      <p:sp>
        <p:nvSpPr>
          <p:cNvPr id="123" name="正方形/長方形 122">
            <a:extLst>
              <a:ext uri="{FF2B5EF4-FFF2-40B4-BE49-F238E27FC236}">
                <a16:creationId xmlns:a16="http://schemas.microsoft.com/office/drawing/2014/main" id="{EB318602-66F3-087D-1E40-37D2D4E0859B}"/>
              </a:ext>
            </a:extLst>
          </p:cNvPr>
          <p:cNvSpPr/>
          <p:nvPr/>
        </p:nvSpPr>
        <p:spPr>
          <a:xfrm>
            <a:off x="6909821" y="2595189"/>
            <a:ext cx="4892183" cy="3386511"/>
          </a:xfrm>
          <a:prstGeom prst="rect">
            <a:avLst/>
          </a:prstGeom>
          <a:solidFill>
            <a:schemeClr val="bg1"/>
          </a:solidFill>
          <a:ln w="28575">
            <a:solidFill>
              <a:srgbClr val="4F81BD"/>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ja-JP" altLang="en-US" sz="1400">
              <a:solidFill>
                <a:schemeClr val="tx1">
                  <a:lumMod val="65000"/>
                  <a:lumOff val="35000"/>
                </a:schemeClr>
              </a:solidFill>
              <a:latin typeface="BIZ UDPゴシック" panose="020B0400000000000000" pitchFamily="50" charset="-128"/>
              <a:ea typeface="BIZ UDPゴシック" panose="020B0400000000000000" pitchFamily="50" charset="-128"/>
            </a:endParaRPr>
          </a:p>
        </p:txBody>
      </p:sp>
      <p:sp>
        <p:nvSpPr>
          <p:cNvPr id="124" name="正方形/長方形 123">
            <a:extLst>
              <a:ext uri="{FF2B5EF4-FFF2-40B4-BE49-F238E27FC236}">
                <a16:creationId xmlns:a16="http://schemas.microsoft.com/office/drawing/2014/main" id="{B5310FC6-79AC-D03B-E3D8-1985C9785965}"/>
              </a:ext>
            </a:extLst>
          </p:cNvPr>
          <p:cNvSpPr/>
          <p:nvPr/>
        </p:nvSpPr>
        <p:spPr>
          <a:xfrm>
            <a:off x="7073024" y="3069981"/>
            <a:ext cx="2410336" cy="269402"/>
          </a:xfrm>
          <a:prstGeom prst="rect">
            <a:avLst/>
          </a:prstGeom>
          <a:solidFill>
            <a:srgbClr val="00206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indent="85725" algn="ctr"/>
            <a:r>
              <a:rPr kumimoji="1" lang="ja-JP" altLang="en-US" sz="1400">
                <a:solidFill>
                  <a:schemeClr val="bg1"/>
                </a:solidFill>
                <a:latin typeface="BIZ UDPゴシック" panose="020B0400000000000000" pitchFamily="50" charset="-128"/>
                <a:ea typeface="BIZ UDPゴシック" panose="020B0400000000000000" pitchFamily="50" charset="-128"/>
              </a:rPr>
              <a:t>募集資料</a:t>
            </a:r>
          </a:p>
        </p:txBody>
      </p:sp>
      <p:sp>
        <p:nvSpPr>
          <p:cNvPr id="125" name="正方形/長方形 124">
            <a:extLst>
              <a:ext uri="{FF2B5EF4-FFF2-40B4-BE49-F238E27FC236}">
                <a16:creationId xmlns:a16="http://schemas.microsoft.com/office/drawing/2014/main" id="{2D2FCF99-30A9-7566-2D05-B3806F19DD85}"/>
              </a:ext>
            </a:extLst>
          </p:cNvPr>
          <p:cNvSpPr/>
          <p:nvPr/>
        </p:nvSpPr>
        <p:spPr>
          <a:xfrm>
            <a:off x="7083819" y="4031564"/>
            <a:ext cx="2410336" cy="269402"/>
          </a:xfrm>
          <a:prstGeom prst="rect">
            <a:avLst/>
          </a:prstGeom>
          <a:solidFill>
            <a:srgbClr val="00206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indent="85725" algn="ctr"/>
            <a:r>
              <a:rPr kumimoji="1" lang="ja-JP" altLang="en-US" sz="1400">
                <a:solidFill>
                  <a:schemeClr val="bg1"/>
                </a:solidFill>
                <a:latin typeface="BIZ UDPゴシック" panose="020B0400000000000000" pitchFamily="50" charset="-128"/>
                <a:ea typeface="BIZ UDPゴシック" panose="020B0400000000000000" pitchFamily="50" charset="-128"/>
              </a:rPr>
              <a:t>募集教材</a:t>
            </a:r>
          </a:p>
        </p:txBody>
      </p:sp>
      <p:sp>
        <p:nvSpPr>
          <p:cNvPr id="126" name="正方形/長方形 125">
            <a:extLst>
              <a:ext uri="{FF2B5EF4-FFF2-40B4-BE49-F238E27FC236}">
                <a16:creationId xmlns:a16="http://schemas.microsoft.com/office/drawing/2014/main" id="{4CDD730F-D4A2-3F8D-D4D1-438CEDFBBD49}"/>
              </a:ext>
            </a:extLst>
          </p:cNvPr>
          <p:cNvSpPr/>
          <p:nvPr/>
        </p:nvSpPr>
        <p:spPr>
          <a:xfrm>
            <a:off x="7075540" y="5076138"/>
            <a:ext cx="2410336" cy="269402"/>
          </a:xfrm>
          <a:prstGeom prst="rect">
            <a:avLst/>
          </a:prstGeom>
          <a:solidFill>
            <a:srgbClr val="00206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indent="85725" algn="ctr"/>
            <a:r>
              <a:rPr kumimoji="1" lang="ja-JP" altLang="en-US" sz="1400">
                <a:solidFill>
                  <a:schemeClr val="bg1"/>
                </a:solidFill>
                <a:latin typeface="BIZ UDPゴシック" panose="020B0400000000000000" pitchFamily="50" charset="-128"/>
                <a:ea typeface="BIZ UDPゴシック" panose="020B0400000000000000" pitchFamily="50" charset="-128"/>
              </a:rPr>
              <a:t>マニュアル・その他教材</a:t>
            </a:r>
          </a:p>
        </p:txBody>
      </p:sp>
      <p:sp>
        <p:nvSpPr>
          <p:cNvPr id="127" name="タイトル 1">
            <a:extLst>
              <a:ext uri="{FF2B5EF4-FFF2-40B4-BE49-F238E27FC236}">
                <a16:creationId xmlns:a16="http://schemas.microsoft.com/office/drawing/2014/main" id="{794ABBC9-7483-6194-0035-AB7E30F28D5D}"/>
              </a:ext>
            </a:extLst>
          </p:cNvPr>
          <p:cNvSpPr txBox="1">
            <a:spLocks/>
          </p:cNvSpPr>
          <p:nvPr/>
        </p:nvSpPr>
        <p:spPr>
          <a:xfrm>
            <a:off x="317802" y="2448150"/>
            <a:ext cx="6368748" cy="369081"/>
          </a:xfrm>
          <a:prstGeom prst="rect">
            <a:avLst/>
          </a:prstGeom>
          <a:solidFill>
            <a:srgbClr val="C00000"/>
          </a:solidFill>
        </p:spPr>
        <p:txBody>
          <a:bodyPr>
            <a:noAutofit/>
          </a:bodyPr>
          <a:lstStyle>
            <a:lvl1pPr algn="l" defTabSz="1219170" rtl="0" eaLnBrk="1" latinLnBrk="0" hangingPunct="1">
              <a:lnSpc>
                <a:spcPct val="100000"/>
              </a:lnSpc>
              <a:spcBef>
                <a:spcPct val="0"/>
              </a:spcBef>
              <a:buNone/>
              <a:defRPr kumimoji="1" sz="2400" kern="1200">
                <a:solidFill>
                  <a:schemeClr val="tx1"/>
                </a:solidFill>
                <a:latin typeface="Meiryo UI" panose="020B0604030504040204" pitchFamily="50" charset="-128"/>
                <a:ea typeface="Meiryo UI" panose="020B0604030504040204" pitchFamily="50" charset="-128"/>
                <a:cs typeface="+mj-cs"/>
              </a:defRPr>
            </a:lvl1pPr>
          </a:lstStyle>
          <a:p>
            <a:pPr marL="0" marR="0" lvl="0" indent="0" algn="ctr" defTabSz="1219170" rtl="0" eaLnBrk="1" fontAlgn="auto" latinLnBrk="0" hangingPunct="1">
              <a:lnSpc>
                <a:spcPct val="100000"/>
              </a:lnSpc>
              <a:spcBef>
                <a:spcPct val="0"/>
              </a:spcBef>
              <a:spcAft>
                <a:spcPts val="0"/>
              </a:spcAft>
              <a:buClrTx/>
              <a:buSzTx/>
              <a:buFontTx/>
              <a:buNone/>
              <a:tabLst/>
              <a:defRPr/>
            </a:pPr>
            <a:r>
              <a:rPr kumimoji="1" lang="ja-JP" altLang="en-US" sz="1800" b="1" i="0" u="none" strike="noStrike" kern="1200" cap="none" spc="0" normalizeH="0" baseline="0" noProof="0">
                <a:ln>
                  <a:noFill/>
                </a:ln>
                <a:solidFill>
                  <a:schemeClr val="bg1"/>
                </a:solidFill>
                <a:effectLst/>
                <a:uLnTx/>
                <a:uFillTx/>
                <a:latin typeface="Meiryo UI" panose="020B0604030504040204" pitchFamily="50" charset="-128"/>
                <a:ea typeface="Meiryo UI" panose="020B0604030504040204" pitchFamily="50" charset="-128"/>
                <a:cs typeface="+mj-cs"/>
              </a:rPr>
              <a:t>ライフイベント・変化に応じた活動ヒントを出力する機能</a:t>
            </a:r>
            <a:endParaRPr kumimoji="1" lang="en-US" altLang="ja-JP" sz="1800" b="1" i="0" u="none" strike="noStrike" kern="1200" cap="none" spc="0" normalizeH="0" baseline="0" noProof="0">
              <a:ln>
                <a:noFill/>
              </a:ln>
              <a:solidFill>
                <a:schemeClr val="bg1"/>
              </a:solidFill>
              <a:effectLst/>
              <a:uLnTx/>
              <a:uFillTx/>
              <a:latin typeface="Meiryo UI" panose="020B0604030504040204" pitchFamily="50" charset="-128"/>
              <a:ea typeface="Meiryo UI" panose="020B0604030504040204" pitchFamily="50" charset="-128"/>
              <a:cs typeface="+mj-cs"/>
            </a:endParaRPr>
          </a:p>
        </p:txBody>
      </p:sp>
      <p:sp>
        <p:nvSpPr>
          <p:cNvPr id="128" name="矢印: 下 127">
            <a:extLst>
              <a:ext uri="{FF2B5EF4-FFF2-40B4-BE49-F238E27FC236}">
                <a16:creationId xmlns:a16="http://schemas.microsoft.com/office/drawing/2014/main" id="{56662F4F-386C-B45A-5107-B5102F8BAA5D}"/>
              </a:ext>
            </a:extLst>
          </p:cNvPr>
          <p:cNvSpPr/>
          <p:nvPr/>
        </p:nvSpPr>
        <p:spPr>
          <a:xfrm>
            <a:off x="4052698" y="3993594"/>
            <a:ext cx="990600" cy="932918"/>
          </a:xfrm>
          <a:prstGeom prst="downArrow">
            <a:avLst>
              <a:gd name="adj1" fmla="val 50000"/>
              <a:gd name="adj2" fmla="val 30170"/>
            </a:avLst>
          </a:prstGeom>
          <a:solidFill>
            <a:srgbClr val="00206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ja-JP" altLang="en-US" sz="1400">
              <a:solidFill>
                <a:schemeClr val="tx1">
                  <a:lumMod val="65000"/>
                  <a:lumOff val="35000"/>
                </a:schemeClr>
              </a:solidFill>
              <a:latin typeface="BIZ UDPゴシック" panose="020B0400000000000000" pitchFamily="50" charset="-128"/>
              <a:ea typeface="BIZ UDPゴシック" panose="020B0400000000000000" pitchFamily="50" charset="-128"/>
            </a:endParaRPr>
          </a:p>
        </p:txBody>
      </p:sp>
      <p:sp>
        <p:nvSpPr>
          <p:cNvPr id="129" name="テキスト ボックス 128">
            <a:extLst>
              <a:ext uri="{FF2B5EF4-FFF2-40B4-BE49-F238E27FC236}">
                <a16:creationId xmlns:a16="http://schemas.microsoft.com/office/drawing/2014/main" id="{42A2A878-BE9E-DBBD-BCF0-3A1EB5EE5B27}"/>
              </a:ext>
            </a:extLst>
          </p:cNvPr>
          <p:cNvSpPr txBox="1"/>
          <p:nvPr/>
        </p:nvSpPr>
        <p:spPr>
          <a:xfrm>
            <a:off x="3648816" y="4162253"/>
            <a:ext cx="1758255" cy="371283"/>
          </a:xfrm>
          <a:prstGeom prst="rect">
            <a:avLst/>
          </a:prstGeom>
          <a:solidFill>
            <a:srgbClr val="002060"/>
          </a:solidFill>
          <a:ln w="28575">
            <a:solidFill>
              <a:schemeClr val="bg1"/>
            </a:solidFill>
          </a:ln>
        </p:spPr>
        <p:txBody>
          <a:bodyPr wrap="square" anchor="ctr">
            <a:noAutofit/>
          </a:bodyPr>
          <a:lstStyle/>
          <a:p>
            <a:pPr marL="0" marR="0" lvl="0" indent="0" algn="ctr" defTabSz="914400" rtl="0" eaLnBrk="1" fontAlgn="auto" latinLnBrk="0" hangingPunct="1">
              <a:lnSpc>
                <a:spcPct val="100000"/>
              </a:lnSpc>
              <a:spcBef>
                <a:spcPts val="300"/>
              </a:spcBef>
              <a:spcAft>
                <a:spcPts val="0"/>
              </a:spcAft>
              <a:buClrTx/>
              <a:buSzTx/>
              <a:buFontTx/>
              <a:buNone/>
              <a:tabLst/>
              <a:defRPr/>
            </a:pPr>
            <a:r>
              <a:rPr kumimoji="0" lang="ja-JP" altLang="en-US" sz="1200" b="1" i="0" u="none" strike="noStrike" kern="0" cap="none" spc="0" normalizeH="0" baseline="0" noProof="0" dirty="0">
                <a:ln>
                  <a:noFill/>
                </a:ln>
                <a:solidFill>
                  <a:prstClr val="white"/>
                </a:solidFill>
                <a:effectLst/>
                <a:uLnTx/>
                <a:uFillTx/>
                <a:latin typeface="Meiryo UI"/>
                <a:ea typeface="Meiryo UI"/>
                <a:cs typeface="+mn-cs"/>
              </a:rPr>
              <a:t>出産　</a:t>
            </a:r>
            <a:r>
              <a:rPr kumimoji="0" lang="ja-JP" altLang="en-US" sz="1200" b="1" kern="0" dirty="0">
                <a:solidFill>
                  <a:prstClr val="white"/>
                </a:solidFill>
                <a:latin typeface="Meiryo UI"/>
                <a:ea typeface="Meiryo UI"/>
              </a:rPr>
              <a:t>保全</a:t>
            </a:r>
            <a:r>
              <a:rPr kumimoji="0" lang="ja-JP" altLang="en-US" sz="1200" b="1" i="0" u="none" strike="noStrike" kern="0" cap="none" spc="0" normalizeH="0" baseline="0" noProof="0" dirty="0">
                <a:ln>
                  <a:noFill/>
                </a:ln>
                <a:solidFill>
                  <a:prstClr val="white"/>
                </a:solidFill>
                <a:effectLst/>
                <a:uLnTx/>
                <a:uFillTx/>
                <a:latin typeface="Meiryo UI"/>
                <a:ea typeface="Meiryo UI"/>
                <a:cs typeface="+mn-cs"/>
              </a:rPr>
              <a:t>　</a:t>
            </a:r>
            <a:r>
              <a:rPr kumimoji="0" lang="ja-JP" altLang="en-US" sz="1100" b="1" i="0" u="none" strike="noStrike" kern="0" cap="none" spc="0" normalizeH="0" baseline="0" noProof="0" dirty="0">
                <a:ln>
                  <a:noFill/>
                </a:ln>
                <a:solidFill>
                  <a:prstClr val="white"/>
                </a:solidFill>
                <a:effectLst/>
                <a:uLnTx/>
                <a:uFillTx/>
                <a:latin typeface="Meiryo UI"/>
                <a:ea typeface="Meiryo UI"/>
                <a:cs typeface="+mn-cs"/>
              </a:rPr>
              <a:t>で検索　</a:t>
            </a:r>
            <a:endParaRPr kumimoji="0" lang="ja-JP" altLang="en-US" sz="1200" b="1" i="0" u="none" strike="noStrike" kern="0" cap="none" spc="0" normalizeH="0" baseline="0" noProof="0" dirty="0">
              <a:ln>
                <a:noFill/>
              </a:ln>
              <a:solidFill>
                <a:prstClr val="white"/>
              </a:solidFill>
              <a:effectLst/>
              <a:uLnTx/>
              <a:uFillTx/>
              <a:latin typeface="Meiryo UI"/>
              <a:ea typeface="Meiryo UI"/>
              <a:cs typeface="+mn-cs"/>
            </a:endParaRPr>
          </a:p>
        </p:txBody>
      </p:sp>
      <p:sp>
        <p:nvSpPr>
          <p:cNvPr id="130" name="テキスト ボックス 129">
            <a:extLst>
              <a:ext uri="{FF2B5EF4-FFF2-40B4-BE49-F238E27FC236}">
                <a16:creationId xmlns:a16="http://schemas.microsoft.com/office/drawing/2014/main" id="{32E7C830-3DB3-0057-21B5-00352DE24B9E}"/>
              </a:ext>
            </a:extLst>
          </p:cNvPr>
          <p:cNvSpPr txBox="1"/>
          <p:nvPr/>
        </p:nvSpPr>
        <p:spPr>
          <a:xfrm>
            <a:off x="7075540" y="5399987"/>
            <a:ext cx="4568824" cy="489915"/>
          </a:xfrm>
          <a:prstGeom prst="rect">
            <a:avLst/>
          </a:prstGeom>
          <a:noFill/>
          <a:ln w="28575">
            <a:solidFill>
              <a:schemeClr val="bg1"/>
            </a:solidFill>
          </a:ln>
        </p:spPr>
        <p:txBody>
          <a:bodyPr wrap="square" anchor="ctr">
            <a:noAutofit/>
          </a:bodyPr>
          <a:lstStyle/>
          <a:p>
            <a:pPr marL="0" marR="0" lvl="0" indent="0" algn="ctr" defTabSz="914400" rtl="0" eaLnBrk="1" fontAlgn="auto" latinLnBrk="0" hangingPunct="1">
              <a:lnSpc>
                <a:spcPct val="100000"/>
              </a:lnSpc>
              <a:spcBef>
                <a:spcPts val="300"/>
              </a:spcBef>
              <a:spcAft>
                <a:spcPts val="0"/>
              </a:spcAft>
              <a:buClrTx/>
              <a:buSzTx/>
              <a:buFontTx/>
              <a:buNone/>
              <a:tabLst/>
              <a:defRPr/>
            </a:pPr>
            <a:r>
              <a:rPr kumimoji="0" lang="ja-JP" altLang="en-US" sz="1200" b="1" kern="0">
                <a:latin typeface="Meiryo UI"/>
                <a:ea typeface="Meiryo UI"/>
              </a:rPr>
              <a:t>「出産」にかかる保全や給付金手続きなど</a:t>
            </a:r>
            <a:endParaRPr kumimoji="0" lang="en-US" altLang="ja-JP" sz="1200" b="1" kern="0">
              <a:latin typeface="Meiryo UI"/>
              <a:ea typeface="Meiryo UI"/>
            </a:endParaRPr>
          </a:p>
          <a:p>
            <a:pPr marL="0" marR="0" lvl="0" indent="0" algn="ctr" defTabSz="914400" rtl="0" eaLnBrk="1" fontAlgn="auto" latinLnBrk="0" hangingPunct="1">
              <a:lnSpc>
                <a:spcPct val="100000"/>
              </a:lnSpc>
              <a:spcBef>
                <a:spcPts val="300"/>
              </a:spcBef>
              <a:spcAft>
                <a:spcPts val="0"/>
              </a:spcAft>
              <a:buClrTx/>
              <a:buSzTx/>
              <a:buFontTx/>
              <a:buNone/>
              <a:tabLst/>
              <a:defRPr/>
            </a:pPr>
            <a:r>
              <a:rPr kumimoji="0" lang="ja-JP" altLang="en-US" sz="1200" b="1" kern="0">
                <a:latin typeface="Meiryo UI"/>
                <a:ea typeface="Meiryo UI"/>
              </a:rPr>
              <a:t>関連するマニュアルページや事務帳票などを出力</a:t>
            </a:r>
            <a:endParaRPr kumimoji="0" lang="en-US" altLang="ja-JP" sz="1200" b="1" kern="0">
              <a:latin typeface="Meiryo UI"/>
              <a:ea typeface="Meiryo UI"/>
            </a:endParaRPr>
          </a:p>
        </p:txBody>
      </p:sp>
      <p:sp>
        <p:nvSpPr>
          <p:cNvPr id="131" name="テキスト ボックス 130">
            <a:extLst>
              <a:ext uri="{FF2B5EF4-FFF2-40B4-BE49-F238E27FC236}">
                <a16:creationId xmlns:a16="http://schemas.microsoft.com/office/drawing/2014/main" id="{FA3DD1BA-1A81-FB7C-D969-32723A16883B}"/>
              </a:ext>
            </a:extLst>
          </p:cNvPr>
          <p:cNvSpPr txBox="1"/>
          <p:nvPr/>
        </p:nvSpPr>
        <p:spPr>
          <a:xfrm>
            <a:off x="7083819" y="4355413"/>
            <a:ext cx="4568824" cy="507596"/>
          </a:xfrm>
          <a:prstGeom prst="rect">
            <a:avLst/>
          </a:prstGeom>
          <a:noFill/>
          <a:ln w="28575">
            <a:solidFill>
              <a:schemeClr val="bg1"/>
            </a:solidFill>
          </a:ln>
        </p:spPr>
        <p:txBody>
          <a:bodyPr wrap="square" anchor="ctr">
            <a:noAutofit/>
          </a:bodyPr>
          <a:lstStyle/>
          <a:p>
            <a:pPr marL="0" marR="0" lvl="0" indent="0" algn="ctr" defTabSz="914400" rtl="0" eaLnBrk="1" fontAlgn="auto" latinLnBrk="0" hangingPunct="1">
              <a:lnSpc>
                <a:spcPct val="100000"/>
              </a:lnSpc>
              <a:spcBef>
                <a:spcPts val="300"/>
              </a:spcBef>
              <a:spcAft>
                <a:spcPts val="0"/>
              </a:spcAft>
              <a:buClrTx/>
              <a:buSzTx/>
              <a:buFontTx/>
              <a:buNone/>
              <a:tabLst/>
              <a:defRPr/>
            </a:pPr>
            <a:r>
              <a:rPr kumimoji="0" lang="ja-JP" altLang="en-US" sz="1200" b="1" kern="0">
                <a:latin typeface="Meiryo UI"/>
                <a:ea typeface="Meiryo UI"/>
              </a:rPr>
              <a:t>「出産関連＋女性向け・子供向けの募集教材」</a:t>
            </a:r>
            <a:endParaRPr kumimoji="0" lang="en-US" altLang="ja-JP" sz="1200" b="1" kern="0">
              <a:latin typeface="Meiryo UI"/>
              <a:ea typeface="Meiryo UI"/>
            </a:endParaRPr>
          </a:p>
          <a:p>
            <a:pPr marL="0" marR="0" lvl="0" indent="0" algn="ctr" defTabSz="914400" rtl="0" eaLnBrk="1" fontAlgn="auto" latinLnBrk="0" hangingPunct="1">
              <a:lnSpc>
                <a:spcPct val="100000"/>
              </a:lnSpc>
              <a:spcBef>
                <a:spcPts val="300"/>
              </a:spcBef>
              <a:spcAft>
                <a:spcPts val="0"/>
              </a:spcAft>
              <a:buClrTx/>
              <a:buSzTx/>
              <a:buFontTx/>
              <a:buNone/>
              <a:tabLst/>
              <a:defRPr/>
            </a:pPr>
            <a:r>
              <a:rPr kumimoji="0" lang="ja-JP" altLang="en-US" sz="1200" b="1" kern="0">
                <a:latin typeface="Meiryo UI"/>
                <a:ea typeface="Meiryo UI"/>
              </a:rPr>
              <a:t>を出力</a:t>
            </a:r>
            <a:endParaRPr kumimoji="0" lang="en-US" altLang="ja-JP" sz="1200" b="1" kern="0">
              <a:latin typeface="Meiryo UI"/>
              <a:ea typeface="Meiryo UI"/>
            </a:endParaRPr>
          </a:p>
        </p:txBody>
      </p:sp>
      <p:sp>
        <p:nvSpPr>
          <p:cNvPr id="132" name="正方形/長方形 131">
            <a:extLst>
              <a:ext uri="{FF2B5EF4-FFF2-40B4-BE49-F238E27FC236}">
                <a16:creationId xmlns:a16="http://schemas.microsoft.com/office/drawing/2014/main" id="{EB6199BF-5DF2-891D-D335-5DD9F2D11430}"/>
              </a:ext>
            </a:extLst>
          </p:cNvPr>
          <p:cNvSpPr/>
          <p:nvPr/>
        </p:nvSpPr>
        <p:spPr>
          <a:xfrm>
            <a:off x="9477597" y="5072022"/>
            <a:ext cx="2175046" cy="269402"/>
          </a:xfrm>
          <a:prstGeom prst="rect">
            <a:avLst/>
          </a:prstGeom>
          <a:solidFill>
            <a:schemeClr val="accent1">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kumimoji="1" lang="ja-JP" altLang="en-US" sz="1400" b="1">
                <a:solidFill>
                  <a:srgbClr val="002060"/>
                </a:solidFill>
                <a:latin typeface="BIZ UDPゴシック" panose="020B0400000000000000" pitchFamily="50" charset="-128"/>
                <a:ea typeface="BIZ UDPゴシック" panose="020B0400000000000000" pitchFamily="50" charset="-128"/>
              </a:rPr>
              <a:t>必要な事務手続き</a:t>
            </a:r>
            <a:r>
              <a:rPr kumimoji="1" lang="ja-JP" altLang="en-US" sz="1400">
                <a:solidFill>
                  <a:schemeClr val="tx1"/>
                </a:solidFill>
                <a:latin typeface="BIZ UDPゴシック" panose="020B0400000000000000" pitchFamily="50" charset="-128"/>
                <a:ea typeface="BIZ UDPゴシック" panose="020B0400000000000000" pitchFamily="50" charset="-128"/>
              </a:rPr>
              <a:t>を学ぶ</a:t>
            </a:r>
          </a:p>
        </p:txBody>
      </p:sp>
      <p:sp>
        <p:nvSpPr>
          <p:cNvPr id="133" name="正方形/長方形 132">
            <a:extLst>
              <a:ext uri="{FF2B5EF4-FFF2-40B4-BE49-F238E27FC236}">
                <a16:creationId xmlns:a16="http://schemas.microsoft.com/office/drawing/2014/main" id="{B2125C5D-B6F4-3E89-1A71-8985193E459E}"/>
              </a:ext>
            </a:extLst>
          </p:cNvPr>
          <p:cNvSpPr/>
          <p:nvPr/>
        </p:nvSpPr>
        <p:spPr>
          <a:xfrm>
            <a:off x="9485876" y="4038383"/>
            <a:ext cx="2175046" cy="269402"/>
          </a:xfrm>
          <a:prstGeom prst="rect">
            <a:avLst/>
          </a:prstGeom>
          <a:solidFill>
            <a:schemeClr val="accent1">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kumimoji="1" lang="ja-JP" altLang="en-US" sz="1400" b="1">
                <a:solidFill>
                  <a:srgbClr val="002060"/>
                </a:solidFill>
                <a:latin typeface="BIZ UDPゴシック" panose="020B0400000000000000" pitchFamily="50" charset="-128"/>
                <a:ea typeface="BIZ UDPゴシック" panose="020B0400000000000000" pitchFamily="50" charset="-128"/>
              </a:rPr>
              <a:t>アプローチ方法</a:t>
            </a:r>
            <a:r>
              <a:rPr kumimoji="1" lang="ja-JP" altLang="en-US" sz="1400">
                <a:solidFill>
                  <a:schemeClr val="tx1"/>
                </a:solidFill>
                <a:latin typeface="BIZ UDPゴシック" panose="020B0400000000000000" pitchFamily="50" charset="-128"/>
                <a:ea typeface="BIZ UDPゴシック" panose="020B0400000000000000" pitchFamily="50" charset="-128"/>
              </a:rPr>
              <a:t>を学ぶ</a:t>
            </a:r>
          </a:p>
        </p:txBody>
      </p:sp>
      <p:sp>
        <p:nvSpPr>
          <p:cNvPr id="134" name="テキスト ボックス 133">
            <a:extLst>
              <a:ext uri="{FF2B5EF4-FFF2-40B4-BE49-F238E27FC236}">
                <a16:creationId xmlns:a16="http://schemas.microsoft.com/office/drawing/2014/main" id="{A4E11604-13CE-EBE2-894B-48D1EA296BC3}"/>
              </a:ext>
            </a:extLst>
          </p:cNvPr>
          <p:cNvSpPr txBox="1"/>
          <p:nvPr/>
        </p:nvSpPr>
        <p:spPr>
          <a:xfrm>
            <a:off x="7065710" y="3367961"/>
            <a:ext cx="4568824" cy="507596"/>
          </a:xfrm>
          <a:prstGeom prst="rect">
            <a:avLst/>
          </a:prstGeom>
          <a:noFill/>
          <a:ln w="28575">
            <a:solidFill>
              <a:schemeClr val="bg1"/>
            </a:solidFill>
          </a:ln>
        </p:spPr>
        <p:txBody>
          <a:bodyPr wrap="square" anchor="ctr">
            <a:noAutofit/>
          </a:bodyPr>
          <a:lstStyle/>
          <a:p>
            <a:pPr marL="0" marR="0" lvl="0" indent="0" algn="ctr" defTabSz="914400" rtl="0" eaLnBrk="1" fontAlgn="auto" latinLnBrk="0" hangingPunct="1">
              <a:lnSpc>
                <a:spcPct val="100000"/>
              </a:lnSpc>
              <a:spcBef>
                <a:spcPts val="300"/>
              </a:spcBef>
              <a:spcAft>
                <a:spcPts val="0"/>
              </a:spcAft>
              <a:buClrTx/>
              <a:buSzTx/>
              <a:buFontTx/>
              <a:buNone/>
              <a:tabLst/>
              <a:defRPr/>
            </a:pPr>
            <a:r>
              <a:rPr kumimoji="0" lang="ja-JP" altLang="en-US" sz="1200" b="1" kern="0">
                <a:latin typeface="Meiryo UI"/>
                <a:ea typeface="Meiryo UI"/>
              </a:rPr>
              <a:t>「出産関連＋女性向け・子供向けの募集資料」</a:t>
            </a:r>
            <a:endParaRPr kumimoji="0" lang="en-US" altLang="ja-JP" sz="1200" b="1" kern="0">
              <a:latin typeface="Meiryo UI"/>
              <a:ea typeface="Meiryo UI"/>
            </a:endParaRPr>
          </a:p>
          <a:p>
            <a:pPr marL="0" marR="0" lvl="0" indent="0" algn="ctr" defTabSz="914400" rtl="0" eaLnBrk="1" fontAlgn="auto" latinLnBrk="0" hangingPunct="1">
              <a:lnSpc>
                <a:spcPct val="100000"/>
              </a:lnSpc>
              <a:spcBef>
                <a:spcPts val="300"/>
              </a:spcBef>
              <a:spcAft>
                <a:spcPts val="0"/>
              </a:spcAft>
              <a:buClrTx/>
              <a:buSzTx/>
              <a:buFontTx/>
              <a:buNone/>
              <a:tabLst/>
              <a:defRPr/>
            </a:pPr>
            <a:r>
              <a:rPr kumimoji="0" lang="ja-JP" altLang="en-US" sz="1200" b="1" kern="0">
                <a:latin typeface="Meiryo UI"/>
                <a:ea typeface="Meiryo UI"/>
              </a:rPr>
              <a:t>を出力</a:t>
            </a:r>
            <a:endParaRPr kumimoji="0" lang="en-US" altLang="ja-JP" sz="1200" b="1" kern="0">
              <a:latin typeface="Meiryo UI"/>
              <a:ea typeface="Meiryo UI"/>
            </a:endParaRPr>
          </a:p>
        </p:txBody>
      </p:sp>
      <p:sp>
        <p:nvSpPr>
          <p:cNvPr id="135" name="正方形/長方形 134">
            <a:extLst>
              <a:ext uri="{FF2B5EF4-FFF2-40B4-BE49-F238E27FC236}">
                <a16:creationId xmlns:a16="http://schemas.microsoft.com/office/drawing/2014/main" id="{18F3FB36-85C6-88D1-FD4E-253BEE6A50FE}"/>
              </a:ext>
            </a:extLst>
          </p:cNvPr>
          <p:cNvSpPr/>
          <p:nvPr/>
        </p:nvSpPr>
        <p:spPr>
          <a:xfrm>
            <a:off x="9467767" y="3069981"/>
            <a:ext cx="2175046" cy="269402"/>
          </a:xfrm>
          <a:prstGeom prst="rect">
            <a:avLst/>
          </a:prstGeom>
          <a:solidFill>
            <a:schemeClr val="accent1">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kumimoji="1" lang="ja-JP" altLang="en-US" sz="1400" b="1">
                <a:solidFill>
                  <a:srgbClr val="002060"/>
                </a:solidFill>
                <a:latin typeface="BIZ UDPゴシック" panose="020B0400000000000000" pitchFamily="50" charset="-128"/>
                <a:ea typeface="BIZ UDPゴシック" panose="020B0400000000000000" pitchFamily="50" charset="-128"/>
              </a:rPr>
              <a:t>提案ツール</a:t>
            </a:r>
            <a:r>
              <a:rPr kumimoji="1" lang="ja-JP" altLang="en-US" sz="1400">
                <a:solidFill>
                  <a:schemeClr val="tx1"/>
                </a:solidFill>
                <a:latin typeface="BIZ UDPゴシック" panose="020B0400000000000000" pitchFamily="50" charset="-128"/>
                <a:ea typeface="BIZ UDPゴシック" panose="020B0400000000000000" pitchFamily="50" charset="-128"/>
              </a:rPr>
              <a:t>を学ぶ</a:t>
            </a:r>
          </a:p>
        </p:txBody>
      </p:sp>
      <p:sp>
        <p:nvSpPr>
          <p:cNvPr id="139" name="テキスト ボックス 138">
            <a:extLst>
              <a:ext uri="{FF2B5EF4-FFF2-40B4-BE49-F238E27FC236}">
                <a16:creationId xmlns:a16="http://schemas.microsoft.com/office/drawing/2014/main" id="{D15B1B1A-DE22-36F0-255B-28665239989F}"/>
              </a:ext>
            </a:extLst>
          </p:cNvPr>
          <p:cNvSpPr txBox="1"/>
          <p:nvPr/>
        </p:nvSpPr>
        <p:spPr>
          <a:xfrm>
            <a:off x="6989839" y="2699922"/>
            <a:ext cx="4568824" cy="269402"/>
          </a:xfrm>
          <a:prstGeom prst="rect">
            <a:avLst/>
          </a:prstGeom>
          <a:noFill/>
          <a:ln w="28575">
            <a:solidFill>
              <a:schemeClr val="bg1"/>
            </a:solidFill>
          </a:ln>
        </p:spPr>
        <p:txBody>
          <a:bodyPr wrap="square" anchor="ctr">
            <a:noAutofit/>
          </a:bodyPr>
          <a:lstStyle/>
          <a:p>
            <a:pPr marL="0" marR="0" lvl="0" indent="0" defTabSz="914400" rtl="0" eaLnBrk="1" fontAlgn="auto" latinLnBrk="0" hangingPunct="1">
              <a:lnSpc>
                <a:spcPct val="100000"/>
              </a:lnSpc>
              <a:spcBef>
                <a:spcPts val="300"/>
              </a:spcBef>
              <a:spcAft>
                <a:spcPts val="0"/>
              </a:spcAft>
              <a:buClrTx/>
              <a:buSzTx/>
              <a:buFontTx/>
              <a:buNone/>
              <a:tabLst/>
              <a:defRPr/>
            </a:pPr>
            <a:r>
              <a:rPr kumimoji="0" lang="ja-JP" altLang="en-US" sz="1200" b="1" kern="0">
                <a:latin typeface="Meiryo UI"/>
                <a:ea typeface="Meiryo UI"/>
              </a:rPr>
              <a:t>「出産　ヒント」　の検索結果は以下の通りです</a:t>
            </a:r>
            <a:endParaRPr kumimoji="0" lang="en-US" altLang="ja-JP" sz="1200" b="1" kern="0">
              <a:latin typeface="Meiryo UI"/>
              <a:ea typeface="Meiryo UI"/>
            </a:endParaRPr>
          </a:p>
        </p:txBody>
      </p:sp>
      <p:sp>
        <p:nvSpPr>
          <p:cNvPr id="143" name="タイトル 1">
            <a:extLst>
              <a:ext uri="{FF2B5EF4-FFF2-40B4-BE49-F238E27FC236}">
                <a16:creationId xmlns:a16="http://schemas.microsoft.com/office/drawing/2014/main" id="{D54AB304-0ED2-D84C-102C-FBA0A062E0CA}"/>
              </a:ext>
            </a:extLst>
          </p:cNvPr>
          <p:cNvSpPr txBox="1">
            <a:spLocks/>
          </p:cNvSpPr>
          <p:nvPr/>
        </p:nvSpPr>
        <p:spPr>
          <a:xfrm>
            <a:off x="6905837" y="6072656"/>
            <a:ext cx="4924788" cy="684216"/>
          </a:xfrm>
          <a:prstGeom prst="rect">
            <a:avLst/>
          </a:prstGeom>
          <a:solidFill>
            <a:srgbClr val="C00000"/>
          </a:solidFill>
        </p:spPr>
        <p:txBody>
          <a:bodyPr>
            <a:noAutofit/>
          </a:bodyPr>
          <a:lstStyle>
            <a:lvl1pPr algn="l" defTabSz="1219170" rtl="0" eaLnBrk="1" latinLnBrk="0" hangingPunct="1">
              <a:lnSpc>
                <a:spcPct val="100000"/>
              </a:lnSpc>
              <a:spcBef>
                <a:spcPct val="0"/>
              </a:spcBef>
              <a:buNone/>
              <a:defRPr kumimoji="1" sz="2400" kern="1200">
                <a:solidFill>
                  <a:schemeClr val="tx1"/>
                </a:solidFill>
                <a:latin typeface="Meiryo UI" panose="020B0604030504040204" pitchFamily="50" charset="-128"/>
                <a:ea typeface="Meiryo UI" panose="020B0604030504040204" pitchFamily="50" charset="-128"/>
                <a:cs typeface="+mj-cs"/>
              </a:defRPr>
            </a:lvl1pPr>
          </a:lstStyle>
          <a:p>
            <a:pPr marL="0" marR="0" lvl="0" indent="0" algn="ctr" defTabSz="1219170" rtl="0" eaLnBrk="1" fontAlgn="auto" latinLnBrk="0" hangingPunct="1">
              <a:lnSpc>
                <a:spcPct val="100000"/>
              </a:lnSpc>
              <a:spcBef>
                <a:spcPct val="0"/>
              </a:spcBef>
              <a:spcAft>
                <a:spcPts val="0"/>
              </a:spcAft>
              <a:buClrTx/>
              <a:buSzTx/>
              <a:buFontTx/>
              <a:buNone/>
              <a:tabLst/>
              <a:defRPr/>
            </a:pPr>
            <a:r>
              <a:rPr kumimoji="1" lang="ja-JP" altLang="en-US" sz="1400" i="0" u="none" strike="noStrike" kern="1200" cap="none" spc="0" normalizeH="0" baseline="0" noProof="0" dirty="0">
                <a:ln>
                  <a:noFill/>
                </a:ln>
                <a:solidFill>
                  <a:schemeClr val="bg1"/>
                </a:solidFill>
                <a:effectLst/>
                <a:uLnTx/>
                <a:uFillTx/>
                <a:latin typeface="Meiryo UI" panose="020B0604030504040204" pitchFamily="50" charset="-128"/>
                <a:ea typeface="Meiryo UI" panose="020B0604030504040204" pitchFamily="50" charset="-128"/>
                <a:cs typeface="+mj-cs"/>
              </a:rPr>
              <a:t>募集資料だけでなく、</a:t>
            </a:r>
            <a:endParaRPr kumimoji="1" lang="en-US" altLang="ja-JP" sz="1400" i="0" u="none" strike="noStrike" kern="1200" cap="none" spc="0" normalizeH="0" baseline="0" noProof="0" dirty="0">
              <a:ln>
                <a:noFill/>
              </a:ln>
              <a:solidFill>
                <a:schemeClr val="bg1"/>
              </a:solidFill>
              <a:effectLst/>
              <a:uLnTx/>
              <a:uFillTx/>
              <a:latin typeface="Meiryo UI" panose="020B0604030504040204" pitchFamily="50" charset="-128"/>
              <a:ea typeface="Meiryo UI" panose="020B0604030504040204" pitchFamily="50" charset="-128"/>
              <a:cs typeface="+mj-cs"/>
            </a:endParaRPr>
          </a:p>
          <a:p>
            <a:pPr marL="0" marR="0" lvl="0" indent="0" algn="ctr" defTabSz="1219170" rtl="0" eaLnBrk="1" fontAlgn="auto" latinLnBrk="0" hangingPunct="1">
              <a:lnSpc>
                <a:spcPct val="100000"/>
              </a:lnSpc>
              <a:spcBef>
                <a:spcPct val="0"/>
              </a:spcBef>
              <a:spcAft>
                <a:spcPts val="0"/>
              </a:spcAft>
              <a:buClrTx/>
              <a:buSzTx/>
              <a:buFontTx/>
              <a:buNone/>
              <a:tabLst/>
              <a:defRPr/>
            </a:pPr>
            <a:r>
              <a:rPr kumimoji="1" lang="ja-JP" altLang="en-US" sz="1400" b="1" i="0" u="none" strike="noStrike" kern="1200" cap="none" spc="0" normalizeH="0" baseline="0" noProof="0" dirty="0">
                <a:ln>
                  <a:noFill/>
                </a:ln>
                <a:solidFill>
                  <a:schemeClr val="bg1"/>
                </a:solidFill>
                <a:effectLst/>
                <a:uLnTx/>
                <a:uFillTx/>
                <a:latin typeface="Meiryo UI" panose="020B0604030504040204" pitchFamily="50" charset="-128"/>
                <a:ea typeface="Meiryo UI" panose="020B0604030504040204" pitchFamily="50" charset="-128"/>
                <a:cs typeface="+mj-cs"/>
              </a:rPr>
              <a:t>「お客さま対応で必要なこと」「その後のアプローチ方法」</a:t>
            </a:r>
            <a:r>
              <a:rPr kumimoji="1" lang="ja-JP" altLang="en-US" sz="1400" i="0" u="none" strike="noStrike" kern="1200" cap="none" spc="0" normalizeH="0" baseline="0" noProof="0" dirty="0">
                <a:ln>
                  <a:noFill/>
                </a:ln>
                <a:solidFill>
                  <a:schemeClr val="bg1"/>
                </a:solidFill>
                <a:effectLst/>
                <a:uLnTx/>
                <a:uFillTx/>
                <a:latin typeface="Meiryo UI" panose="020B0604030504040204" pitchFamily="50" charset="-128"/>
                <a:ea typeface="Meiryo UI" panose="020B0604030504040204" pitchFamily="50" charset="-128"/>
                <a:cs typeface="+mj-cs"/>
              </a:rPr>
              <a:t>も</a:t>
            </a:r>
            <a:r>
              <a:rPr lang="ja-JP" altLang="en-US" sz="1400" dirty="0">
                <a:solidFill>
                  <a:schemeClr val="bg1"/>
                </a:solidFill>
              </a:rPr>
              <a:t>伝える</a:t>
            </a:r>
            <a:endParaRPr lang="en-US" altLang="ja-JP" sz="1400" dirty="0">
              <a:solidFill>
                <a:schemeClr val="bg1"/>
              </a:solidFill>
            </a:endParaRPr>
          </a:p>
          <a:p>
            <a:pPr marL="0" marR="0" lvl="0" indent="0" algn="ctr" defTabSz="1219170" rtl="0" eaLnBrk="1" fontAlgn="auto" latinLnBrk="0" hangingPunct="1">
              <a:lnSpc>
                <a:spcPct val="100000"/>
              </a:lnSpc>
              <a:spcBef>
                <a:spcPct val="0"/>
              </a:spcBef>
              <a:spcAft>
                <a:spcPts val="0"/>
              </a:spcAft>
              <a:buClrTx/>
              <a:buSzTx/>
              <a:buFontTx/>
              <a:buNone/>
              <a:tabLst/>
              <a:defRPr/>
            </a:pPr>
            <a:r>
              <a:rPr kumimoji="1" lang="ja-JP" altLang="en-US" sz="1400" i="0" u="none" strike="noStrike" kern="1200" cap="none" spc="0" normalizeH="0" baseline="0" noProof="0" dirty="0">
                <a:ln>
                  <a:noFill/>
                </a:ln>
                <a:solidFill>
                  <a:schemeClr val="bg1"/>
                </a:solidFill>
                <a:effectLst/>
                <a:uLnTx/>
                <a:uFillTx/>
                <a:latin typeface="Meiryo UI" panose="020B0604030504040204" pitchFamily="50" charset="-128"/>
                <a:ea typeface="Meiryo UI" panose="020B0604030504040204" pitchFamily="50" charset="-128"/>
                <a:cs typeface="+mj-cs"/>
              </a:rPr>
              <a:t>あいまい検索 ⇒ </a:t>
            </a:r>
            <a:r>
              <a:rPr lang="en-US" altLang="ja-JP" sz="1400" dirty="0">
                <a:solidFill>
                  <a:schemeClr val="bg1"/>
                </a:solidFill>
              </a:rPr>
              <a:t>Next Action</a:t>
            </a:r>
            <a:r>
              <a:rPr lang="ja-JP" altLang="en-US" sz="1400" dirty="0">
                <a:solidFill>
                  <a:schemeClr val="bg1"/>
                </a:solidFill>
              </a:rPr>
              <a:t>‘</a:t>
            </a:r>
            <a:r>
              <a:rPr lang="en-US" altLang="ja-JP" sz="1400" dirty="0">
                <a:solidFill>
                  <a:schemeClr val="bg1"/>
                </a:solidFill>
              </a:rPr>
              <a:t>s Hint</a:t>
            </a:r>
            <a:endParaRPr kumimoji="1" lang="en-US" altLang="ja-JP" sz="1400" i="0" u="none" strike="noStrike" kern="1200" cap="none" spc="0" normalizeH="0" baseline="0" noProof="0" dirty="0">
              <a:ln>
                <a:noFill/>
              </a:ln>
              <a:solidFill>
                <a:schemeClr val="bg1"/>
              </a:solidFill>
              <a:effectLst/>
              <a:uLnTx/>
              <a:uFillTx/>
              <a:latin typeface="Meiryo UI" panose="020B0604030504040204" pitchFamily="50" charset="-128"/>
              <a:ea typeface="Meiryo UI" panose="020B0604030504040204" pitchFamily="50" charset="-128"/>
              <a:cs typeface="+mj-cs"/>
            </a:endParaRPr>
          </a:p>
        </p:txBody>
      </p:sp>
      <p:sp>
        <p:nvSpPr>
          <p:cNvPr id="2" name="フローチャート: 処理 1">
            <a:extLst>
              <a:ext uri="{FF2B5EF4-FFF2-40B4-BE49-F238E27FC236}">
                <a16:creationId xmlns:a16="http://schemas.microsoft.com/office/drawing/2014/main" id="{01287FA1-B618-4A7F-95D7-FBE5F0899AD6}"/>
              </a:ext>
            </a:extLst>
          </p:cNvPr>
          <p:cNvSpPr/>
          <p:nvPr/>
        </p:nvSpPr>
        <p:spPr>
          <a:xfrm>
            <a:off x="-3302135" y="2594101"/>
            <a:ext cx="3073400" cy="2263064"/>
          </a:xfrm>
          <a:prstGeom prst="flowChartProcess">
            <a:avLst/>
          </a:prstGeom>
          <a:solidFill>
            <a:schemeClr val="tx2">
              <a:lumMod val="40000"/>
              <a:lumOff val="6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kumimoji="1" lang="ja-JP" altLang="en-US" sz="1400" dirty="0">
                <a:solidFill>
                  <a:schemeClr val="tx1">
                    <a:lumMod val="65000"/>
                    <a:lumOff val="35000"/>
                  </a:schemeClr>
                </a:solidFill>
                <a:latin typeface="BIZ UDPゴシック" panose="020B0400000000000000" pitchFamily="50" charset="-128"/>
                <a:ea typeface="BIZ UDPゴシック" panose="020B0400000000000000" pitchFamily="50" charset="-128"/>
              </a:rPr>
              <a:t>あいまい検索の対象</a:t>
            </a:r>
            <a:endParaRPr kumimoji="1" lang="en-US" altLang="ja-JP" sz="1400" dirty="0">
              <a:solidFill>
                <a:schemeClr val="tx1">
                  <a:lumMod val="65000"/>
                  <a:lumOff val="35000"/>
                </a:schemeClr>
              </a:solidFill>
              <a:latin typeface="BIZ UDPゴシック" panose="020B0400000000000000" pitchFamily="50" charset="-128"/>
              <a:ea typeface="BIZ UDPゴシック" panose="020B0400000000000000" pitchFamily="50" charset="-128"/>
            </a:endParaRPr>
          </a:p>
          <a:p>
            <a:pPr algn="ctr"/>
            <a:r>
              <a:rPr lang="en-US" altLang="ja-JP" sz="1400" dirty="0">
                <a:solidFill>
                  <a:schemeClr val="tx1">
                    <a:lumMod val="65000"/>
                    <a:lumOff val="35000"/>
                  </a:schemeClr>
                </a:solidFill>
                <a:latin typeface="BIZ UDPゴシック" panose="020B0400000000000000" pitchFamily="50" charset="-128"/>
                <a:ea typeface="BIZ UDPゴシック" panose="020B0400000000000000" pitchFamily="50" charset="-128"/>
              </a:rPr>
              <a:t>3</a:t>
            </a:r>
            <a:r>
              <a:rPr lang="ja-JP" altLang="en-US" sz="1400" dirty="0">
                <a:solidFill>
                  <a:schemeClr val="tx1">
                    <a:lumMod val="65000"/>
                    <a:lumOff val="35000"/>
                  </a:schemeClr>
                </a:solidFill>
                <a:latin typeface="BIZ UDPゴシック" panose="020B0400000000000000" pitchFamily="50" charset="-128"/>
                <a:ea typeface="BIZ UDPゴシック" panose="020B0400000000000000" pitchFamily="50" charset="-128"/>
              </a:rPr>
              <a:t>月まで）</a:t>
            </a:r>
            <a:endParaRPr lang="en-US" altLang="ja-JP" sz="1400" dirty="0">
              <a:solidFill>
                <a:schemeClr val="tx1">
                  <a:lumMod val="65000"/>
                  <a:lumOff val="35000"/>
                </a:schemeClr>
              </a:solidFill>
              <a:latin typeface="BIZ UDPゴシック" panose="020B0400000000000000" pitchFamily="50" charset="-128"/>
              <a:ea typeface="BIZ UDPゴシック" panose="020B0400000000000000" pitchFamily="50" charset="-128"/>
            </a:endParaRPr>
          </a:p>
          <a:p>
            <a:pPr algn="ctr"/>
            <a:r>
              <a:rPr lang="ja-JP" altLang="en-US" sz="1400" dirty="0">
                <a:solidFill>
                  <a:schemeClr val="tx1">
                    <a:lumMod val="65000"/>
                    <a:lumOff val="35000"/>
                  </a:schemeClr>
                </a:solidFill>
                <a:latin typeface="BIZ UDPゴシック" panose="020B0400000000000000" pitchFamily="50" charset="-128"/>
                <a:ea typeface="BIZ UDPゴシック" panose="020B0400000000000000" pitchFamily="50" charset="-128"/>
              </a:rPr>
              <a:t>出産⇒子供が生まれた、誕生、などを入力しても“出産”としてインプットされるように定義</a:t>
            </a:r>
            <a:endParaRPr lang="en-US" altLang="ja-JP" sz="1400" dirty="0">
              <a:solidFill>
                <a:schemeClr val="tx1">
                  <a:lumMod val="65000"/>
                  <a:lumOff val="35000"/>
                </a:schemeClr>
              </a:solidFill>
              <a:latin typeface="BIZ UDPゴシック" panose="020B0400000000000000" pitchFamily="50" charset="-128"/>
              <a:ea typeface="BIZ UDPゴシック" panose="020B0400000000000000" pitchFamily="50" charset="-128"/>
            </a:endParaRPr>
          </a:p>
          <a:p>
            <a:pPr algn="ctr"/>
            <a:endParaRPr lang="en-US" altLang="ja-JP" sz="1400" dirty="0">
              <a:solidFill>
                <a:schemeClr val="tx1">
                  <a:lumMod val="65000"/>
                  <a:lumOff val="35000"/>
                </a:schemeClr>
              </a:solidFill>
              <a:latin typeface="BIZ UDPゴシック" panose="020B0400000000000000" pitchFamily="50" charset="-128"/>
              <a:ea typeface="BIZ UDPゴシック" panose="020B0400000000000000" pitchFamily="50" charset="-128"/>
            </a:endParaRPr>
          </a:p>
          <a:p>
            <a:pPr algn="ctr"/>
            <a:r>
              <a:rPr lang="ja-JP" altLang="en-US" sz="1400" dirty="0">
                <a:solidFill>
                  <a:schemeClr val="tx1">
                    <a:lumMod val="65000"/>
                    <a:lumOff val="35000"/>
                  </a:schemeClr>
                </a:solidFill>
                <a:latin typeface="BIZ UDPゴシック" panose="020B0400000000000000" pitchFamily="50" charset="-128"/>
                <a:ea typeface="BIZ UDPゴシック" panose="020B0400000000000000" pitchFamily="50" charset="-128"/>
              </a:rPr>
              <a:t>職域で使えるチラシ、面白いチラシなどを検索して出てくるようなチューニングは生涯側で実施したら出来る。</a:t>
            </a:r>
            <a:endParaRPr lang="en-US" altLang="ja-JP" sz="1400" dirty="0">
              <a:solidFill>
                <a:schemeClr val="tx1">
                  <a:lumMod val="65000"/>
                  <a:lumOff val="35000"/>
                </a:schemeClr>
              </a:solidFill>
              <a:latin typeface="BIZ UDPゴシック" panose="020B0400000000000000" pitchFamily="50" charset="-128"/>
              <a:ea typeface="BIZ UDPゴシック" panose="020B0400000000000000" pitchFamily="50" charset="-128"/>
            </a:endParaRPr>
          </a:p>
          <a:p>
            <a:pPr algn="ctr"/>
            <a:endParaRPr lang="en-US" altLang="ja-JP" sz="1400" dirty="0">
              <a:solidFill>
                <a:schemeClr val="tx1">
                  <a:lumMod val="65000"/>
                  <a:lumOff val="35000"/>
                </a:schemeClr>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159455005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1">
            <a:extLst>
              <a:ext uri="{FF2B5EF4-FFF2-40B4-BE49-F238E27FC236}">
                <a16:creationId xmlns:a16="http://schemas.microsoft.com/office/drawing/2014/main" id="{F3178955-A258-3965-ED4C-900C55E24AF4}"/>
              </a:ext>
            </a:extLst>
          </p:cNvPr>
          <p:cNvSpPr>
            <a:spLocks noChangeArrowheads="1"/>
          </p:cNvSpPr>
          <p:nvPr/>
        </p:nvSpPr>
        <p:spPr bwMode="auto">
          <a:xfrm>
            <a:off x="1366362" y="1215533"/>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ja-JP" altLang="ja-JP" sz="1800" b="0" i="0" u="none" strike="noStrike" kern="1200" cap="none" spc="0" normalizeH="0" baseline="0" noProof="0">
                <a:ln>
                  <a:noFill/>
                </a:ln>
                <a:solidFill>
                  <a:srgbClr val="000000"/>
                </a:solidFill>
                <a:effectLst/>
                <a:uLnTx/>
                <a:uFillTx/>
                <a:latin typeface="メイリオ" panose="020B0604030504040204" pitchFamily="50" charset="-128"/>
                <a:ea typeface="メイリオ" panose="020B0604030504040204" pitchFamily="50" charset="-128"/>
                <a:cs typeface="+mn-cs"/>
              </a:rPr>
              <a:t> </a:t>
            </a:r>
            <a:endParaRPr kumimoji="0" lang="ja-JP" altLang="ja-JP" sz="1800" b="0" i="0" u="none" strike="noStrike" kern="1200" cap="none" spc="0" normalizeH="0" baseline="0" noProof="0">
              <a:ln>
                <a:noFill/>
              </a:ln>
              <a:solidFill>
                <a:srgbClr val="000000"/>
              </a:solidFill>
              <a:effectLst/>
              <a:uLnTx/>
              <a:uFillTx/>
              <a:latin typeface="Arial" panose="020B0604020202020204" pitchFamily="34" charset="0"/>
              <a:ea typeface="Meiryo UI"/>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ja-JP" altLang="ja-JP" sz="1800" b="0" i="0" u="none" strike="noStrike" kern="1200" cap="none" spc="0" normalizeH="0" baseline="0" noProof="0">
              <a:ln>
                <a:noFill/>
              </a:ln>
              <a:solidFill>
                <a:srgbClr val="000000"/>
              </a:solidFill>
              <a:effectLst/>
              <a:uLnTx/>
              <a:uFillTx/>
              <a:latin typeface="Arial" panose="020B0604020202020204" pitchFamily="34" charset="0"/>
              <a:ea typeface="Meiryo UI"/>
              <a:cs typeface="+mn-cs"/>
            </a:endParaRPr>
          </a:p>
        </p:txBody>
      </p:sp>
      <p:sp>
        <p:nvSpPr>
          <p:cNvPr id="24" name="タイトル 1">
            <a:extLst>
              <a:ext uri="{FF2B5EF4-FFF2-40B4-BE49-F238E27FC236}">
                <a16:creationId xmlns:a16="http://schemas.microsoft.com/office/drawing/2014/main" id="{503419A0-120A-A6EB-6255-50D83284CA72}"/>
              </a:ext>
            </a:extLst>
          </p:cNvPr>
          <p:cNvSpPr txBox="1">
            <a:spLocks/>
          </p:cNvSpPr>
          <p:nvPr/>
        </p:nvSpPr>
        <p:spPr>
          <a:xfrm>
            <a:off x="317802" y="53214"/>
            <a:ext cx="11328097" cy="738452"/>
          </a:xfrm>
          <a:prstGeom prst="rect">
            <a:avLst/>
          </a:prstGeom>
        </p:spPr>
        <p:txBody>
          <a:bodyPr>
            <a:noAutofit/>
          </a:bodyPr>
          <a:lstStyle>
            <a:lvl1pPr algn="l" defTabSz="1219170" rtl="0" eaLnBrk="1" latinLnBrk="0" hangingPunct="1">
              <a:lnSpc>
                <a:spcPct val="100000"/>
              </a:lnSpc>
              <a:spcBef>
                <a:spcPct val="0"/>
              </a:spcBef>
              <a:buNone/>
              <a:defRPr kumimoji="1" sz="2400" kern="1200">
                <a:solidFill>
                  <a:schemeClr val="tx1"/>
                </a:solidFill>
                <a:latin typeface="Meiryo UI" panose="020B0604030504040204" pitchFamily="50" charset="-128"/>
                <a:ea typeface="Meiryo UI" panose="020B0604030504040204" pitchFamily="50" charset="-128"/>
                <a:cs typeface="+mj-cs"/>
              </a:defRPr>
            </a:lvl1pPr>
          </a:lstStyle>
          <a:p>
            <a:pPr marL="0" marR="0" lvl="0" indent="0" algn="l" defTabSz="1219170" rtl="0" eaLnBrk="1" fontAlgn="auto" latinLnBrk="0" hangingPunct="1">
              <a:lnSpc>
                <a:spcPct val="100000"/>
              </a:lnSpc>
              <a:spcBef>
                <a:spcPct val="0"/>
              </a:spcBef>
              <a:spcAft>
                <a:spcPts val="0"/>
              </a:spcAft>
              <a:buClrTx/>
              <a:buSzTx/>
              <a:buFontTx/>
              <a:buNone/>
              <a:tabLst/>
              <a:defRPr/>
            </a:pPr>
            <a:r>
              <a:rPr kumimoji="1" lang="ja-JP" altLang="en-US" sz="2400" b="1" i="0" u="none" strike="noStrike" kern="1200" cap="none" spc="0" normalizeH="0" baseline="0" noProof="0" dirty="0">
                <a:ln>
                  <a:noFill/>
                </a:ln>
                <a:solidFill>
                  <a:srgbClr val="282828"/>
                </a:solidFill>
                <a:effectLst/>
                <a:uLnTx/>
                <a:uFillTx/>
                <a:latin typeface="Meiryo UI" panose="020B0604030504040204" pitchFamily="50" charset="-128"/>
                <a:ea typeface="Meiryo UI" panose="020B0604030504040204" pitchFamily="50" charset="-128"/>
                <a:cs typeface="+mj-cs"/>
              </a:rPr>
              <a:t>自律型教育（デジ棚）</a:t>
            </a:r>
            <a:endParaRPr kumimoji="1" lang="en-US" altLang="ja-JP" sz="2400" b="1" i="0" u="none" strike="noStrike" kern="1200" cap="none" spc="0" normalizeH="0" baseline="0" noProof="0" dirty="0">
              <a:ln>
                <a:noFill/>
              </a:ln>
              <a:solidFill>
                <a:srgbClr val="282828"/>
              </a:solidFill>
              <a:effectLst/>
              <a:uLnTx/>
              <a:uFillTx/>
              <a:latin typeface="Meiryo UI" panose="020B0604030504040204" pitchFamily="50" charset="-128"/>
              <a:ea typeface="Meiryo UI" panose="020B0604030504040204" pitchFamily="50" charset="-128"/>
              <a:cs typeface="+mj-cs"/>
            </a:endParaRPr>
          </a:p>
          <a:p>
            <a:pPr marL="0" marR="0" lvl="0" indent="0" algn="l" defTabSz="1219170" rtl="0" eaLnBrk="1" fontAlgn="auto" latinLnBrk="0" hangingPunct="1">
              <a:lnSpc>
                <a:spcPct val="100000"/>
              </a:lnSpc>
              <a:spcBef>
                <a:spcPct val="0"/>
              </a:spcBef>
              <a:spcAft>
                <a:spcPts val="0"/>
              </a:spcAft>
              <a:buClrTx/>
              <a:buSzTx/>
              <a:buFontTx/>
              <a:buNone/>
              <a:tabLst/>
              <a:defRPr/>
            </a:pPr>
            <a:r>
              <a:rPr kumimoji="1" lang="ja-JP" altLang="en-US" sz="2000" b="0" i="0" u="none" strike="noStrike" kern="1200" cap="none" spc="0" normalizeH="0" baseline="0" noProof="0" dirty="0">
                <a:ln>
                  <a:noFill/>
                </a:ln>
                <a:solidFill>
                  <a:srgbClr val="282828"/>
                </a:solidFill>
                <a:effectLst/>
                <a:uLnTx/>
                <a:uFillTx/>
                <a:latin typeface="Meiryo UI" panose="020B0604030504040204" pitchFamily="50" charset="-128"/>
                <a:ea typeface="Meiryo UI" panose="020B0604030504040204" pitchFamily="50" charset="-128"/>
                <a:cs typeface="+mj-cs"/>
              </a:rPr>
              <a:t>～あいまい検索導入に伴う実現したい姿～</a:t>
            </a:r>
            <a:endParaRPr kumimoji="1" lang="en-US" altLang="ja-JP" sz="2000" b="0" i="0" u="none" strike="noStrike" kern="1200" cap="none" spc="0" normalizeH="0" baseline="0" noProof="0" dirty="0">
              <a:ln>
                <a:noFill/>
              </a:ln>
              <a:solidFill>
                <a:srgbClr val="282828"/>
              </a:solidFill>
              <a:effectLst/>
              <a:uLnTx/>
              <a:uFillTx/>
              <a:latin typeface="Meiryo UI" panose="020B0604030504040204" pitchFamily="50" charset="-128"/>
              <a:ea typeface="Meiryo UI" panose="020B0604030504040204" pitchFamily="50" charset="-128"/>
              <a:cs typeface="+mj-cs"/>
            </a:endParaRPr>
          </a:p>
        </p:txBody>
      </p:sp>
      <p:sp>
        <p:nvSpPr>
          <p:cNvPr id="25" name="タイトル 1">
            <a:extLst>
              <a:ext uri="{FF2B5EF4-FFF2-40B4-BE49-F238E27FC236}">
                <a16:creationId xmlns:a16="http://schemas.microsoft.com/office/drawing/2014/main" id="{4D061264-79E8-B825-4085-0E2C218343BD}"/>
              </a:ext>
            </a:extLst>
          </p:cNvPr>
          <p:cNvSpPr txBox="1">
            <a:spLocks/>
          </p:cNvSpPr>
          <p:nvPr/>
        </p:nvSpPr>
        <p:spPr>
          <a:xfrm>
            <a:off x="603523" y="1145788"/>
            <a:ext cx="4546311" cy="738452"/>
          </a:xfrm>
          <a:prstGeom prst="rect">
            <a:avLst/>
          </a:prstGeom>
        </p:spPr>
        <p:txBody>
          <a:bodyPr>
            <a:noAutofit/>
          </a:bodyPr>
          <a:lstStyle>
            <a:lvl1pPr algn="l" defTabSz="1219170" rtl="0" eaLnBrk="1" latinLnBrk="0" hangingPunct="1">
              <a:lnSpc>
                <a:spcPct val="100000"/>
              </a:lnSpc>
              <a:spcBef>
                <a:spcPct val="0"/>
              </a:spcBef>
              <a:buNone/>
              <a:defRPr kumimoji="1" sz="2400" kern="1200">
                <a:solidFill>
                  <a:schemeClr val="tx1"/>
                </a:solidFill>
                <a:latin typeface="Meiryo UI" panose="020B0604030504040204" pitchFamily="50" charset="-128"/>
                <a:ea typeface="Meiryo UI" panose="020B0604030504040204" pitchFamily="50" charset="-128"/>
                <a:cs typeface="+mj-cs"/>
              </a:defRPr>
            </a:lvl1pPr>
          </a:lstStyle>
          <a:p>
            <a:pPr marL="0" marR="0" lvl="0" indent="0" algn="l" defTabSz="1219170" rtl="0" eaLnBrk="1" fontAlgn="auto" latinLnBrk="0" hangingPunct="1">
              <a:lnSpc>
                <a:spcPct val="100000"/>
              </a:lnSpc>
              <a:spcBef>
                <a:spcPct val="0"/>
              </a:spcBef>
              <a:spcAft>
                <a:spcPts val="0"/>
              </a:spcAft>
              <a:buClrTx/>
              <a:buSzTx/>
              <a:buFontTx/>
              <a:buNone/>
              <a:tabLst/>
              <a:defRPr/>
            </a:pPr>
            <a:r>
              <a:rPr kumimoji="1" lang="ja-JP" altLang="en-US" sz="1800" b="1" i="0" u="none" strike="noStrike" kern="1200" cap="none" spc="0" normalizeH="0" baseline="0" noProof="0">
                <a:ln>
                  <a:noFill/>
                </a:ln>
                <a:solidFill>
                  <a:srgbClr val="282828"/>
                </a:solidFill>
                <a:effectLst/>
                <a:uLnTx/>
                <a:uFillTx/>
                <a:latin typeface="Meiryo UI" panose="020B0604030504040204" pitchFamily="50" charset="-128"/>
                <a:ea typeface="Meiryo UI" panose="020B0604030504040204" pitchFamily="50" charset="-128"/>
                <a:cs typeface="+mj-cs"/>
              </a:rPr>
              <a:t>検索画面イメージ</a:t>
            </a:r>
            <a:endParaRPr kumimoji="1" lang="en-US" altLang="ja-JP" sz="1800" b="1" i="0" u="none" strike="noStrike" kern="1200" cap="none" spc="0" normalizeH="0" baseline="0" noProof="0">
              <a:ln>
                <a:noFill/>
              </a:ln>
              <a:solidFill>
                <a:srgbClr val="282828"/>
              </a:solidFill>
              <a:effectLst/>
              <a:uLnTx/>
              <a:uFillTx/>
              <a:latin typeface="Meiryo UI" panose="020B0604030504040204" pitchFamily="50" charset="-128"/>
              <a:ea typeface="Meiryo UI" panose="020B0604030504040204" pitchFamily="50" charset="-128"/>
              <a:cs typeface="+mj-cs"/>
            </a:endParaRPr>
          </a:p>
        </p:txBody>
      </p:sp>
      <p:sp>
        <p:nvSpPr>
          <p:cNvPr id="26" name="テキスト ボックス 25">
            <a:extLst>
              <a:ext uri="{FF2B5EF4-FFF2-40B4-BE49-F238E27FC236}">
                <a16:creationId xmlns:a16="http://schemas.microsoft.com/office/drawing/2014/main" id="{23E4F24A-0AC2-D18B-E713-AF844A4132FE}"/>
              </a:ext>
            </a:extLst>
          </p:cNvPr>
          <p:cNvSpPr txBox="1"/>
          <p:nvPr/>
        </p:nvSpPr>
        <p:spPr>
          <a:xfrm>
            <a:off x="277865" y="1072635"/>
            <a:ext cx="330679" cy="474284"/>
          </a:xfrm>
          <a:prstGeom prst="rect">
            <a:avLst/>
          </a:prstGeom>
          <a:solidFill>
            <a:srgbClr val="002060"/>
          </a:solidFill>
        </p:spPr>
        <p:txBody>
          <a:bodyPr wrap="square" anchor="ctr">
            <a:noAutofit/>
          </a:bodyPr>
          <a:lstStyle/>
          <a:p>
            <a:pPr marL="0" marR="0" lvl="0" indent="0" algn="ctr" defTabSz="914400" rtl="0" eaLnBrk="1" fontAlgn="auto" latinLnBrk="0" hangingPunct="1">
              <a:lnSpc>
                <a:spcPct val="100000"/>
              </a:lnSpc>
              <a:spcBef>
                <a:spcPts val="300"/>
              </a:spcBef>
              <a:spcAft>
                <a:spcPts val="0"/>
              </a:spcAft>
              <a:buClrTx/>
              <a:buSzTx/>
              <a:buFontTx/>
              <a:buNone/>
              <a:tabLst/>
              <a:defRPr/>
            </a:pPr>
            <a:r>
              <a:rPr kumimoji="0" lang="en-US" altLang="ja-JP" sz="2000" b="1" i="0" u="none" strike="noStrike" kern="0" cap="none" spc="0" normalizeH="0" baseline="0" noProof="0">
                <a:ln>
                  <a:noFill/>
                </a:ln>
                <a:solidFill>
                  <a:prstClr val="white"/>
                </a:solidFill>
                <a:effectLst/>
                <a:uLnTx/>
                <a:uFillTx/>
                <a:latin typeface="Meiryo UI"/>
                <a:ea typeface="Meiryo UI"/>
                <a:cs typeface="+mn-cs"/>
              </a:rPr>
              <a:t>4</a:t>
            </a:r>
            <a:endParaRPr kumimoji="0" lang="ja-JP" altLang="en-US" sz="2000" b="1" i="0" u="none" strike="noStrike" kern="0" cap="none" spc="0" normalizeH="0" baseline="0" noProof="0">
              <a:ln>
                <a:noFill/>
              </a:ln>
              <a:solidFill>
                <a:prstClr val="white"/>
              </a:solidFill>
              <a:effectLst/>
              <a:uLnTx/>
              <a:uFillTx/>
              <a:latin typeface="Meiryo UI"/>
              <a:ea typeface="Meiryo UI"/>
              <a:cs typeface="+mn-cs"/>
            </a:endParaRPr>
          </a:p>
        </p:txBody>
      </p:sp>
      <p:pic>
        <p:nvPicPr>
          <p:cNvPr id="52" name="図 51">
            <a:extLst>
              <a:ext uri="{FF2B5EF4-FFF2-40B4-BE49-F238E27FC236}">
                <a16:creationId xmlns:a16="http://schemas.microsoft.com/office/drawing/2014/main" id="{A20CEB31-CC53-492D-E292-4673C3E1A195}"/>
              </a:ext>
            </a:extLst>
          </p:cNvPr>
          <p:cNvPicPr>
            <a:picLocks noChangeAspect="1"/>
          </p:cNvPicPr>
          <p:nvPr/>
        </p:nvPicPr>
        <p:blipFill>
          <a:blip r:embed="rId2"/>
          <a:stretch>
            <a:fillRect/>
          </a:stretch>
        </p:blipFill>
        <p:spPr>
          <a:xfrm>
            <a:off x="4002035" y="1072635"/>
            <a:ext cx="7912100" cy="5634958"/>
          </a:xfrm>
          <a:prstGeom prst="rect">
            <a:avLst/>
          </a:prstGeom>
        </p:spPr>
      </p:pic>
      <p:sp>
        <p:nvSpPr>
          <p:cNvPr id="173" name="吹き出し: 四角形 172">
            <a:extLst>
              <a:ext uri="{FF2B5EF4-FFF2-40B4-BE49-F238E27FC236}">
                <a16:creationId xmlns:a16="http://schemas.microsoft.com/office/drawing/2014/main" id="{54D3A388-2D2C-9CB3-8A58-8B4DDC650F33}"/>
              </a:ext>
            </a:extLst>
          </p:cNvPr>
          <p:cNvSpPr/>
          <p:nvPr/>
        </p:nvSpPr>
        <p:spPr>
          <a:xfrm>
            <a:off x="277866" y="4585205"/>
            <a:ext cx="3430534" cy="1127007"/>
          </a:xfrm>
          <a:prstGeom prst="wedgeRectCallout">
            <a:avLst>
              <a:gd name="adj1" fmla="val 83847"/>
              <a:gd name="adj2" fmla="val 34328"/>
            </a:avLst>
          </a:prstGeom>
          <a:solidFill>
            <a:schemeClr val="bg1"/>
          </a:solidFill>
          <a:ln>
            <a:solidFill>
              <a:srgbClr val="FF0000"/>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804420" rtl="0" eaLnBrk="1" fontAlgn="auto" latinLnBrk="0" hangingPunct="1">
              <a:lnSpc>
                <a:spcPct val="100000"/>
              </a:lnSpc>
              <a:spcBef>
                <a:spcPts val="0"/>
              </a:spcBef>
              <a:spcAft>
                <a:spcPts val="0"/>
              </a:spcAft>
              <a:buClrTx/>
              <a:buSzTx/>
              <a:buFontTx/>
              <a:buNone/>
              <a:tabLst/>
              <a:defRPr/>
            </a:pPr>
            <a:r>
              <a:rPr kumimoji="1" lang="ja-JP" altLang="en-US" sz="1584"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資料名・内容をチェックした場合のみ表示。</a:t>
            </a:r>
            <a:endParaRPr kumimoji="1" lang="en-US" altLang="ja-JP" sz="1584"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endParaRPr>
          </a:p>
          <a:p>
            <a:pPr marL="0" marR="0" lvl="0" indent="0" algn="ctr" defTabSz="804420" rtl="0" eaLnBrk="1" fontAlgn="auto" latinLnBrk="0" hangingPunct="1">
              <a:lnSpc>
                <a:spcPct val="100000"/>
              </a:lnSpc>
              <a:spcBef>
                <a:spcPts val="0"/>
              </a:spcBef>
              <a:spcAft>
                <a:spcPts val="0"/>
              </a:spcAft>
              <a:buClrTx/>
              <a:buSzTx/>
              <a:buFontTx/>
              <a:buNone/>
              <a:tabLst/>
              <a:defRPr/>
            </a:pPr>
            <a:r>
              <a:rPr kumimoji="1" lang="ja-JP" altLang="en-US" sz="1584"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登録番号・物流請求番号を入力した場合には表示しない）</a:t>
            </a:r>
          </a:p>
        </p:txBody>
      </p:sp>
    </p:spTree>
    <p:extLst>
      <p:ext uri="{BB962C8B-B14F-4D97-AF65-F5344CB8AC3E}">
        <p14:creationId xmlns:p14="http://schemas.microsoft.com/office/powerpoint/2010/main" val="44811801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表 7">
            <a:extLst>
              <a:ext uri="{FF2B5EF4-FFF2-40B4-BE49-F238E27FC236}">
                <a16:creationId xmlns:a16="http://schemas.microsoft.com/office/drawing/2014/main" id="{C648548A-D087-059D-57EF-900C74E745D1}"/>
              </a:ext>
            </a:extLst>
          </p:cNvPr>
          <p:cNvGraphicFramePr>
            <a:graphicFrameLocks noGrp="1"/>
          </p:cNvGraphicFramePr>
          <p:nvPr>
            <p:extLst>
              <p:ext uri="{D42A27DB-BD31-4B8C-83A1-F6EECF244321}">
                <p14:modId xmlns:p14="http://schemas.microsoft.com/office/powerpoint/2010/main" val="1663210567"/>
              </p:ext>
            </p:extLst>
          </p:nvPr>
        </p:nvGraphicFramePr>
        <p:xfrm>
          <a:off x="355725" y="2542113"/>
          <a:ext cx="11176000" cy="2817287"/>
        </p:xfrm>
        <a:graphic>
          <a:graphicData uri="http://schemas.openxmlformats.org/drawingml/2006/table">
            <a:tbl>
              <a:tblPr/>
              <a:tblGrid>
                <a:gridCol w="494430">
                  <a:extLst>
                    <a:ext uri="{9D8B030D-6E8A-4147-A177-3AD203B41FA5}">
                      <a16:colId xmlns:a16="http://schemas.microsoft.com/office/drawing/2014/main" val="76050752"/>
                    </a:ext>
                  </a:extLst>
                </a:gridCol>
                <a:gridCol w="5261490">
                  <a:extLst>
                    <a:ext uri="{9D8B030D-6E8A-4147-A177-3AD203B41FA5}">
                      <a16:colId xmlns:a16="http://schemas.microsoft.com/office/drawing/2014/main" val="2091391975"/>
                    </a:ext>
                  </a:extLst>
                </a:gridCol>
                <a:gridCol w="5420080">
                  <a:extLst>
                    <a:ext uri="{9D8B030D-6E8A-4147-A177-3AD203B41FA5}">
                      <a16:colId xmlns:a16="http://schemas.microsoft.com/office/drawing/2014/main" val="3157168423"/>
                    </a:ext>
                  </a:extLst>
                </a:gridCol>
              </a:tblGrid>
              <a:tr h="305357">
                <a:tc>
                  <a:txBody>
                    <a:bodyPr/>
                    <a:lstStyle/>
                    <a:p>
                      <a:pPr algn="l" fontAlgn="auto"/>
                      <a:r>
                        <a:rPr lang="ja-JP" altLang="en-US" sz="1400" b="1" i="0">
                          <a:solidFill>
                            <a:srgbClr val="FFFFFF"/>
                          </a:solidFill>
                          <a:effectLst/>
                          <a:latin typeface="Meiryo UI" panose="020B0604030504040204" pitchFamily="50" charset="-128"/>
                          <a:ea typeface="Meiryo UI" panose="020B0604030504040204" pitchFamily="50" charset="-128"/>
                        </a:rPr>
                        <a:t>​</a:t>
                      </a:r>
                    </a:p>
                  </a:txBody>
                  <a:tcPr marL="76339" marR="76339" marT="38170" marB="38170">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solidFill>
                      <a:srgbClr val="DCE6F2"/>
                    </a:solidFill>
                  </a:tcPr>
                </a:tc>
                <a:tc>
                  <a:txBody>
                    <a:bodyPr/>
                    <a:lstStyle/>
                    <a:p>
                      <a:pPr algn="ctr" fontAlgn="base"/>
                      <a:r>
                        <a:rPr lang="en-US" sz="1400" b="1" i="0">
                          <a:solidFill>
                            <a:schemeClr val="tx1"/>
                          </a:solidFill>
                          <a:effectLst/>
                          <a:latin typeface="Meiryo UI" panose="020B0604030504040204" pitchFamily="50" charset="-128"/>
                          <a:ea typeface="Meiryo UI" panose="020B0604030504040204" pitchFamily="50" charset="-128"/>
                        </a:rPr>
                        <a:t>As-Is</a:t>
                      </a:r>
                      <a:r>
                        <a:rPr lang="en-US" altLang="ja-JP" sz="1400" b="1" i="0">
                          <a:solidFill>
                            <a:schemeClr val="tx1"/>
                          </a:solidFill>
                          <a:effectLst/>
                          <a:latin typeface="Meiryo UI" panose="020B0604030504040204" pitchFamily="50" charset="-128"/>
                          <a:ea typeface="Meiryo UI" panose="020B0604030504040204" pitchFamily="50" charset="-128"/>
                        </a:rPr>
                        <a:t>​</a:t>
                      </a:r>
                      <a:r>
                        <a:rPr lang="ja-JP" altLang="en-US" sz="1400" b="1" i="0">
                          <a:solidFill>
                            <a:schemeClr val="tx1"/>
                          </a:solidFill>
                          <a:effectLst/>
                          <a:latin typeface="Meiryo UI" panose="020B0604030504040204" pitchFamily="50" charset="-128"/>
                          <a:ea typeface="Meiryo UI" panose="020B0604030504040204" pitchFamily="50" charset="-128"/>
                        </a:rPr>
                        <a:t>（</a:t>
                      </a:r>
                      <a:r>
                        <a:rPr lang="en-US" altLang="ja-JP" sz="1400" b="1" i="0">
                          <a:solidFill>
                            <a:schemeClr val="tx1"/>
                          </a:solidFill>
                          <a:effectLst/>
                          <a:latin typeface="Meiryo UI" panose="020B0604030504040204" pitchFamily="50" charset="-128"/>
                          <a:ea typeface="Meiryo UI" panose="020B0604030504040204" pitchFamily="50" charset="-128"/>
                        </a:rPr>
                        <a:t>25</a:t>
                      </a:r>
                      <a:r>
                        <a:rPr lang="ja-JP" altLang="en-US" sz="1400" b="1" i="0">
                          <a:solidFill>
                            <a:schemeClr val="tx1"/>
                          </a:solidFill>
                          <a:effectLst/>
                          <a:latin typeface="Meiryo UI" panose="020B0604030504040204" pitchFamily="50" charset="-128"/>
                          <a:ea typeface="Meiryo UI" panose="020B0604030504040204" pitchFamily="50" charset="-128"/>
                        </a:rPr>
                        <a:t>年</a:t>
                      </a:r>
                      <a:r>
                        <a:rPr lang="en-US" altLang="ja-JP" sz="1400" b="1" i="0">
                          <a:solidFill>
                            <a:schemeClr val="tx1"/>
                          </a:solidFill>
                          <a:effectLst/>
                          <a:latin typeface="Meiryo UI" panose="020B0604030504040204" pitchFamily="50" charset="-128"/>
                          <a:ea typeface="Meiryo UI" panose="020B0604030504040204" pitchFamily="50" charset="-128"/>
                        </a:rPr>
                        <a:t>10</a:t>
                      </a:r>
                      <a:r>
                        <a:rPr lang="ja-JP" altLang="en-US" sz="1400" b="1" i="0">
                          <a:solidFill>
                            <a:schemeClr val="tx1"/>
                          </a:solidFill>
                          <a:effectLst/>
                          <a:latin typeface="Meiryo UI" panose="020B0604030504040204" pitchFamily="50" charset="-128"/>
                          <a:ea typeface="Meiryo UI" panose="020B0604030504040204" pitchFamily="50" charset="-128"/>
                        </a:rPr>
                        <a:t>月時点）</a:t>
                      </a:r>
                      <a:endParaRPr lang="en-US" altLang="ja-JP" sz="1400" b="1" i="0">
                        <a:solidFill>
                          <a:schemeClr val="tx1"/>
                        </a:solidFill>
                        <a:effectLst/>
                        <a:latin typeface="Meiryo UI" panose="020B0604030504040204" pitchFamily="50" charset="-128"/>
                        <a:ea typeface="Meiryo UI" panose="020B0604030504040204" pitchFamily="50" charset="-128"/>
                      </a:endParaRPr>
                    </a:p>
                  </a:txBody>
                  <a:tcPr marL="76339" marR="76339" marT="38170" marB="38170" anchor="ctr">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solidFill>
                      <a:srgbClr val="DCE6F2"/>
                    </a:solidFill>
                  </a:tcPr>
                </a:tc>
                <a:tc>
                  <a:txBody>
                    <a:bodyPr/>
                    <a:lstStyle/>
                    <a:p>
                      <a:pPr algn="ctr" fontAlgn="base"/>
                      <a:r>
                        <a:rPr lang="en-US" sz="1400" b="1" i="0">
                          <a:solidFill>
                            <a:schemeClr val="tx1"/>
                          </a:solidFill>
                          <a:effectLst/>
                          <a:latin typeface="Meiryo UI" panose="020B0604030504040204" pitchFamily="50" charset="-128"/>
                          <a:ea typeface="Meiryo UI" panose="020B0604030504040204" pitchFamily="50" charset="-128"/>
                        </a:rPr>
                        <a:t>To-Be</a:t>
                      </a:r>
                      <a:r>
                        <a:rPr lang="en-US" altLang="ja-JP" sz="1400" b="1" i="0">
                          <a:solidFill>
                            <a:schemeClr val="tx1"/>
                          </a:solidFill>
                          <a:effectLst/>
                          <a:latin typeface="Meiryo UI" panose="020B0604030504040204" pitchFamily="50" charset="-128"/>
                          <a:ea typeface="Meiryo UI" panose="020B0604030504040204" pitchFamily="50" charset="-128"/>
                        </a:rPr>
                        <a:t>​</a:t>
                      </a:r>
                      <a:r>
                        <a:rPr lang="ja-JP" altLang="en-US" sz="1400" b="1" i="0">
                          <a:solidFill>
                            <a:schemeClr val="tx1"/>
                          </a:solidFill>
                          <a:effectLst/>
                          <a:latin typeface="Meiryo UI" panose="020B0604030504040204" pitchFamily="50" charset="-128"/>
                          <a:ea typeface="Meiryo UI" panose="020B0604030504040204" pitchFamily="50" charset="-128"/>
                        </a:rPr>
                        <a:t>（</a:t>
                      </a:r>
                      <a:r>
                        <a:rPr lang="en-US" altLang="ja-JP" sz="1400" b="1" i="0">
                          <a:solidFill>
                            <a:schemeClr val="tx1"/>
                          </a:solidFill>
                          <a:effectLst/>
                          <a:latin typeface="Meiryo UI" panose="020B0604030504040204" pitchFamily="50" charset="-128"/>
                          <a:ea typeface="Meiryo UI" panose="020B0604030504040204" pitchFamily="50" charset="-128"/>
                        </a:rPr>
                        <a:t>26</a:t>
                      </a:r>
                      <a:r>
                        <a:rPr lang="ja-JP" altLang="en-US" sz="1400" b="1" i="0">
                          <a:solidFill>
                            <a:schemeClr val="tx1"/>
                          </a:solidFill>
                          <a:effectLst/>
                          <a:latin typeface="Meiryo UI" panose="020B0604030504040204" pitchFamily="50" charset="-128"/>
                          <a:ea typeface="Meiryo UI" panose="020B0604030504040204" pitchFamily="50" charset="-128"/>
                        </a:rPr>
                        <a:t>年</a:t>
                      </a:r>
                      <a:r>
                        <a:rPr lang="en-US" altLang="ja-JP" sz="1400" b="1" i="0">
                          <a:solidFill>
                            <a:schemeClr val="tx1"/>
                          </a:solidFill>
                          <a:effectLst/>
                          <a:latin typeface="Meiryo UI" panose="020B0604030504040204" pitchFamily="50" charset="-128"/>
                          <a:ea typeface="Meiryo UI" panose="020B0604030504040204" pitchFamily="50" charset="-128"/>
                        </a:rPr>
                        <a:t>4</a:t>
                      </a:r>
                      <a:r>
                        <a:rPr lang="ja-JP" altLang="en-US" sz="1400" b="1" i="0">
                          <a:solidFill>
                            <a:schemeClr val="tx1"/>
                          </a:solidFill>
                          <a:effectLst/>
                          <a:latin typeface="Meiryo UI" panose="020B0604030504040204" pitchFamily="50" charset="-128"/>
                          <a:ea typeface="Meiryo UI" panose="020B0604030504040204" pitchFamily="50" charset="-128"/>
                        </a:rPr>
                        <a:t>月時点）</a:t>
                      </a:r>
                      <a:endParaRPr lang="en-US" altLang="ja-JP" sz="1400" b="1" i="0">
                        <a:solidFill>
                          <a:schemeClr val="tx1"/>
                        </a:solidFill>
                        <a:effectLst/>
                        <a:latin typeface="Meiryo UI" panose="020B0604030504040204" pitchFamily="50" charset="-128"/>
                        <a:ea typeface="Meiryo UI" panose="020B0604030504040204" pitchFamily="50" charset="-128"/>
                      </a:endParaRPr>
                    </a:p>
                  </a:txBody>
                  <a:tcPr marL="76339" marR="76339" marT="38170" marB="38170" anchor="ctr">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solidFill>
                      <a:srgbClr val="DCE6F2"/>
                    </a:solidFill>
                  </a:tcPr>
                </a:tc>
                <a:extLst>
                  <a:ext uri="{0D108BD9-81ED-4DB2-BD59-A6C34878D82A}">
                    <a16:rowId xmlns:a16="http://schemas.microsoft.com/office/drawing/2014/main" val="4019023739"/>
                  </a:ext>
                </a:extLst>
              </a:tr>
              <a:tr h="568830">
                <a:tc>
                  <a:txBody>
                    <a:bodyPr/>
                    <a:lstStyle/>
                    <a:p>
                      <a:pPr algn="ctr" fontAlgn="base"/>
                      <a:endParaRPr lang="ja-JP" altLang="en-US" sz="1400" b="0" i="0">
                        <a:solidFill>
                          <a:srgbClr val="000000"/>
                        </a:solidFill>
                        <a:effectLst/>
                        <a:latin typeface="Meiryo UI" panose="020B0604030504040204" pitchFamily="50" charset="-128"/>
                        <a:ea typeface="Meiryo UI" panose="020B0604030504040204" pitchFamily="50" charset="-128"/>
                      </a:endParaRPr>
                    </a:p>
                  </a:txBody>
                  <a:tcPr marL="76339" marR="76339" marT="38170" marB="38170" anchor="ctr">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solidFill>
                      <a:srgbClr val="DCE6F2"/>
                    </a:solidFill>
                  </a:tcPr>
                </a:tc>
                <a:tc>
                  <a:txBody>
                    <a:bodyPr/>
                    <a:lstStyle/>
                    <a:p>
                      <a:pPr marL="285750" indent="-285750" algn="l" fontAlgn="base">
                        <a:buFont typeface="Arial" panose="020B0604020202020204" pitchFamily="34" charset="0"/>
                        <a:buChar char="•"/>
                      </a:pPr>
                      <a:r>
                        <a:rPr lang="ja-JP" altLang="en-US" sz="1400" b="0" i="0" dirty="0">
                          <a:solidFill>
                            <a:srgbClr val="000000"/>
                          </a:solidFill>
                          <a:effectLst/>
                          <a:latin typeface="Meiryo UI" panose="020B0604030504040204" pitchFamily="50" charset="-128"/>
                          <a:ea typeface="Meiryo UI" panose="020B0604030504040204" pitchFamily="50" charset="-128"/>
                        </a:rPr>
                        <a:t>資料起点での検索</a:t>
                      </a:r>
                    </a:p>
                  </a:txBody>
                  <a:tcPr marL="76339" marR="76339" marT="38170" marB="38170">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solidFill>
                      <a:srgbClr val="FFFFFF"/>
                    </a:solidFill>
                  </a:tcPr>
                </a:tc>
                <a:tc>
                  <a:txBody>
                    <a:bodyPr/>
                    <a:lstStyle/>
                    <a:p>
                      <a:pPr marL="285750" indent="-285750" algn="l" fontAlgn="base">
                        <a:buFont typeface="Arial" panose="020B0604020202020204" pitchFamily="34" charset="0"/>
                        <a:buChar char="•"/>
                      </a:pPr>
                      <a:r>
                        <a:rPr lang="ja-JP" altLang="en-US" sz="1400" b="0" i="0">
                          <a:solidFill>
                            <a:srgbClr val="000000"/>
                          </a:solidFill>
                          <a:effectLst/>
                          <a:latin typeface="Meiryo UI" panose="020B0604030504040204" pitchFamily="50" charset="-128"/>
                          <a:ea typeface="Meiryo UI" panose="020B0604030504040204" pitchFamily="50" charset="-128"/>
                        </a:rPr>
                        <a:t>検索時にお客さまのライフイベントや状況、変化を入力したうえで検索することで、生涯</a:t>
                      </a:r>
                      <a:r>
                        <a:rPr lang="en-US" altLang="ja-JP" sz="1400" b="0" i="0">
                          <a:solidFill>
                            <a:srgbClr val="000000"/>
                          </a:solidFill>
                          <a:effectLst/>
                          <a:latin typeface="Meiryo UI" panose="020B0604030504040204" pitchFamily="50" charset="-128"/>
                          <a:ea typeface="Meiryo UI" panose="020B0604030504040204" pitchFamily="50" charset="-128"/>
                        </a:rPr>
                        <a:t>D</a:t>
                      </a:r>
                      <a:r>
                        <a:rPr lang="ja-JP" altLang="en-US" sz="1400" b="0" i="0">
                          <a:solidFill>
                            <a:srgbClr val="000000"/>
                          </a:solidFill>
                          <a:effectLst/>
                          <a:latin typeface="Meiryo UI" panose="020B0604030504040204" pitchFamily="50" charset="-128"/>
                          <a:ea typeface="Meiryo UI" panose="020B0604030504040204" pitchFamily="50" charset="-128"/>
                        </a:rPr>
                        <a:t>自ら訪問のヒントとなる資料を検索することが可能</a:t>
                      </a:r>
                      <a:endParaRPr lang="en-US" altLang="ja-JP" sz="1400" b="0" i="0">
                        <a:solidFill>
                          <a:srgbClr val="000000"/>
                        </a:solidFill>
                        <a:effectLst/>
                        <a:latin typeface="Meiryo UI" panose="020B0604030504040204" pitchFamily="50" charset="-128"/>
                        <a:ea typeface="Meiryo UI" panose="020B0604030504040204" pitchFamily="50" charset="-128"/>
                      </a:endParaRPr>
                    </a:p>
                  </a:txBody>
                  <a:tcPr marL="76339" marR="76339" marT="38170" marB="38170">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631433290"/>
                  </a:ext>
                </a:extLst>
              </a:tr>
              <a:tr h="520700">
                <a:tc>
                  <a:txBody>
                    <a:bodyPr/>
                    <a:lstStyle/>
                    <a:p>
                      <a:pPr algn="ctr" fontAlgn="base"/>
                      <a:r>
                        <a:rPr lang="ja-JP" altLang="en-US" sz="1400" b="0" i="0">
                          <a:solidFill>
                            <a:srgbClr val="000000"/>
                          </a:solidFill>
                          <a:effectLst/>
                          <a:latin typeface="Meiryo UI" panose="020B0604030504040204" pitchFamily="50" charset="-128"/>
                          <a:ea typeface="Meiryo UI" panose="020B0604030504040204" pitchFamily="50" charset="-128"/>
                        </a:rPr>
                        <a:t>検索機能​</a:t>
                      </a:r>
                    </a:p>
                  </a:txBody>
                  <a:tcPr marL="76339" marR="76339" marT="38170" marB="38170" anchor="ctr">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solidFill>
                      <a:srgbClr val="DCE6F2"/>
                    </a:solidFill>
                  </a:tcPr>
                </a:tc>
                <a:tc>
                  <a:txBody>
                    <a:bodyPr/>
                    <a:lstStyle/>
                    <a:p>
                      <a:pPr marL="285750" indent="-285750" algn="l" fontAlgn="base">
                        <a:buFont typeface="Arial" panose="020B0604020202020204" pitchFamily="34" charset="0"/>
                        <a:buChar char="•"/>
                      </a:pPr>
                      <a:r>
                        <a:rPr lang="ja-JP" altLang="en-US" sz="1400" b="0" i="0">
                          <a:solidFill>
                            <a:srgbClr val="000000"/>
                          </a:solidFill>
                          <a:effectLst/>
                          <a:latin typeface="Meiryo UI" panose="020B0604030504040204" pitchFamily="50" charset="-128"/>
                          <a:ea typeface="Meiryo UI" panose="020B0604030504040204" pitchFamily="50" charset="-128"/>
                        </a:rPr>
                        <a:t>タイトル・資料内の文章を含めた全文検索が可能</a:t>
                      </a:r>
                      <a:endParaRPr lang="en-US" altLang="ja-JP" sz="1400" b="0" i="0">
                        <a:solidFill>
                          <a:srgbClr val="000000"/>
                        </a:solidFill>
                        <a:effectLst/>
                        <a:latin typeface="Meiryo UI" panose="020B0604030504040204" pitchFamily="50" charset="-128"/>
                        <a:ea typeface="Meiryo UI" panose="020B0604030504040204" pitchFamily="50" charset="-128"/>
                      </a:endParaRPr>
                    </a:p>
                    <a:p>
                      <a:pPr marL="285750" indent="-285750" algn="l" fontAlgn="base">
                        <a:buFont typeface="Arial" panose="020B0604020202020204" pitchFamily="34" charset="0"/>
                        <a:buChar char="•"/>
                      </a:pPr>
                      <a:endParaRPr lang="ja-JP" altLang="en-US" sz="1400" b="0" i="0">
                        <a:solidFill>
                          <a:srgbClr val="000000"/>
                        </a:solidFill>
                        <a:effectLst/>
                        <a:latin typeface="Meiryo UI" panose="020B0604030504040204" pitchFamily="50" charset="-128"/>
                        <a:ea typeface="Meiryo UI" panose="020B0604030504040204" pitchFamily="50" charset="-128"/>
                      </a:endParaRPr>
                    </a:p>
                  </a:txBody>
                  <a:tcPr marL="76339" marR="76339" marT="38170" marB="38170">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solidFill>
                      <a:srgbClr val="FFFFFF"/>
                    </a:solidFill>
                  </a:tcPr>
                </a:tc>
                <a:tc>
                  <a:txBody>
                    <a:bodyPr/>
                    <a:lstStyle/>
                    <a:p>
                      <a:pPr marL="285750" indent="-285750" algn="l" fontAlgn="base">
                        <a:buFont typeface="Arial" panose="020B0604020202020204" pitchFamily="34" charset="0"/>
                        <a:buChar char="•"/>
                      </a:pPr>
                      <a:r>
                        <a:rPr lang="ja-JP" altLang="en-US" sz="1400" b="0" i="0">
                          <a:solidFill>
                            <a:srgbClr val="000000"/>
                          </a:solidFill>
                          <a:effectLst/>
                          <a:latin typeface="Meiryo UI" panose="020B0604030504040204" pitchFamily="50" charset="-128"/>
                          <a:ea typeface="Meiryo UI" panose="020B0604030504040204" pitchFamily="50" charset="-128"/>
                        </a:rPr>
                        <a:t>タイトル・資料内の文章を含めた全文</a:t>
                      </a:r>
                      <a:r>
                        <a:rPr kumimoji="1" lang="ja-JP" altLang="en-US" sz="1400" b="0" i="0" kern="1200">
                          <a:solidFill>
                            <a:srgbClr val="000000"/>
                          </a:solidFill>
                          <a:effectLst/>
                          <a:latin typeface="Meiryo UI" panose="020B0604030504040204" pitchFamily="50" charset="-128"/>
                          <a:ea typeface="Meiryo UI" panose="020B0604030504040204" pitchFamily="50" charset="-128"/>
                          <a:cs typeface="+mn-cs"/>
                        </a:rPr>
                        <a:t>検索に加えて、</a:t>
                      </a:r>
                      <a:r>
                        <a:rPr kumimoji="1" lang="ja-JP" altLang="en-US" sz="1400" b="0" i="0" kern="1200" noProof="0">
                          <a:solidFill>
                            <a:srgbClr val="000000"/>
                          </a:solidFill>
                          <a:effectLst/>
                          <a:latin typeface="Meiryo UI" panose="020B0604030504040204" pitchFamily="50" charset="-128"/>
                          <a:ea typeface="Meiryo UI" panose="020B0604030504040204" pitchFamily="50" charset="-128"/>
                          <a:cs typeface="+mn-cs"/>
                        </a:rPr>
                        <a:t>「お客さま対応で必要なこと」「その後のアプローチ方法」をあいまい検索機能を通じて提示可能に。</a:t>
                      </a:r>
                      <a:endParaRPr kumimoji="1" lang="ja-JP" altLang="en-US" sz="1400" b="0" i="0" kern="1200">
                        <a:solidFill>
                          <a:srgbClr val="000000"/>
                        </a:solidFill>
                        <a:effectLst/>
                        <a:latin typeface="Meiryo UI" panose="020B0604030504040204" pitchFamily="50" charset="-128"/>
                        <a:ea typeface="Meiryo UI" panose="020B0604030504040204" pitchFamily="50" charset="-128"/>
                        <a:cs typeface="+mn-cs"/>
                      </a:endParaRPr>
                    </a:p>
                  </a:txBody>
                  <a:tcPr marL="76339" marR="76339" marT="38170" marB="38170">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579785025"/>
                  </a:ext>
                </a:extLst>
              </a:tr>
              <a:tr h="1013320">
                <a:tc>
                  <a:txBody>
                    <a:bodyPr/>
                    <a:lstStyle/>
                    <a:p>
                      <a:pPr algn="ctr" fontAlgn="base"/>
                      <a:r>
                        <a:rPr lang="ja-JP" altLang="en-US" sz="1400" b="1" i="0">
                          <a:solidFill>
                            <a:srgbClr val="000000"/>
                          </a:solidFill>
                          <a:effectLst/>
                          <a:latin typeface="Meiryo UI" panose="020B0604030504040204" pitchFamily="50" charset="-128"/>
                          <a:ea typeface="Meiryo UI" panose="020B0604030504040204" pitchFamily="50" charset="-128"/>
                        </a:rPr>
                        <a:t>課題</a:t>
                      </a:r>
                      <a:endParaRPr lang="en-US" altLang="ja-JP" sz="1400" b="0" i="0">
                        <a:solidFill>
                          <a:srgbClr val="000000"/>
                        </a:solidFill>
                        <a:effectLst/>
                        <a:latin typeface="Meiryo UI" panose="020B0604030504040204" pitchFamily="50" charset="-128"/>
                        <a:ea typeface="Meiryo UI" panose="020B0604030504040204" pitchFamily="50" charset="-128"/>
                      </a:endParaRPr>
                    </a:p>
                  </a:txBody>
                  <a:tcPr marL="76339" marR="76339" marT="38170" marB="38170" anchor="ctr">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solidFill>
                      <a:srgbClr val="DCE6F2"/>
                    </a:solidFill>
                  </a:tcPr>
                </a:tc>
                <a:tc>
                  <a:txBody>
                    <a:bodyPr/>
                    <a:lstStyle/>
                    <a:p>
                      <a:pPr marL="285750" indent="-285750" algn="l" fontAlgn="base">
                        <a:buFont typeface="Arial" panose="020B0604020202020204" pitchFamily="34" charset="0"/>
                        <a:buChar char="•"/>
                      </a:pPr>
                      <a:r>
                        <a:rPr lang="ja-JP" altLang="en-US" sz="1400" b="0" i="0" dirty="0">
                          <a:solidFill>
                            <a:srgbClr val="000000"/>
                          </a:solidFill>
                          <a:effectLst/>
                          <a:latin typeface="Meiryo UI" panose="020B0604030504040204" pitchFamily="50" charset="-128"/>
                          <a:ea typeface="Meiryo UI" panose="020B0604030504040204" pitchFamily="50" charset="-128"/>
                        </a:rPr>
                        <a:t>カナ・かなは一致させる必要がある（一致させないでも検索可能とするとなると、開発コストや、検索に時間がかかる仕様になる等の課題あり）</a:t>
                      </a:r>
                    </a:p>
                  </a:txBody>
                  <a:tcPr marL="76339" marR="76339" marT="38170" marB="38170">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solidFill>
                      <a:srgbClr val="FFFFFF"/>
                    </a:solidFill>
                  </a:tcPr>
                </a:tc>
                <a:tc>
                  <a:txBody>
                    <a:bodyPr/>
                    <a:lstStyle/>
                    <a:p>
                      <a:pPr marL="285750" indent="-285750" algn="l" fontAlgn="base">
                        <a:buFont typeface="Arial" panose="020B0604020202020204" pitchFamily="34" charset="0"/>
                        <a:buChar char="•"/>
                      </a:pPr>
                      <a:r>
                        <a:rPr lang="en-US" altLang="ja-JP" sz="1400" b="0" i="0" dirty="0">
                          <a:solidFill>
                            <a:srgbClr val="000000"/>
                          </a:solidFill>
                          <a:effectLst/>
                          <a:latin typeface="Meiryo UI" panose="020B0604030504040204" pitchFamily="50" charset="-128"/>
                          <a:ea typeface="Meiryo UI" panose="020B0604030504040204" pitchFamily="50" charset="-128"/>
                        </a:rPr>
                        <a:t>【</a:t>
                      </a:r>
                      <a:r>
                        <a:rPr lang="ja-JP" altLang="en-US" sz="1400" b="0" i="0" dirty="0">
                          <a:solidFill>
                            <a:srgbClr val="000000"/>
                          </a:solidFill>
                          <a:effectLst/>
                          <a:latin typeface="Meiryo UI" panose="020B0604030504040204" pitchFamily="50" charset="-128"/>
                          <a:ea typeface="Meiryo UI" panose="020B0604030504040204" pitchFamily="50" charset="-128"/>
                        </a:rPr>
                        <a:t>要確認</a:t>
                      </a:r>
                      <a:r>
                        <a:rPr lang="en-US" altLang="ja-JP" sz="1400" b="0" i="0" dirty="0">
                          <a:solidFill>
                            <a:srgbClr val="000000"/>
                          </a:solidFill>
                          <a:effectLst/>
                          <a:latin typeface="Meiryo UI" panose="020B0604030504040204" pitchFamily="50" charset="-128"/>
                          <a:ea typeface="Meiryo UI" panose="020B0604030504040204" pitchFamily="50" charset="-128"/>
                        </a:rPr>
                        <a:t>】</a:t>
                      </a:r>
                      <a:r>
                        <a:rPr lang="ja-JP" altLang="en-US" sz="1400" b="0" i="0" dirty="0">
                          <a:solidFill>
                            <a:srgbClr val="000000"/>
                          </a:solidFill>
                          <a:effectLst/>
                          <a:latin typeface="Meiryo UI" panose="020B0604030504040204" pitchFamily="50" charset="-128"/>
                          <a:ea typeface="Meiryo UI" panose="020B0604030504040204" pitchFamily="50" charset="-128"/>
                        </a:rPr>
                        <a:t>バディ側でライフイベントや状況、変化等のキーワードをチューニングすることで、</a:t>
                      </a:r>
                      <a:r>
                        <a:rPr lang="en-US" altLang="ja-JP" sz="1400" b="0" i="0" dirty="0">
                          <a:solidFill>
                            <a:srgbClr val="000000"/>
                          </a:solidFill>
                          <a:effectLst/>
                          <a:latin typeface="Meiryo UI" panose="020B0604030504040204" pitchFamily="50" charset="-128"/>
                          <a:ea typeface="Meiryo UI" panose="020B0604030504040204" pitchFamily="50" charset="-128"/>
                        </a:rPr>
                        <a:t>AI</a:t>
                      </a:r>
                      <a:r>
                        <a:rPr lang="ja-JP" altLang="en-US" sz="1400" b="0" i="0" dirty="0">
                          <a:solidFill>
                            <a:srgbClr val="000000"/>
                          </a:solidFill>
                          <a:effectLst/>
                          <a:latin typeface="Meiryo UI" panose="020B0604030504040204" pitchFamily="50" charset="-128"/>
                          <a:ea typeface="Meiryo UI" panose="020B0604030504040204" pitchFamily="50" charset="-128"/>
                        </a:rPr>
                        <a:t>機能を活用して、ただ検索結果を返すだけでなく、必要な手続き、そのあとに使用される教材・資料などを提示することができるのか。</a:t>
                      </a:r>
                      <a:endParaRPr lang="en-US" altLang="ja-JP" sz="1400" b="0" i="0" dirty="0">
                        <a:solidFill>
                          <a:srgbClr val="000000"/>
                        </a:solidFill>
                        <a:effectLst/>
                        <a:latin typeface="Meiryo UI" panose="020B0604030504040204" pitchFamily="50" charset="-128"/>
                        <a:ea typeface="Meiryo UI" panose="020B0604030504040204" pitchFamily="50" charset="-128"/>
                      </a:endParaRPr>
                    </a:p>
                  </a:txBody>
                  <a:tcPr marL="76339" marR="76339" marT="38170" marB="38170">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2560076045"/>
                  </a:ext>
                </a:extLst>
              </a:tr>
            </a:tbl>
          </a:graphicData>
        </a:graphic>
      </p:graphicFrame>
      <p:sp>
        <p:nvSpPr>
          <p:cNvPr id="9" name="Rectangle 1">
            <a:extLst>
              <a:ext uri="{FF2B5EF4-FFF2-40B4-BE49-F238E27FC236}">
                <a16:creationId xmlns:a16="http://schemas.microsoft.com/office/drawing/2014/main" id="{F3178955-A258-3965-ED4C-900C55E24AF4}"/>
              </a:ext>
            </a:extLst>
          </p:cNvPr>
          <p:cNvSpPr>
            <a:spLocks noChangeArrowheads="1"/>
          </p:cNvSpPr>
          <p:nvPr/>
        </p:nvSpPr>
        <p:spPr bwMode="auto">
          <a:xfrm>
            <a:off x="1333500" y="1825625"/>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ja-JP" altLang="ja-JP" sz="1800" b="0" i="0" u="none" strike="noStrike" cap="none" normalizeH="0" baseline="0">
                <a:ln>
                  <a:noFill/>
                </a:ln>
                <a:solidFill>
                  <a:srgbClr val="000000"/>
                </a:solidFill>
                <a:effectLst/>
                <a:latin typeface="メイリオ" panose="020B0604030504040204" pitchFamily="50" charset="-128"/>
                <a:ea typeface="メイリオ" panose="020B0604030504040204" pitchFamily="50" charset="-128"/>
              </a:rPr>
              <a:t> </a:t>
            </a:r>
            <a:endParaRPr kumimoji="0" lang="ja-JP" altLang="ja-JP" sz="1800" b="0" i="0" u="none" strike="noStrike" cap="none" normalizeH="0" baseline="0">
              <a:ln>
                <a:noFill/>
              </a:ln>
              <a:solidFill>
                <a:schemeClr val="tx1"/>
              </a:solidFill>
              <a:effectLst/>
            </a:endParaRPr>
          </a:p>
          <a:p>
            <a:pPr marL="0" marR="0" lvl="0" indent="0" algn="l" defTabSz="914400" rtl="0" eaLnBrk="0" fontAlgn="base" latinLnBrk="0" hangingPunct="0">
              <a:lnSpc>
                <a:spcPct val="100000"/>
              </a:lnSpc>
              <a:spcBef>
                <a:spcPct val="0"/>
              </a:spcBef>
              <a:spcAft>
                <a:spcPct val="0"/>
              </a:spcAft>
              <a:buClrTx/>
              <a:buSzTx/>
              <a:buFontTx/>
              <a:buNone/>
              <a:tabLst/>
            </a:pPr>
            <a:endParaRPr kumimoji="0" lang="ja-JP" altLang="ja-JP" sz="1800" b="0" i="0" u="none" strike="noStrike" cap="none" normalizeH="0" baseline="0">
              <a:ln>
                <a:noFill/>
              </a:ln>
              <a:solidFill>
                <a:schemeClr val="tx1"/>
              </a:solidFill>
              <a:effectLst/>
              <a:latin typeface="Arial" panose="020B0604020202020204" pitchFamily="34" charset="0"/>
            </a:endParaRPr>
          </a:p>
        </p:txBody>
      </p:sp>
      <p:sp>
        <p:nvSpPr>
          <p:cNvPr id="2" name="タイトル 1">
            <a:extLst>
              <a:ext uri="{FF2B5EF4-FFF2-40B4-BE49-F238E27FC236}">
                <a16:creationId xmlns:a16="http://schemas.microsoft.com/office/drawing/2014/main" id="{ECF0563D-B176-583A-CFD3-DCC9CDF7459B}"/>
              </a:ext>
            </a:extLst>
          </p:cNvPr>
          <p:cNvSpPr txBox="1">
            <a:spLocks/>
          </p:cNvSpPr>
          <p:nvPr/>
        </p:nvSpPr>
        <p:spPr>
          <a:xfrm>
            <a:off x="317802" y="53214"/>
            <a:ext cx="11328097" cy="738452"/>
          </a:xfrm>
          <a:prstGeom prst="rect">
            <a:avLst/>
          </a:prstGeom>
        </p:spPr>
        <p:txBody>
          <a:bodyPr>
            <a:noAutofit/>
          </a:bodyPr>
          <a:lstStyle>
            <a:lvl1pPr algn="l" defTabSz="1219170" rtl="0" eaLnBrk="1" latinLnBrk="0" hangingPunct="1">
              <a:lnSpc>
                <a:spcPct val="100000"/>
              </a:lnSpc>
              <a:spcBef>
                <a:spcPct val="0"/>
              </a:spcBef>
              <a:buNone/>
              <a:defRPr kumimoji="1" sz="2400" kern="1200">
                <a:solidFill>
                  <a:schemeClr val="tx1"/>
                </a:solidFill>
                <a:latin typeface="Meiryo UI" panose="020B0604030504040204" pitchFamily="50" charset="-128"/>
                <a:ea typeface="Meiryo UI" panose="020B0604030504040204" pitchFamily="50" charset="-128"/>
                <a:cs typeface="+mj-cs"/>
              </a:defRPr>
            </a:lvl1pPr>
          </a:lstStyle>
          <a:p>
            <a:pPr marL="0" marR="0" lvl="0" indent="0" algn="l" defTabSz="1219170" rtl="0" eaLnBrk="1" fontAlgn="auto" latinLnBrk="0" hangingPunct="1">
              <a:lnSpc>
                <a:spcPct val="100000"/>
              </a:lnSpc>
              <a:spcBef>
                <a:spcPct val="0"/>
              </a:spcBef>
              <a:spcAft>
                <a:spcPts val="0"/>
              </a:spcAft>
              <a:buClrTx/>
              <a:buSzTx/>
              <a:buFontTx/>
              <a:buNone/>
              <a:tabLst/>
              <a:defRPr/>
            </a:pPr>
            <a:r>
              <a:rPr kumimoji="1" lang="ja-JP" altLang="en-US" sz="2400" b="1" i="0" u="none" strike="noStrike" kern="1200" cap="none" spc="0" normalizeH="0" baseline="0" noProof="0">
                <a:ln>
                  <a:noFill/>
                </a:ln>
                <a:solidFill>
                  <a:srgbClr val="282828"/>
                </a:solidFill>
                <a:effectLst/>
                <a:uLnTx/>
                <a:uFillTx/>
                <a:latin typeface="Meiryo UI" panose="020B0604030504040204" pitchFamily="50" charset="-128"/>
                <a:ea typeface="Meiryo UI" panose="020B0604030504040204" pitchFamily="50" charset="-128"/>
                <a:cs typeface="+mj-cs"/>
              </a:rPr>
              <a:t>自律型教育（デジ棚）</a:t>
            </a:r>
            <a:endParaRPr kumimoji="1" lang="en-US" altLang="ja-JP" sz="2400" b="1" i="0" u="none" strike="noStrike" kern="1200" cap="none" spc="0" normalizeH="0" baseline="0" noProof="0">
              <a:ln>
                <a:noFill/>
              </a:ln>
              <a:solidFill>
                <a:srgbClr val="282828"/>
              </a:solidFill>
              <a:effectLst/>
              <a:uLnTx/>
              <a:uFillTx/>
              <a:latin typeface="Meiryo UI" panose="020B0604030504040204" pitchFamily="50" charset="-128"/>
              <a:ea typeface="Meiryo UI" panose="020B0604030504040204" pitchFamily="50" charset="-128"/>
              <a:cs typeface="+mj-cs"/>
            </a:endParaRPr>
          </a:p>
          <a:p>
            <a:pPr marL="0" marR="0" lvl="0" indent="0" algn="l" defTabSz="1219170" rtl="0" eaLnBrk="1" fontAlgn="auto" latinLnBrk="0" hangingPunct="1">
              <a:lnSpc>
                <a:spcPct val="100000"/>
              </a:lnSpc>
              <a:spcBef>
                <a:spcPct val="0"/>
              </a:spcBef>
              <a:spcAft>
                <a:spcPts val="0"/>
              </a:spcAft>
              <a:buClrTx/>
              <a:buSzTx/>
              <a:buFontTx/>
              <a:buNone/>
              <a:tabLst/>
              <a:defRPr/>
            </a:pPr>
            <a:r>
              <a:rPr kumimoji="1" lang="ja-JP" altLang="en-US" sz="2000" b="0" i="0" u="none" strike="noStrike" kern="1200" cap="none" spc="0" normalizeH="0" baseline="0" noProof="0">
                <a:ln>
                  <a:noFill/>
                </a:ln>
                <a:solidFill>
                  <a:srgbClr val="282828"/>
                </a:solidFill>
                <a:effectLst/>
                <a:uLnTx/>
                <a:uFillTx/>
                <a:latin typeface="Meiryo UI" panose="020B0604030504040204" pitchFamily="50" charset="-128"/>
                <a:ea typeface="Meiryo UI" panose="020B0604030504040204" pitchFamily="50" charset="-128"/>
                <a:cs typeface="+mj-cs"/>
              </a:rPr>
              <a:t>～あいまい検索導入に伴う実現したい姿～</a:t>
            </a:r>
            <a:endParaRPr kumimoji="1" lang="en-US" altLang="ja-JP" sz="2000" b="0" i="0" u="none" strike="noStrike" kern="1200" cap="none" spc="0" normalizeH="0" baseline="0" noProof="0">
              <a:ln>
                <a:noFill/>
              </a:ln>
              <a:solidFill>
                <a:srgbClr val="282828"/>
              </a:solidFill>
              <a:effectLst/>
              <a:uLnTx/>
              <a:uFillTx/>
              <a:latin typeface="Meiryo UI" panose="020B0604030504040204" pitchFamily="50" charset="-128"/>
              <a:ea typeface="Meiryo UI" panose="020B0604030504040204" pitchFamily="50" charset="-128"/>
              <a:cs typeface="+mj-cs"/>
            </a:endParaRPr>
          </a:p>
        </p:txBody>
      </p:sp>
      <p:sp>
        <p:nvSpPr>
          <p:cNvPr id="5" name="テキスト ボックス 4">
            <a:extLst>
              <a:ext uri="{FF2B5EF4-FFF2-40B4-BE49-F238E27FC236}">
                <a16:creationId xmlns:a16="http://schemas.microsoft.com/office/drawing/2014/main" id="{E50A2AC3-5121-B692-34BB-7E8381C7ACE9}"/>
              </a:ext>
            </a:extLst>
          </p:cNvPr>
          <p:cNvSpPr txBox="1"/>
          <p:nvPr/>
        </p:nvSpPr>
        <p:spPr>
          <a:xfrm>
            <a:off x="289042" y="1008059"/>
            <a:ext cx="11690595" cy="684803"/>
          </a:xfrm>
          <a:prstGeom prst="rect">
            <a:avLst/>
          </a:prstGeom>
          <a:solidFill>
            <a:srgbClr val="EEECE1"/>
          </a:solidFill>
        </p:spPr>
        <p:txBody>
          <a:bodyPr wrap="square" lIns="288000" rIns="180000">
            <a:spAutoFit/>
          </a:bodyPr>
          <a:lstStyle/>
          <a:p>
            <a:pPr marL="0" marR="0" lvl="0" indent="0" defTabSz="914400" eaLnBrk="1" fontAlgn="auto" latinLnBrk="0" hangingPunct="1">
              <a:lnSpc>
                <a:spcPct val="100000"/>
              </a:lnSpc>
              <a:spcBef>
                <a:spcPts val="300"/>
              </a:spcBef>
              <a:spcAft>
                <a:spcPts val="0"/>
              </a:spcAft>
              <a:buClrTx/>
              <a:buSzTx/>
              <a:buFontTx/>
              <a:buNone/>
              <a:tabLst/>
              <a:defRPr/>
            </a:pPr>
            <a:r>
              <a:rPr kumimoji="0" lang="ja-JP" altLang="en-US" sz="1800" b="0" i="0" u="none" strike="noStrike" kern="0" cap="none" spc="0" normalizeH="0" baseline="0" noProof="0">
                <a:ln>
                  <a:noFill/>
                </a:ln>
                <a:solidFill>
                  <a:srgbClr val="000000"/>
                </a:solidFill>
                <a:effectLst/>
                <a:uLnTx/>
                <a:uFillTx/>
                <a:latin typeface="Meiryo UI"/>
                <a:ea typeface="Meiryo UI"/>
              </a:rPr>
              <a:t>・お客さまの体験価値を高めるため、生涯設計</a:t>
            </a:r>
            <a:r>
              <a:rPr kumimoji="0" lang="en-US" altLang="ja-JP" sz="1800" b="0" i="0" u="none" strike="noStrike" kern="0" cap="none" spc="0" normalizeH="0" baseline="0" noProof="0">
                <a:ln>
                  <a:noFill/>
                </a:ln>
                <a:solidFill>
                  <a:srgbClr val="000000"/>
                </a:solidFill>
                <a:effectLst/>
                <a:uLnTx/>
                <a:uFillTx/>
                <a:latin typeface="Meiryo UI"/>
                <a:ea typeface="Meiryo UI"/>
              </a:rPr>
              <a:t>D</a:t>
            </a:r>
            <a:r>
              <a:rPr kumimoji="0" lang="ja-JP" altLang="en-US" sz="1800" b="0" i="0" u="none" strike="noStrike" kern="0" cap="none" spc="0" normalizeH="0" baseline="0" noProof="0">
                <a:ln>
                  <a:noFill/>
                </a:ln>
                <a:solidFill>
                  <a:srgbClr val="000000"/>
                </a:solidFill>
                <a:effectLst/>
                <a:uLnTx/>
                <a:uFillTx/>
                <a:latin typeface="Meiryo UI"/>
                <a:ea typeface="Meiryo UI"/>
              </a:rPr>
              <a:t>が自ら学びスキルを高めていくことができる仕組みを構築する</a:t>
            </a:r>
            <a:endParaRPr kumimoji="0" lang="en-US" altLang="ja-JP" sz="1800" b="0" i="0" u="none" strike="noStrike" kern="0" cap="none" spc="0" normalizeH="0" baseline="0" noProof="0">
              <a:ln>
                <a:noFill/>
              </a:ln>
              <a:solidFill>
                <a:srgbClr val="000000"/>
              </a:solidFill>
              <a:effectLst/>
              <a:uLnTx/>
              <a:uFillTx/>
              <a:latin typeface="Meiryo UI"/>
              <a:ea typeface="Meiryo UI"/>
            </a:endParaRPr>
          </a:p>
          <a:p>
            <a:pPr marL="85725" marR="0" lvl="0" indent="-85725" defTabSz="914400" eaLnBrk="1" fontAlgn="auto" latinLnBrk="0" hangingPunct="1">
              <a:lnSpc>
                <a:spcPct val="100000"/>
              </a:lnSpc>
              <a:spcBef>
                <a:spcPts val="300"/>
              </a:spcBef>
              <a:spcAft>
                <a:spcPts val="0"/>
              </a:spcAft>
              <a:buClrTx/>
              <a:buSzTx/>
              <a:buFontTx/>
              <a:buNone/>
              <a:tabLst/>
              <a:defRPr/>
            </a:pPr>
            <a:r>
              <a:rPr kumimoji="0" lang="ja-JP" altLang="en-US" sz="1800" b="0" i="0" u="none" strike="noStrike" kern="0" cap="none" spc="0" normalizeH="0" baseline="0" noProof="0">
                <a:ln>
                  <a:noFill/>
                </a:ln>
                <a:solidFill>
                  <a:srgbClr val="000000"/>
                </a:solidFill>
                <a:effectLst/>
                <a:uLnTx/>
                <a:uFillTx/>
                <a:latin typeface="Meiryo UI"/>
                <a:ea typeface="Meiryo UI"/>
              </a:rPr>
              <a:t>・</a:t>
            </a:r>
            <a:r>
              <a:rPr kumimoji="0" lang="en-US" altLang="ja-JP" sz="1800" b="0" i="0" u="none" strike="noStrike" kern="0" cap="none" spc="0" normalizeH="0" baseline="0" noProof="0">
                <a:ln>
                  <a:noFill/>
                </a:ln>
                <a:solidFill>
                  <a:srgbClr val="000000"/>
                </a:solidFill>
                <a:effectLst/>
                <a:uLnTx/>
                <a:uFillTx/>
                <a:latin typeface="Meiryo UI"/>
                <a:ea typeface="Meiryo UI"/>
              </a:rPr>
              <a:t>『</a:t>
            </a:r>
            <a:r>
              <a:rPr kumimoji="0" lang="ja-JP" altLang="en-US" sz="1800" b="0" i="0" u="none" strike="noStrike" kern="0" cap="none" spc="0" normalizeH="0" baseline="0" noProof="0">
                <a:ln>
                  <a:noFill/>
                </a:ln>
                <a:solidFill>
                  <a:srgbClr val="000000"/>
                </a:solidFill>
                <a:effectLst/>
                <a:uLnTx/>
                <a:uFillTx/>
                <a:latin typeface="Meiryo UI"/>
                <a:ea typeface="Meiryo UI"/>
              </a:rPr>
              <a:t>あいまい検索</a:t>
            </a:r>
            <a:r>
              <a:rPr kumimoji="0" lang="en-US" altLang="ja-JP" sz="1800" b="0" i="0" u="none" strike="noStrike" kern="0" cap="none" spc="0" normalizeH="0" baseline="0" noProof="0">
                <a:ln>
                  <a:noFill/>
                </a:ln>
                <a:solidFill>
                  <a:srgbClr val="000000"/>
                </a:solidFill>
                <a:effectLst/>
                <a:uLnTx/>
                <a:uFillTx/>
                <a:latin typeface="Meiryo UI"/>
                <a:ea typeface="Meiryo UI"/>
              </a:rPr>
              <a:t>』</a:t>
            </a:r>
            <a:r>
              <a:rPr kumimoji="0" lang="ja-JP" altLang="en-US" sz="1800" b="0" i="0" u="none" strike="noStrike" kern="0" cap="none" spc="0" normalizeH="0" baseline="0" noProof="0">
                <a:ln>
                  <a:noFill/>
                </a:ln>
                <a:solidFill>
                  <a:srgbClr val="000000"/>
                </a:solidFill>
                <a:effectLst/>
                <a:uLnTx/>
                <a:uFillTx/>
                <a:latin typeface="Meiryo UI"/>
                <a:ea typeface="Meiryo UI"/>
              </a:rPr>
              <a:t>については特定のお客さまに対して </a:t>
            </a:r>
            <a:r>
              <a:rPr kumimoji="0" lang="ja-JP" altLang="en-US" sz="1800" b="1" i="0" u="none" strike="noStrike" kern="0" cap="none" spc="0" normalizeH="0" baseline="0" noProof="0">
                <a:ln>
                  <a:noFill/>
                </a:ln>
                <a:solidFill>
                  <a:srgbClr val="C00000"/>
                </a:solidFill>
                <a:effectLst/>
                <a:uLnTx/>
                <a:uFillTx/>
                <a:latin typeface="Meiryo UI"/>
                <a:ea typeface="Meiryo UI"/>
              </a:rPr>
              <a:t>“（次回）訪問・お客さま対応のヒントに繋がる” </a:t>
            </a:r>
            <a:r>
              <a:rPr kumimoji="0" lang="ja-JP" altLang="en-US" sz="1800" b="0" i="0" u="none" strike="noStrike" kern="0" cap="none" spc="0" normalizeH="0" baseline="0" noProof="0">
                <a:ln>
                  <a:noFill/>
                </a:ln>
                <a:solidFill>
                  <a:srgbClr val="000000"/>
                </a:solidFill>
                <a:effectLst/>
                <a:uLnTx/>
                <a:uFillTx/>
                <a:latin typeface="Meiryo UI"/>
                <a:ea typeface="Meiryo UI"/>
              </a:rPr>
              <a:t>ような機能にしたい</a:t>
            </a:r>
          </a:p>
        </p:txBody>
      </p:sp>
      <p:sp>
        <p:nvSpPr>
          <p:cNvPr id="6" name="タイトル 1">
            <a:extLst>
              <a:ext uri="{FF2B5EF4-FFF2-40B4-BE49-F238E27FC236}">
                <a16:creationId xmlns:a16="http://schemas.microsoft.com/office/drawing/2014/main" id="{41D75815-6874-8D11-6F0B-57A6441AD7AC}"/>
              </a:ext>
            </a:extLst>
          </p:cNvPr>
          <p:cNvSpPr txBox="1">
            <a:spLocks/>
          </p:cNvSpPr>
          <p:nvPr/>
        </p:nvSpPr>
        <p:spPr>
          <a:xfrm>
            <a:off x="516044" y="1983304"/>
            <a:ext cx="4546311" cy="738452"/>
          </a:xfrm>
          <a:prstGeom prst="rect">
            <a:avLst/>
          </a:prstGeom>
        </p:spPr>
        <p:txBody>
          <a:bodyPr>
            <a:noAutofit/>
          </a:bodyPr>
          <a:lstStyle>
            <a:lvl1pPr algn="l" defTabSz="1219170" rtl="0" eaLnBrk="1" latinLnBrk="0" hangingPunct="1">
              <a:lnSpc>
                <a:spcPct val="100000"/>
              </a:lnSpc>
              <a:spcBef>
                <a:spcPct val="0"/>
              </a:spcBef>
              <a:buNone/>
              <a:defRPr kumimoji="1" sz="2400" kern="1200">
                <a:solidFill>
                  <a:schemeClr val="tx1"/>
                </a:solidFill>
                <a:latin typeface="Meiryo UI" panose="020B0604030504040204" pitchFamily="50" charset="-128"/>
                <a:ea typeface="Meiryo UI" panose="020B0604030504040204" pitchFamily="50" charset="-128"/>
                <a:cs typeface="+mj-cs"/>
              </a:defRPr>
            </a:lvl1pPr>
          </a:lstStyle>
          <a:p>
            <a:pPr marL="0" marR="0" lvl="0" indent="0" algn="l" defTabSz="1219170" rtl="0" eaLnBrk="1" fontAlgn="auto" latinLnBrk="0" hangingPunct="1">
              <a:lnSpc>
                <a:spcPct val="100000"/>
              </a:lnSpc>
              <a:spcBef>
                <a:spcPct val="0"/>
              </a:spcBef>
              <a:spcAft>
                <a:spcPts val="0"/>
              </a:spcAft>
              <a:buClrTx/>
              <a:buSzTx/>
              <a:buFontTx/>
              <a:buNone/>
              <a:tabLst/>
              <a:defRPr/>
            </a:pPr>
            <a:r>
              <a:rPr lang="ja-JP" altLang="en-US" sz="1800" b="1">
                <a:solidFill>
                  <a:srgbClr val="282828"/>
                </a:solidFill>
              </a:rPr>
              <a:t>機能比較（</a:t>
            </a:r>
            <a:r>
              <a:rPr lang="en-US" altLang="ja-JP" sz="1800" b="1">
                <a:solidFill>
                  <a:srgbClr val="282828"/>
                </a:solidFill>
              </a:rPr>
              <a:t>2025</a:t>
            </a:r>
            <a:r>
              <a:rPr lang="ja-JP" altLang="en-US" sz="1800" b="1">
                <a:solidFill>
                  <a:srgbClr val="282828"/>
                </a:solidFill>
              </a:rPr>
              <a:t>年</a:t>
            </a:r>
            <a:r>
              <a:rPr lang="en-US" altLang="ja-JP" sz="1800" b="1">
                <a:solidFill>
                  <a:srgbClr val="282828"/>
                </a:solidFill>
              </a:rPr>
              <a:t>10</a:t>
            </a:r>
            <a:r>
              <a:rPr lang="ja-JP" altLang="en-US" sz="1800" b="1">
                <a:solidFill>
                  <a:srgbClr val="282828"/>
                </a:solidFill>
              </a:rPr>
              <a:t>月ー</a:t>
            </a:r>
            <a:r>
              <a:rPr lang="en-US" altLang="ja-JP" sz="1800" b="1">
                <a:solidFill>
                  <a:srgbClr val="282828"/>
                </a:solidFill>
              </a:rPr>
              <a:t>2026</a:t>
            </a:r>
            <a:r>
              <a:rPr lang="ja-JP" altLang="en-US" sz="1800" b="1">
                <a:solidFill>
                  <a:srgbClr val="282828"/>
                </a:solidFill>
              </a:rPr>
              <a:t>年</a:t>
            </a:r>
            <a:r>
              <a:rPr lang="en-US" altLang="ja-JP" sz="1800" b="1">
                <a:solidFill>
                  <a:srgbClr val="282828"/>
                </a:solidFill>
              </a:rPr>
              <a:t>4</a:t>
            </a:r>
            <a:r>
              <a:rPr lang="ja-JP" altLang="en-US" sz="1800" b="1">
                <a:solidFill>
                  <a:srgbClr val="282828"/>
                </a:solidFill>
              </a:rPr>
              <a:t>月）</a:t>
            </a:r>
            <a:endParaRPr kumimoji="1" lang="en-US" altLang="ja-JP" sz="1800" b="1" i="0" u="none" strike="noStrike" kern="1200" cap="none" spc="0" normalizeH="0" baseline="0" noProof="0">
              <a:ln>
                <a:noFill/>
              </a:ln>
              <a:solidFill>
                <a:srgbClr val="282828"/>
              </a:solidFill>
              <a:effectLst/>
              <a:uLnTx/>
              <a:uFillTx/>
              <a:latin typeface="Meiryo UI" panose="020B0604030504040204" pitchFamily="50" charset="-128"/>
              <a:ea typeface="Meiryo UI" panose="020B0604030504040204" pitchFamily="50" charset="-128"/>
              <a:cs typeface="+mj-cs"/>
            </a:endParaRPr>
          </a:p>
        </p:txBody>
      </p:sp>
      <p:sp>
        <p:nvSpPr>
          <p:cNvPr id="7" name="テキスト ボックス 6">
            <a:extLst>
              <a:ext uri="{FF2B5EF4-FFF2-40B4-BE49-F238E27FC236}">
                <a16:creationId xmlns:a16="http://schemas.microsoft.com/office/drawing/2014/main" id="{EE46F1FD-6E13-6990-2BEE-00CFB6B9AEA0}"/>
              </a:ext>
            </a:extLst>
          </p:cNvPr>
          <p:cNvSpPr txBox="1"/>
          <p:nvPr/>
        </p:nvSpPr>
        <p:spPr>
          <a:xfrm>
            <a:off x="190386" y="1910151"/>
            <a:ext cx="330679" cy="474284"/>
          </a:xfrm>
          <a:prstGeom prst="rect">
            <a:avLst/>
          </a:prstGeom>
          <a:solidFill>
            <a:srgbClr val="002060"/>
          </a:solidFill>
        </p:spPr>
        <p:txBody>
          <a:bodyPr wrap="square" anchor="ctr">
            <a:noAutofit/>
          </a:bodyPr>
          <a:lstStyle/>
          <a:p>
            <a:pPr marL="0" marR="0" lvl="0" indent="0" algn="ctr" defTabSz="914400" rtl="0" eaLnBrk="1" fontAlgn="auto" latinLnBrk="0" hangingPunct="1">
              <a:lnSpc>
                <a:spcPct val="100000"/>
              </a:lnSpc>
              <a:spcBef>
                <a:spcPts val="300"/>
              </a:spcBef>
              <a:spcAft>
                <a:spcPts val="0"/>
              </a:spcAft>
              <a:buClrTx/>
              <a:buSzTx/>
              <a:buFontTx/>
              <a:buNone/>
              <a:tabLst/>
              <a:defRPr/>
            </a:pPr>
            <a:r>
              <a:rPr kumimoji="0" lang="en-US" altLang="ja-JP" sz="2000" b="1" i="0" u="none" strike="noStrike" kern="0" cap="none" spc="0" normalizeH="0" baseline="0" noProof="0">
                <a:ln>
                  <a:noFill/>
                </a:ln>
                <a:solidFill>
                  <a:prstClr val="white"/>
                </a:solidFill>
                <a:effectLst/>
                <a:uLnTx/>
                <a:uFillTx/>
                <a:latin typeface="Meiryo UI"/>
                <a:ea typeface="Meiryo UI"/>
                <a:cs typeface="+mn-cs"/>
              </a:rPr>
              <a:t>5</a:t>
            </a:r>
            <a:endParaRPr kumimoji="0" lang="ja-JP" altLang="en-US" sz="2000" b="1" i="0" u="none" strike="noStrike" kern="0" cap="none" spc="0" normalizeH="0" baseline="0" noProof="0">
              <a:ln>
                <a:noFill/>
              </a:ln>
              <a:solidFill>
                <a:prstClr val="white"/>
              </a:solidFill>
              <a:effectLst/>
              <a:uLnTx/>
              <a:uFillTx/>
              <a:latin typeface="Meiryo UI"/>
              <a:ea typeface="Meiryo UI"/>
              <a:cs typeface="+mn-cs"/>
            </a:endParaRPr>
          </a:p>
        </p:txBody>
      </p:sp>
    </p:spTree>
    <p:extLst>
      <p:ext uri="{BB962C8B-B14F-4D97-AF65-F5344CB8AC3E}">
        <p14:creationId xmlns:p14="http://schemas.microsoft.com/office/powerpoint/2010/main" val="336139248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1C0003-46B4-5871-B702-B75FF8347B8B}"/>
            </a:ext>
          </a:extLst>
        </p:cNvPr>
        <p:cNvGrpSpPr/>
        <p:nvPr/>
      </p:nvGrpSpPr>
      <p:grpSpPr>
        <a:xfrm>
          <a:off x="0" y="0"/>
          <a:ext cx="0" cy="0"/>
          <a:chOff x="0" y="0"/>
          <a:chExt cx="0" cy="0"/>
        </a:xfrm>
      </p:grpSpPr>
      <p:sp>
        <p:nvSpPr>
          <p:cNvPr id="2" name="タイトル 1">
            <a:extLst>
              <a:ext uri="{FF2B5EF4-FFF2-40B4-BE49-F238E27FC236}">
                <a16:creationId xmlns:a16="http://schemas.microsoft.com/office/drawing/2014/main" id="{3CE2763C-EB94-7702-54B0-0F8586889B1E}"/>
              </a:ext>
            </a:extLst>
          </p:cNvPr>
          <p:cNvSpPr>
            <a:spLocks noGrp="1"/>
          </p:cNvSpPr>
          <p:nvPr>
            <p:ph type="title"/>
          </p:nvPr>
        </p:nvSpPr>
        <p:spPr>
          <a:xfrm>
            <a:off x="965256" y="174550"/>
            <a:ext cx="10430863" cy="521706"/>
          </a:xfrm>
        </p:spPr>
        <p:txBody>
          <a:bodyPr lIns="95767" tIns="47884" rIns="95767" bIns="47884" anchor="ctr" anchorCtr="0"/>
          <a:lstStyle/>
          <a:p>
            <a:r>
              <a:rPr lang="ja-JP" altLang="en-US" sz="1800" dirty="0"/>
              <a:t>２．デジタルバディがデジ棚と連携してやりたいこと</a:t>
            </a:r>
            <a:br>
              <a:rPr lang="en-US" altLang="ja-JP" sz="2400" dirty="0"/>
            </a:br>
            <a:r>
              <a:rPr lang="ja-JP" altLang="en-US" sz="2400" dirty="0"/>
              <a:t>　　バディのチラシ“お気に入り追加”によるデジ棚への連携</a:t>
            </a:r>
          </a:p>
        </p:txBody>
      </p:sp>
      <p:sp>
        <p:nvSpPr>
          <p:cNvPr id="3" name="コンテンツ プレースホルダー 3">
            <a:extLst>
              <a:ext uri="{FF2B5EF4-FFF2-40B4-BE49-F238E27FC236}">
                <a16:creationId xmlns:a16="http://schemas.microsoft.com/office/drawing/2014/main" id="{34F15469-F073-D129-CD06-5754F4B38FEE}"/>
              </a:ext>
            </a:extLst>
          </p:cNvPr>
          <p:cNvSpPr txBox="1">
            <a:spLocks/>
          </p:cNvSpPr>
          <p:nvPr/>
        </p:nvSpPr>
        <p:spPr>
          <a:xfrm>
            <a:off x="231479" y="1004402"/>
            <a:ext cx="11788158" cy="382879"/>
          </a:xfrm>
          <a:prstGeom prst="rect">
            <a:avLst/>
          </a:prstGeom>
        </p:spPr>
        <p:txBody>
          <a:bodyPr lIns="95767" tIns="47884" rIns="95767" bIns="47884" anchor="t"/>
          <a:lstStyle>
            <a:defPPr>
              <a:defRPr lang="ja-JP"/>
            </a:defPPr>
            <a:lvl1pPr indent="0" defTabSz="638335">
              <a:spcBef>
                <a:spcPct val="20000"/>
              </a:spcBef>
              <a:buFont typeface="Arial"/>
              <a:buNone/>
              <a:defRPr sz="1800">
                <a:latin typeface="Meiryo UI" panose="020B0604030504040204" pitchFamily="50" charset="-128"/>
                <a:ea typeface="Meiryo UI" panose="020B0604030504040204" pitchFamily="50" charset="-128"/>
              </a:defRPr>
            </a:lvl1pPr>
            <a:lvl2pPr marL="801060" marR="0" indent="-236233" defTabSz="638335" fontAlgn="auto">
              <a:lnSpc>
                <a:spcPct val="100000"/>
              </a:lnSpc>
              <a:spcBef>
                <a:spcPct val="20000"/>
              </a:spcBef>
              <a:spcAft>
                <a:spcPts val="0"/>
              </a:spcAft>
              <a:buClrTx/>
              <a:buSzTx/>
              <a:buFont typeface="Arial"/>
              <a:buNone/>
              <a:tabLst/>
              <a:defRPr sz="2266">
                <a:latin typeface="ＭＳ Ｐゴシック"/>
              </a:defRPr>
            </a:lvl2pPr>
            <a:lvl3pPr marL="1595837" indent="-236233" defTabSz="638335">
              <a:spcBef>
                <a:spcPct val="20000"/>
              </a:spcBef>
              <a:buFont typeface="Arial"/>
              <a:buChar char="•"/>
              <a:defRPr sz="2266">
                <a:latin typeface="ＭＳ Ｐゴシック"/>
              </a:defRPr>
            </a:lvl3pPr>
            <a:lvl4pPr marL="2234170" indent="-236233" defTabSz="638335">
              <a:spcBef>
                <a:spcPct val="20000"/>
              </a:spcBef>
              <a:buFont typeface="Arial"/>
              <a:buChar char="•"/>
              <a:defRPr sz="2266">
                <a:latin typeface="ＭＳ Ｐゴシック"/>
              </a:defRPr>
            </a:lvl4pPr>
            <a:lvl5pPr marL="2872505" indent="-236233" defTabSz="638335">
              <a:spcBef>
                <a:spcPct val="20000"/>
              </a:spcBef>
              <a:buFont typeface="Arial"/>
              <a:buChar char="•"/>
              <a:defRPr sz="2266">
                <a:latin typeface="ＭＳ Ｐゴシック"/>
              </a:defRPr>
            </a:lvl5pPr>
            <a:lvl6pPr marL="3510840" indent="-319167" defTabSz="638335">
              <a:spcBef>
                <a:spcPct val="20000"/>
              </a:spcBef>
              <a:buFont typeface="Arial"/>
              <a:buChar char="•"/>
              <a:defRPr sz="2800"/>
            </a:lvl6pPr>
            <a:lvl7pPr marL="4149172" indent="-319167" defTabSz="638335">
              <a:spcBef>
                <a:spcPct val="20000"/>
              </a:spcBef>
              <a:buFont typeface="Arial"/>
              <a:buChar char="•"/>
              <a:defRPr sz="2800"/>
            </a:lvl7pPr>
            <a:lvl8pPr marL="4787509" indent="-319167" defTabSz="638335">
              <a:spcBef>
                <a:spcPct val="20000"/>
              </a:spcBef>
              <a:buFont typeface="Arial"/>
              <a:buChar char="•"/>
              <a:defRPr sz="2800"/>
            </a:lvl8pPr>
            <a:lvl9pPr marL="5425844" indent="-319167" defTabSz="638335">
              <a:spcBef>
                <a:spcPct val="20000"/>
              </a:spcBef>
              <a:buFont typeface="Arial"/>
              <a:buChar char="•"/>
              <a:defRPr sz="2800"/>
            </a:lvl9pPr>
          </a:lstStyle>
          <a:p>
            <a:pPr marL="0" marR="0" lvl="0" indent="0" algn="l" defTabSz="638335" rtl="0" eaLnBrk="1" fontAlgn="auto" latinLnBrk="0" hangingPunct="1">
              <a:lnSpc>
                <a:spcPct val="100000"/>
              </a:lnSpc>
              <a:spcBef>
                <a:spcPct val="20000"/>
              </a:spcBef>
              <a:spcAft>
                <a:spcPts val="0"/>
              </a:spcAft>
              <a:buClrTx/>
              <a:buSzTx/>
              <a:buFont typeface="Arial"/>
              <a:buNone/>
              <a:tabLst/>
              <a:defRPr/>
            </a:pPr>
            <a:r>
              <a:rPr kumimoji="1" lang="ja-JP" altLang="en-US" sz="18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デジタルバディで抽出されたチラシを“お気に入り追加”し、それがデジ棚の“お気に入りタブ”にシームレスに連携することで、デジタルバディとデジ棚の双方をスムーズに活用した「活動準備」や「お客さまへのデジ棚を用いたプレゼンテーション」を実現する。</a:t>
            </a:r>
            <a:endParaRPr kumimoji="1" lang="en-US" altLang="ja-JP" sz="18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endParaRPr>
          </a:p>
        </p:txBody>
      </p:sp>
      <p:grpSp>
        <p:nvGrpSpPr>
          <p:cNvPr id="5" name="グループ化 4">
            <a:extLst>
              <a:ext uri="{FF2B5EF4-FFF2-40B4-BE49-F238E27FC236}">
                <a16:creationId xmlns:a16="http://schemas.microsoft.com/office/drawing/2014/main" id="{59B90CE7-1546-B2DF-4F52-2EBD5529D7FE}"/>
              </a:ext>
            </a:extLst>
          </p:cNvPr>
          <p:cNvGrpSpPr/>
          <p:nvPr/>
        </p:nvGrpSpPr>
        <p:grpSpPr>
          <a:xfrm>
            <a:off x="285610" y="1924710"/>
            <a:ext cx="7533274" cy="269508"/>
            <a:chOff x="808522" y="2358189"/>
            <a:chExt cx="2772076" cy="269508"/>
          </a:xfrm>
        </p:grpSpPr>
        <p:cxnSp>
          <p:nvCxnSpPr>
            <p:cNvPr id="6" name="直線コネクタ 5">
              <a:extLst>
                <a:ext uri="{FF2B5EF4-FFF2-40B4-BE49-F238E27FC236}">
                  <a16:creationId xmlns:a16="http://schemas.microsoft.com/office/drawing/2014/main" id="{E6D16DC1-5E77-DD87-CEBF-D1BABDE6DF81}"/>
                </a:ext>
              </a:extLst>
            </p:cNvPr>
            <p:cNvCxnSpPr/>
            <p:nvPr/>
          </p:nvCxnSpPr>
          <p:spPr>
            <a:xfrm>
              <a:off x="808522" y="2627697"/>
              <a:ext cx="2772076" cy="0"/>
            </a:xfrm>
            <a:prstGeom prst="line">
              <a:avLst/>
            </a:prstGeom>
            <a:noFill/>
            <a:ln w="9525" cap="flat" cmpd="sng" algn="ctr">
              <a:solidFill>
                <a:srgbClr val="000000"/>
              </a:solidFill>
              <a:prstDash val="solid"/>
              <a:headEnd type="none" w="lg" len="med"/>
              <a:tailEnd type="none" w="lg" len="med"/>
            </a:ln>
            <a:effectLst/>
          </p:spPr>
        </p:cxnSp>
        <p:sp>
          <p:nvSpPr>
            <p:cNvPr id="7" name="正方形/長方形 6">
              <a:extLst>
                <a:ext uri="{FF2B5EF4-FFF2-40B4-BE49-F238E27FC236}">
                  <a16:creationId xmlns:a16="http://schemas.microsoft.com/office/drawing/2014/main" id="{1625D405-EC11-31FF-BD9F-03983D2128CD}"/>
                </a:ext>
              </a:extLst>
            </p:cNvPr>
            <p:cNvSpPr/>
            <p:nvPr/>
          </p:nvSpPr>
          <p:spPr>
            <a:xfrm>
              <a:off x="808522" y="2358189"/>
              <a:ext cx="2772076" cy="269489"/>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478835"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チラシの“お気に入り追加”による、デジ棚とバディのシームレスな連携</a:t>
              </a:r>
              <a:endParaRPr kumimoji="1" lang="en-US" altLang="ja-JP" sz="14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endParaRPr>
            </a:p>
          </p:txBody>
        </p:sp>
      </p:grpSp>
      <p:grpSp>
        <p:nvGrpSpPr>
          <p:cNvPr id="166" name="グループ化 165">
            <a:extLst>
              <a:ext uri="{FF2B5EF4-FFF2-40B4-BE49-F238E27FC236}">
                <a16:creationId xmlns:a16="http://schemas.microsoft.com/office/drawing/2014/main" id="{EF68D05F-4101-FAF0-52D0-B74097C80A57}"/>
              </a:ext>
            </a:extLst>
          </p:cNvPr>
          <p:cNvGrpSpPr/>
          <p:nvPr/>
        </p:nvGrpSpPr>
        <p:grpSpPr>
          <a:xfrm>
            <a:off x="8222975" y="1924710"/>
            <a:ext cx="3796662" cy="269508"/>
            <a:chOff x="808522" y="2358189"/>
            <a:chExt cx="2772076" cy="269508"/>
          </a:xfrm>
        </p:grpSpPr>
        <p:cxnSp>
          <p:nvCxnSpPr>
            <p:cNvPr id="167" name="直線コネクタ 166">
              <a:extLst>
                <a:ext uri="{FF2B5EF4-FFF2-40B4-BE49-F238E27FC236}">
                  <a16:creationId xmlns:a16="http://schemas.microsoft.com/office/drawing/2014/main" id="{DFEEC180-AE1D-7289-B9E0-F163451F1F39}"/>
                </a:ext>
              </a:extLst>
            </p:cNvPr>
            <p:cNvCxnSpPr/>
            <p:nvPr/>
          </p:nvCxnSpPr>
          <p:spPr>
            <a:xfrm>
              <a:off x="808522" y="2627697"/>
              <a:ext cx="2772076" cy="0"/>
            </a:xfrm>
            <a:prstGeom prst="line">
              <a:avLst/>
            </a:prstGeom>
            <a:noFill/>
            <a:ln w="9525" cap="flat" cmpd="sng" algn="ctr">
              <a:solidFill>
                <a:srgbClr val="000000"/>
              </a:solidFill>
              <a:prstDash val="solid"/>
              <a:headEnd type="none" w="lg" len="med"/>
              <a:tailEnd type="none" w="lg" len="med"/>
            </a:ln>
            <a:effectLst/>
          </p:spPr>
        </p:cxnSp>
        <p:sp>
          <p:nvSpPr>
            <p:cNvPr id="168" name="正方形/長方形 167">
              <a:extLst>
                <a:ext uri="{FF2B5EF4-FFF2-40B4-BE49-F238E27FC236}">
                  <a16:creationId xmlns:a16="http://schemas.microsoft.com/office/drawing/2014/main" id="{8FB50351-7700-008A-49C1-C87E85B12B63}"/>
                </a:ext>
              </a:extLst>
            </p:cNvPr>
            <p:cNvSpPr/>
            <p:nvPr/>
          </p:nvSpPr>
          <p:spPr>
            <a:xfrm>
              <a:off x="808522" y="2358189"/>
              <a:ext cx="2772076" cy="269489"/>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478835"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実装のポイント</a:t>
              </a:r>
              <a:endParaRPr kumimoji="1" lang="en-US" altLang="ja-JP" sz="14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endParaRPr>
            </a:p>
          </p:txBody>
        </p:sp>
      </p:grpSp>
      <p:grpSp>
        <p:nvGrpSpPr>
          <p:cNvPr id="4" name="グループ化 3">
            <a:extLst>
              <a:ext uri="{FF2B5EF4-FFF2-40B4-BE49-F238E27FC236}">
                <a16:creationId xmlns:a16="http://schemas.microsoft.com/office/drawing/2014/main" id="{184AEBAE-BAEE-8D50-5F0F-48CCBBA64602}"/>
              </a:ext>
            </a:extLst>
          </p:cNvPr>
          <p:cNvGrpSpPr/>
          <p:nvPr/>
        </p:nvGrpSpPr>
        <p:grpSpPr>
          <a:xfrm>
            <a:off x="512044" y="3314833"/>
            <a:ext cx="2970505" cy="1679893"/>
            <a:chOff x="2162856" y="1736817"/>
            <a:chExt cx="7885338" cy="4459352"/>
          </a:xfrm>
        </p:grpSpPr>
        <p:grpSp>
          <p:nvGrpSpPr>
            <p:cNvPr id="8" name="グループ化 7">
              <a:extLst>
                <a:ext uri="{FF2B5EF4-FFF2-40B4-BE49-F238E27FC236}">
                  <a16:creationId xmlns:a16="http://schemas.microsoft.com/office/drawing/2014/main" id="{C391A021-966C-06DC-BC6E-65CD0164D16A}"/>
                </a:ext>
              </a:extLst>
            </p:cNvPr>
            <p:cNvGrpSpPr/>
            <p:nvPr/>
          </p:nvGrpSpPr>
          <p:grpSpPr>
            <a:xfrm>
              <a:off x="2162856" y="1736817"/>
              <a:ext cx="7885338" cy="4459352"/>
              <a:chOff x="1333540" y="1613880"/>
              <a:chExt cx="8524221" cy="5126034"/>
            </a:xfrm>
          </p:grpSpPr>
          <p:pic>
            <p:nvPicPr>
              <p:cNvPr id="10" name="図 9">
                <a:extLst>
                  <a:ext uri="{FF2B5EF4-FFF2-40B4-BE49-F238E27FC236}">
                    <a16:creationId xmlns:a16="http://schemas.microsoft.com/office/drawing/2014/main" id="{C90159A2-64AC-B66D-AAB7-74D1BFE4CDFE}"/>
                  </a:ext>
                </a:extLst>
              </p:cNvPr>
              <p:cNvPicPr>
                <a:picLocks noChangeAspect="1"/>
              </p:cNvPicPr>
              <p:nvPr/>
            </p:nvPicPr>
            <p:blipFill>
              <a:blip r:embed="rId3"/>
              <a:srcRect l="3110" r="4350" b="8707"/>
              <a:stretch/>
            </p:blipFill>
            <p:spPr>
              <a:xfrm>
                <a:off x="1333540" y="2607489"/>
                <a:ext cx="8524221" cy="4132425"/>
              </a:xfrm>
              <a:prstGeom prst="rect">
                <a:avLst/>
              </a:prstGeom>
              <a:solidFill>
                <a:schemeClr val="bg1">
                  <a:lumMod val="65000"/>
                </a:schemeClr>
              </a:solidFill>
              <a:ln>
                <a:solidFill>
                  <a:schemeClr val="bg1">
                    <a:lumMod val="65000"/>
                  </a:schemeClr>
                </a:solidFill>
              </a:ln>
            </p:spPr>
          </p:pic>
          <p:pic>
            <p:nvPicPr>
              <p:cNvPr id="11" name="図 10">
                <a:extLst>
                  <a:ext uri="{FF2B5EF4-FFF2-40B4-BE49-F238E27FC236}">
                    <a16:creationId xmlns:a16="http://schemas.microsoft.com/office/drawing/2014/main" id="{04F6A253-A730-A5AD-F03A-AC79BE4AD016}"/>
                  </a:ext>
                </a:extLst>
              </p:cNvPr>
              <p:cNvPicPr>
                <a:picLocks noChangeAspect="1"/>
              </p:cNvPicPr>
              <p:nvPr/>
            </p:nvPicPr>
            <p:blipFill>
              <a:blip r:embed="rId4"/>
              <a:srcRect b="78454"/>
              <a:stretch/>
            </p:blipFill>
            <p:spPr>
              <a:xfrm>
                <a:off x="1333540" y="1613880"/>
                <a:ext cx="8524221" cy="982556"/>
              </a:xfrm>
              <a:prstGeom prst="rect">
                <a:avLst/>
              </a:prstGeom>
              <a:solidFill>
                <a:schemeClr val="bg1">
                  <a:lumMod val="65000"/>
                </a:schemeClr>
              </a:solidFill>
              <a:ln>
                <a:solidFill>
                  <a:schemeClr val="bg1">
                    <a:lumMod val="65000"/>
                  </a:schemeClr>
                </a:solidFill>
              </a:ln>
            </p:spPr>
          </p:pic>
          <p:sp>
            <p:nvSpPr>
              <p:cNvPr id="12" name="フローチャート: 処理 11">
                <a:extLst>
                  <a:ext uri="{FF2B5EF4-FFF2-40B4-BE49-F238E27FC236}">
                    <a16:creationId xmlns:a16="http://schemas.microsoft.com/office/drawing/2014/main" id="{C451946E-B5C5-2F6B-26A2-0628A2912136}"/>
                  </a:ext>
                </a:extLst>
              </p:cNvPr>
              <p:cNvSpPr/>
              <p:nvPr/>
            </p:nvSpPr>
            <p:spPr>
              <a:xfrm>
                <a:off x="1333540" y="2484047"/>
                <a:ext cx="8524221" cy="188370"/>
              </a:xfrm>
              <a:prstGeom prst="flowChartProcess">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78835" rtl="0" eaLnBrk="1" fontAlgn="auto" latinLnBrk="0" hangingPunct="1">
                  <a:lnSpc>
                    <a:spcPct val="100000"/>
                  </a:lnSpc>
                  <a:spcBef>
                    <a:spcPts val="0"/>
                  </a:spcBef>
                  <a:spcAft>
                    <a:spcPts val="0"/>
                  </a:spcAft>
                  <a:buClrTx/>
                  <a:buSzTx/>
                  <a:buFontTx/>
                  <a:buNone/>
                  <a:tabLst/>
                  <a:defRPr/>
                </a:pPr>
                <a:endParaRPr kumimoji="1" lang="ja-JP" altLang="en-US" sz="1400" b="0" i="0" u="none" strike="noStrike" kern="1200" cap="none" spc="0" normalizeH="0" baseline="0" noProof="0">
                  <a:ln>
                    <a:noFill/>
                  </a:ln>
                  <a:solidFill>
                    <a:srgbClr val="000000"/>
                  </a:solidFill>
                  <a:effectLst/>
                  <a:uLnTx/>
                  <a:uFillTx/>
                  <a:latin typeface="Arial Unicode MS"/>
                  <a:ea typeface="ＭＳ Ｐゴシック"/>
                  <a:cs typeface="+mn-cs"/>
                </a:endParaRPr>
              </a:p>
            </p:txBody>
          </p:sp>
        </p:grpSp>
        <p:sp>
          <p:nvSpPr>
            <p:cNvPr id="9" name="正方形/長方形 8">
              <a:extLst>
                <a:ext uri="{FF2B5EF4-FFF2-40B4-BE49-F238E27FC236}">
                  <a16:creationId xmlns:a16="http://schemas.microsoft.com/office/drawing/2014/main" id="{11D78817-5E35-2124-3671-EC173BB57B28}"/>
                </a:ext>
              </a:extLst>
            </p:cNvPr>
            <p:cNvSpPr/>
            <p:nvPr/>
          </p:nvSpPr>
          <p:spPr>
            <a:xfrm>
              <a:off x="3217372" y="2006729"/>
              <a:ext cx="1749188" cy="184596"/>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lvl="0" indent="0" algn="l" defTabSz="478835" rtl="0" eaLnBrk="1" fontAlgn="auto" latinLnBrk="0" hangingPunct="1">
                <a:lnSpc>
                  <a:spcPct val="100000"/>
                </a:lnSpc>
                <a:spcBef>
                  <a:spcPts val="0"/>
                </a:spcBef>
                <a:spcAft>
                  <a:spcPts val="0"/>
                </a:spcAft>
                <a:buClrTx/>
                <a:buSzTx/>
                <a:buFontTx/>
                <a:buNone/>
                <a:tabLst/>
                <a:defRPr/>
              </a:pPr>
              <a:r>
                <a:rPr kumimoji="1" lang="ja-JP" altLang="en-US" sz="400" b="0" i="0" u="none" strike="noStrike" kern="1200" cap="none" spc="0" normalizeH="0" baseline="0" noProof="0">
                  <a:ln>
                    <a:noFill/>
                  </a:ln>
                  <a:solidFill>
                    <a:srgbClr val="000000">
                      <a:lumMod val="75000"/>
                      <a:lumOff val="25000"/>
                    </a:srgbClr>
                  </a:solidFill>
                  <a:effectLst/>
                  <a:uLnTx/>
                  <a:uFillTx/>
                  <a:latin typeface="Meiryo UI" panose="020B0604030504040204" pitchFamily="50" charset="-128"/>
                  <a:ea typeface="Meiryo UI" panose="020B0604030504040204" pitchFamily="50" charset="-128"/>
                  <a:cs typeface="+mn-cs"/>
                </a:rPr>
                <a:t>佐藤　裕太さま</a:t>
              </a:r>
            </a:p>
          </p:txBody>
        </p:sp>
      </p:grpSp>
      <p:grpSp>
        <p:nvGrpSpPr>
          <p:cNvPr id="13" name="グループ化 12">
            <a:extLst>
              <a:ext uri="{FF2B5EF4-FFF2-40B4-BE49-F238E27FC236}">
                <a16:creationId xmlns:a16="http://schemas.microsoft.com/office/drawing/2014/main" id="{F3ECC5C6-E414-D9F5-42DE-00990C61A652}"/>
              </a:ext>
            </a:extLst>
          </p:cNvPr>
          <p:cNvGrpSpPr/>
          <p:nvPr/>
        </p:nvGrpSpPr>
        <p:grpSpPr>
          <a:xfrm>
            <a:off x="4173800" y="3314833"/>
            <a:ext cx="3471508" cy="3434829"/>
            <a:chOff x="6519597" y="2157339"/>
            <a:chExt cx="4620578" cy="4571757"/>
          </a:xfrm>
        </p:grpSpPr>
        <p:grpSp>
          <p:nvGrpSpPr>
            <p:cNvPr id="14" name="グループ化 13">
              <a:extLst>
                <a:ext uri="{FF2B5EF4-FFF2-40B4-BE49-F238E27FC236}">
                  <a16:creationId xmlns:a16="http://schemas.microsoft.com/office/drawing/2014/main" id="{C3A40CFB-2641-EB32-1324-D08795DDC2A4}"/>
                </a:ext>
              </a:extLst>
            </p:cNvPr>
            <p:cNvGrpSpPr/>
            <p:nvPr/>
          </p:nvGrpSpPr>
          <p:grpSpPr>
            <a:xfrm>
              <a:off x="6519597" y="2157339"/>
              <a:ext cx="4620578" cy="4571757"/>
              <a:chOff x="5500501" y="2073579"/>
              <a:chExt cx="4620578" cy="4571757"/>
            </a:xfrm>
          </p:grpSpPr>
          <p:sp>
            <p:nvSpPr>
              <p:cNvPr id="16" name="正方形/長方形 15">
                <a:extLst>
                  <a:ext uri="{FF2B5EF4-FFF2-40B4-BE49-F238E27FC236}">
                    <a16:creationId xmlns:a16="http://schemas.microsoft.com/office/drawing/2014/main" id="{9D1D3A6C-12E6-3E07-2253-8916F0B6D09B}"/>
                  </a:ext>
                </a:extLst>
              </p:cNvPr>
              <p:cNvSpPr/>
              <p:nvPr/>
            </p:nvSpPr>
            <p:spPr>
              <a:xfrm>
                <a:off x="5500502" y="2076574"/>
                <a:ext cx="4620577" cy="4500401"/>
              </a:xfrm>
              <a:prstGeom prst="rect">
                <a:avLst/>
              </a:prstGeom>
              <a:solidFill>
                <a:schemeClr val="bg1"/>
              </a:solidFill>
              <a:ln w="12700" cap="flat" cmpd="sng" algn="ctr">
                <a:solidFill>
                  <a:srgbClr val="000000"/>
                </a:solidFill>
                <a:prstDash val="solid"/>
                <a:miter lim="800000"/>
              </a:ln>
              <a:effectLst/>
            </p:spPr>
            <p:txBody>
              <a:bodyPr rtlCol="0" anchor="ctr"/>
              <a:lstStyle/>
              <a:p>
                <a:pPr marL="0" marR="0" lvl="0" indent="0" algn="ctr" defTabSz="742950" rtl="0" eaLnBrk="1" fontAlgn="auto" latinLnBrk="0" hangingPunct="1">
                  <a:lnSpc>
                    <a:spcPct val="100000"/>
                  </a:lnSpc>
                  <a:spcBef>
                    <a:spcPts val="0"/>
                  </a:spcBef>
                  <a:spcAft>
                    <a:spcPts val="0"/>
                  </a:spcAft>
                  <a:buClrTx/>
                  <a:buSzTx/>
                  <a:buFontTx/>
                  <a:buNone/>
                  <a:tabLst/>
                  <a:defRPr/>
                </a:pPr>
                <a:endParaRPr kumimoji="0" lang="ja-JP" altLang="en-US" sz="975" b="0" i="0" u="none" strike="noStrike" kern="0" cap="none" spc="0" normalizeH="0" baseline="0" noProof="0">
                  <a:ln>
                    <a:noFill/>
                  </a:ln>
                  <a:solidFill>
                    <a:srgbClr val="ED7D31">
                      <a:lumMod val="75000"/>
                    </a:srgbClr>
                  </a:solidFill>
                  <a:effectLst/>
                  <a:uLnTx/>
                  <a:uFillTx/>
                  <a:latin typeface="Meiryo UI" panose="020B0604030504040204" pitchFamily="50" charset="-128"/>
                  <a:ea typeface="Meiryo UI" panose="020B0604030504040204" pitchFamily="50" charset="-128"/>
                  <a:cs typeface="Arial"/>
                </a:endParaRPr>
              </a:p>
            </p:txBody>
          </p:sp>
          <p:pic>
            <p:nvPicPr>
              <p:cNvPr id="17" name="図 16">
                <a:extLst>
                  <a:ext uri="{FF2B5EF4-FFF2-40B4-BE49-F238E27FC236}">
                    <a16:creationId xmlns:a16="http://schemas.microsoft.com/office/drawing/2014/main" id="{7541A15E-51AD-1F3F-8DCA-15AF326C2EC3}"/>
                  </a:ext>
                </a:extLst>
              </p:cNvPr>
              <p:cNvPicPr>
                <a:picLocks noChangeAspect="1"/>
              </p:cNvPicPr>
              <p:nvPr/>
            </p:nvPicPr>
            <p:blipFill>
              <a:blip r:embed="rId5"/>
              <a:stretch>
                <a:fillRect/>
              </a:stretch>
            </p:blipFill>
            <p:spPr>
              <a:xfrm>
                <a:off x="6749515" y="2697000"/>
                <a:ext cx="706890" cy="984772"/>
              </a:xfrm>
              <a:prstGeom prst="rect">
                <a:avLst/>
              </a:prstGeom>
            </p:spPr>
          </p:pic>
          <p:pic>
            <p:nvPicPr>
              <p:cNvPr id="18" name="図 17">
                <a:extLst>
                  <a:ext uri="{FF2B5EF4-FFF2-40B4-BE49-F238E27FC236}">
                    <a16:creationId xmlns:a16="http://schemas.microsoft.com/office/drawing/2014/main" id="{E278F66E-48C1-E952-59B9-846FD4D6A8CE}"/>
                  </a:ext>
                </a:extLst>
              </p:cNvPr>
              <p:cNvPicPr>
                <a:picLocks noChangeAspect="1"/>
              </p:cNvPicPr>
              <p:nvPr/>
            </p:nvPicPr>
            <p:blipFill>
              <a:blip r:embed="rId6"/>
              <a:stretch>
                <a:fillRect/>
              </a:stretch>
            </p:blipFill>
            <p:spPr>
              <a:xfrm>
                <a:off x="7708971" y="2709720"/>
                <a:ext cx="688872" cy="990738"/>
              </a:xfrm>
              <a:prstGeom prst="rect">
                <a:avLst/>
              </a:prstGeom>
            </p:spPr>
          </p:pic>
          <p:pic>
            <p:nvPicPr>
              <p:cNvPr id="19" name="図 18">
                <a:extLst>
                  <a:ext uri="{FF2B5EF4-FFF2-40B4-BE49-F238E27FC236}">
                    <a16:creationId xmlns:a16="http://schemas.microsoft.com/office/drawing/2014/main" id="{67AD9D6A-4CAD-058F-7ECE-32C4C72F334F}"/>
                  </a:ext>
                </a:extLst>
              </p:cNvPr>
              <p:cNvPicPr>
                <a:picLocks noChangeAspect="1"/>
              </p:cNvPicPr>
              <p:nvPr/>
            </p:nvPicPr>
            <p:blipFill>
              <a:blip r:embed="rId7"/>
              <a:stretch>
                <a:fillRect/>
              </a:stretch>
            </p:blipFill>
            <p:spPr>
              <a:xfrm>
                <a:off x="8702403" y="2721321"/>
                <a:ext cx="707146" cy="1006643"/>
              </a:xfrm>
              <a:prstGeom prst="rect">
                <a:avLst/>
              </a:prstGeom>
            </p:spPr>
          </p:pic>
          <p:pic>
            <p:nvPicPr>
              <p:cNvPr id="20" name="図 19">
                <a:extLst>
                  <a:ext uri="{FF2B5EF4-FFF2-40B4-BE49-F238E27FC236}">
                    <a16:creationId xmlns:a16="http://schemas.microsoft.com/office/drawing/2014/main" id="{366D8070-0FED-A61E-5D07-C5BF0800ED07}"/>
                  </a:ext>
                </a:extLst>
              </p:cNvPr>
              <p:cNvPicPr>
                <a:picLocks noChangeAspect="1"/>
              </p:cNvPicPr>
              <p:nvPr/>
            </p:nvPicPr>
            <p:blipFill>
              <a:blip r:embed="rId8"/>
              <a:stretch>
                <a:fillRect/>
              </a:stretch>
            </p:blipFill>
            <p:spPr>
              <a:xfrm>
                <a:off x="5790418" y="2719328"/>
                <a:ext cx="698081" cy="972220"/>
              </a:xfrm>
              <a:prstGeom prst="rect">
                <a:avLst/>
              </a:prstGeom>
            </p:spPr>
          </p:pic>
          <p:pic>
            <p:nvPicPr>
              <p:cNvPr id="21" name="図 20">
                <a:extLst>
                  <a:ext uri="{FF2B5EF4-FFF2-40B4-BE49-F238E27FC236}">
                    <a16:creationId xmlns:a16="http://schemas.microsoft.com/office/drawing/2014/main" id="{5BE34752-22F6-012B-00A8-1E14556AF4A4}"/>
                  </a:ext>
                </a:extLst>
              </p:cNvPr>
              <p:cNvPicPr>
                <a:picLocks noChangeAspect="1"/>
              </p:cNvPicPr>
              <p:nvPr/>
            </p:nvPicPr>
            <p:blipFill>
              <a:blip r:embed="rId9"/>
              <a:stretch>
                <a:fillRect/>
              </a:stretch>
            </p:blipFill>
            <p:spPr>
              <a:xfrm>
                <a:off x="6754713" y="4036750"/>
                <a:ext cx="725286" cy="1031643"/>
              </a:xfrm>
              <a:prstGeom prst="rect">
                <a:avLst/>
              </a:prstGeom>
            </p:spPr>
          </p:pic>
          <p:pic>
            <p:nvPicPr>
              <p:cNvPr id="22" name="図 21">
                <a:extLst>
                  <a:ext uri="{FF2B5EF4-FFF2-40B4-BE49-F238E27FC236}">
                    <a16:creationId xmlns:a16="http://schemas.microsoft.com/office/drawing/2014/main" id="{8C848321-569A-2462-74E2-B92D0B7D9CA2}"/>
                  </a:ext>
                </a:extLst>
              </p:cNvPr>
              <p:cNvPicPr>
                <a:picLocks noChangeAspect="1"/>
              </p:cNvPicPr>
              <p:nvPr/>
            </p:nvPicPr>
            <p:blipFill>
              <a:blip r:embed="rId6"/>
              <a:stretch>
                <a:fillRect/>
              </a:stretch>
            </p:blipFill>
            <p:spPr>
              <a:xfrm>
                <a:off x="8685969" y="4016759"/>
                <a:ext cx="723580" cy="1040655"/>
              </a:xfrm>
              <a:prstGeom prst="rect">
                <a:avLst/>
              </a:prstGeom>
            </p:spPr>
          </p:pic>
          <p:sp>
            <p:nvSpPr>
              <p:cNvPr id="23" name="正方形/長方形 22">
                <a:extLst>
                  <a:ext uri="{FF2B5EF4-FFF2-40B4-BE49-F238E27FC236}">
                    <a16:creationId xmlns:a16="http://schemas.microsoft.com/office/drawing/2014/main" id="{32870AEE-FB0A-9F78-3C87-69B5E530686A}"/>
                  </a:ext>
                </a:extLst>
              </p:cNvPr>
              <p:cNvSpPr/>
              <p:nvPr/>
            </p:nvSpPr>
            <p:spPr>
              <a:xfrm>
                <a:off x="9916900" y="3336099"/>
                <a:ext cx="174632" cy="2799238"/>
              </a:xfrm>
              <a:prstGeom prst="rect">
                <a:avLst/>
              </a:prstGeom>
              <a:solidFill>
                <a:srgbClr val="C2B7A8">
                  <a:lumMod val="20000"/>
                  <a:lumOff val="80000"/>
                </a:srgbClr>
              </a:solidFill>
              <a:ln w="12700" cap="flat" cmpd="sng" algn="ctr">
                <a:solidFill>
                  <a:srgbClr val="000000"/>
                </a:solidFill>
                <a:prstDash val="solid"/>
                <a:miter lim="800000"/>
              </a:ln>
              <a:effectLst/>
            </p:spPr>
            <p:txBody>
              <a:bodyPr rtlCol="0" anchor="ctr"/>
              <a:lstStyle/>
              <a:p>
                <a:pPr marL="0" marR="0" lvl="0" indent="0" algn="ctr" defTabSz="742950" rtl="0" eaLnBrk="1" fontAlgn="auto" latinLnBrk="0" hangingPunct="1">
                  <a:lnSpc>
                    <a:spcPct val="100000"/>
                  </a:lnSpc>
                  <a:spcBef>
                    <a:spcPts val="0"/>
                  </a:spcBef>
                  <a:spcAft>
                    <a:spcPts val="0"/>
                  </a:spcAft>
                  <a:buClrTx/>
                  <a:buSzTx/>
                  <a:buFontTx/>
                  <a:buNone/>
                  <a:tabLst/>
                  <a:defRPr/>
                </a:pPr>
                <a:endParaRPr kumimoji="0" lang="ja-JP" altLang="en-US" sz="975" b="0" i="0" u="none" strike="noStrike" kern="0" cap="none" spc="0" normalizeH="0" baseline="0" noProof="0">
                  <a:ln>
                    <a:noFill/>
                  </a:ln>
                  <a:solidFill>
                    <a:srgbClr val="ED7D31">
                      <a:lumMod val="75000"/>
                    </a:srgbClr>
                  </a:solidFill>
                  <a:effectLst/>
                  <a:uLnTx/>
                  <a:uFillTx/>
                  <a:latin typeface="Meiryo UI" panose="020B0604030504040204" pitchFamily="50" charset="-128"/>
                  <a:ea typeface="Meiryo UI" panose="020B0604030504040204" pitchFamily="50" charset="-128"/>
                  <a:cs typeface="Arial"/>
                </a:endParaRPr>
              </a:p>
            </p:txBody>
          </p:sp>
          <p:sp>
            <p:nvSpPr>
              <p:cNvPr id="24" name="テキスト ボックス 23">
                <a:extLst>
                  <a:ext uri="{FF2B5EF4-FFF2-40B4-BE49-F238E27FC236}">
                    <a16:creationId xmlns:a16="http://schemas.microsoft.com/office/drawing/2014/main" id="{0E663E8A-28BE-879E-37D6-172FFD72CA8E}"/>
                  </a:ext>
                </a:extLst>
              </p:cNvPr>
              <p:cNvSpPr txBox="1"/>
              <p:nvPr/>
            </p:nvSpPr>
            <p:spPr bwMode="gray">
              <a:xfrm>
                <a:off x="5761279" y="3723060"/>
                <a:ext cx="867331" cy="267509"/>
              </a:xfrm>
              <a:prstGeom prst="rect">
                <a:avLst/>
              </a:prstGeom>
              <a:noFill/>
            </p:spPr>
            <p:txBody>
              <a:bodyPr wrap="square" rtlCol="0">
                <a:spAutoFit/>
              </a:bodyPr>
              <a:lstStyle/>
              <a:p>
                <a:pPr marL="0" marR="0" lvl="0" indent="0" algn="l" defTabSz="371433" rtl="0" eaLnBrk="1" fontAlgn="auto" latinLnBrk="0" hangingPunct="1">
                  <a:lnSpc>
                    <a:spcPct val="100000"/>
                  </a:lnSpc>
                  <a:spcBef>
                    <a:spcPts val="0"/>
                  </a:spcBef>
                  <a:spcAft>
                    <a:spcPts val="0"/>
                  </a:spcAft>
                  <a:buClrTx/>
                  <a:buSzTx/>
                  <a:buFontTx/>
                  <a:buNone/>
                  <a:tabLst/>
                  <a:defRPr/>
                </a:pPr>
                <a:r>
                  <a:rPr kumimoji="1" lang="ja-JP" altLang="en-US" sz="569"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生活習慣病重症化</a:t>
                </a:r>
                <a:endParaRPr kumimoji="1" lang="en-US" altLang="ja-JP" sz="569"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endParaRPr>
              </a:p>
              <a:p>
                <a:pPr marL="0" marR="0" lvl="0" indent="0" algn="l" defTabSz="371433" rtl="0" eaLnBrk="1" fontAlgn="auto" latinLnBrk="0" hangingPunct="1">
                  <a:lnSpc>
                    <a:spcPct val="100000"/>
                  </a:lnSpc>
                  <a:spcBef>
                    <a:spcPts val="0"/>
                  </a:spcBef>
                  <a:spcAft>
                    <a:spcPts val="0"/>
                  </a:spcAft>
                  <a:buClrTx/>
                  <a:buSzTx/>
                  <a:buFontTx/>
                  <a:buNone/>
                  <a:tabLst/>
                  <a:defRPr/>
                </a:pPr>
                <a:r>
                  <a:rPr kumimoji="1" lang="ja-JP" altLang="en-US" sz="569"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予防応援保険リーフ</a:t>
                </a:r>
                <a:endParaRPr kumimoji="1" lang="en-US" altLang="ja-JP" sz="569"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endParaRPr>
              </a:p>
            </p:txBody>
          </p:sp>
          <p:sp>
            <p:nvSpPr>
              <p:cNvPr id="25" name="テキスト ボックス 24">
                <a:extLst>
                  <a:ext uri="{FF2B5EF4-FFF2-40B4-BE49-F238E27FC236}">
                    <a16:creationId xmlns:a16="http://schemas.microsoft.com/office/drawing/2014/main" id="{D36F27BB-B43C-E8E1-D6AB-2B11BF6DE68E}"/>
                  </a:ext>
                </a:extLst>
              </p:cNvPr>
              <p:cNvSpPr txBox="1"/>
              <p:nvPr/>
            </p:nvSpPr>
            <p:spPr bwMode="gray">
              <a:xfrm>
                <a:off x="6686879" y="3707057"/>
                <a:ext cx="911144" cy="292388"/>
              </a:xfrm>
              <a:prstGeom prst="rect">
                <a:avLst/>
              </a:prstGeom>
              <a:noFill/>
            </p:spPr>
            <p:txBody>
              <a:bodyPr wrap="square" rtlCol="0">
                <a:spAutoFit/>
              </a:bodyPr>
              <a:lstStyle/>
              <a:p>
                <a:pPr marL="0" marR="0" lvl="0" indent="0" algn="l" defTabSz="371433" rtl="0" eaLnBrk="1" fontAlgn="auto" latinLnBrk="0" hangingPunct="1">
                  <a:lnSpc>
                    <a:spcPct val="100000"/>
                  </a:lnSpc>
                  <a:spcBef>
                    <a:spcPts val="0"/>
                  </a:spcBef>
                  <a:spcAft>
                    <a:spcPts val="0"/>
                  </a:spcAft>
                  <a:buClrTx/>
                  <a:buSzTx/>
                  <a:buFontTx/>
                  <a:buNone/>
                  <a:tabLst/>
                  <a:defRPr/>
                </a:pPr>
                <a:r>
                  <a:rPr kumimoji="0" lang="ja-JP" altLang="en-US" sz="65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ジャスト「保険種類の総合案内」パンフレット</a:t>
                </a:r>
                <a:endParaRPr kumimoji="1" lang="en-US" altLang="ja-JP" sz="65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endParaRPr>
              </a:p>
            </p:txBody>
          </p:sp>
          <p:sp>
            <p:nvSpPr>
              <p:cNvPr id="26" name="テキスト ボックス 25">
                <a:extLst>
                  <a:ext uri="{FF2B5EF4-FFF2-40B4-BE49-F238E27FC236}">
                    <a16:creationId xmlns:a16="http://schemas.microsoft.com/office/drawing/2014/main" id="{EA43E90A-3CA9-4AA1-A878-0A03F41F0737}"/>
                  </a:ext>
                </a:extLst>
              </p:cNvPr>
              <p:cNvSpPr txBox="1"/>
              <p:nvPr/>
            </p:nvSpPr>
            <p:spPr bwMode="gray">
              <a:xfrm>
                <a:off x="7669250" y="3725541"/>
                <a:ext cx="926605" cy="292388"/>
              </a:xfrm>
              <a:prstGeom prst="rect">
                <a:avLst/>
              </a:prstGeom>
              <a:noFill/>
            </p:spPr>
            <p:txBody>
              <a:bodyPr wrap="square" rtlCol="0">
                <a:spAutoFit/>
              </a:bodyPr>
              <a:lstStyle/>
              <a:p>
                <a:pPr marL="0" marR="0" lvl="0" indent="0" algn="l" defTabSz="371433" rtl="0" eaLnBrk="1" fontAlgn="auto" latinLnBrk="0" hangingPunct="1">
                  <a:lnSpc>
                    <a:spcPct val="100000"/>
                  </a:lnSpc>
                  <a:spcBef>
                    <a:spcPts val="0"/>
                  </a:spcBef>
                  <a:spcAft>
                    <a:spcPts val="0"/>
                  </a:spcAft>
                  <a:buClrTx/>
                  <a:buSzTx/>
                  <a:buFontTx/>
                  <a:buNone/>
                  <a:tabLst/>
                  <a:defRPr/>
                </a:pPr>
                <a:r>
                  <a:rPr kumimoji="0" lang="ja-JP" altLang="en-US" sz="65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とわサポート＞保障と貯蓄、選べるリーフ</a:t>
                </a:r>
                <a:endParaRPr kumimoji="1" lang="en-US" altLang="ja-JP" sz="65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endParaRPr>
              </a:p>
            </p:txBody>
          </p:sp>
          <p:sp>
            <p:nvSpPr>
              <p:cNvPr id="27" name="テキスト ボックス 26">
                <a:extLst>
                  <a:ext uri="{FF2B5EF4-FFF2-40B4-BE49-F238E27FC236}">
                    <a16:creationId xmlns:a16="http://schemas.microsoft.com/office/drawing/2014/main" id="{4CE72E5E-EC64-D6BC-A1AF-6B799F0CDBD0}"/>
                  </a:ext>
                </a:extLst>
              </p:cNvPr>
              <p:cNvSpPr txBox="1"/>
              <p:nvPr/>
            </p:nvSpPr>
            <p:spPr bwMode="gray">
              <a:xfrm>
                <a:off x="6703265" y="5066039"/>
                <a:ext cx="965985" cy="192360"/>
              </a:xfrm>
              <a:prstGeom prst="rect">
                <a:avLst/>
              </a:prstGeom>
              <a:noFill/>
            </p:spPr>
            <p:txBody>
              <a:bodyPr wrap="square" rtlCol="0">
                <a:spAutoFit/>
              </a:bodyPr>
              <a:lstStyle/>
              <a:p>
                <a:pPr marL="0" marR="0" lvl="0" indent="0" algn="l" defTabSz="371433" rtl="0" eaLnBrk="1" fontAlgn="auto" latinLnBrk="0" hangingPunct="1">
                  <a:lnSpc>
                    <a:spcPct val="100000"/>
                  </a:lnSpc>
                  <a:spcBef>
                    <a:spcPts val="0"/>
                  </a:spcBef>
                  <a:spcAft>
                    <a:spcPts val="0"/>
                  </a:spcAft>
                  <a:buClrTx/>
                  <a:buSzTx/>
                  <a:buFontTx/>
                  <a:buNone/>
                  <a:tabLst/>
                  <a:defRPr/>
                </a:pPr>
                <a:r>
                  <a:rPr kumimoji="0" lang="ja-JP" altLang="en-US" sz="65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ジャスト短中長リーフ</a:t>
                </a:r>
                <a:endParaRPr kumimoji="1" lang="en-US" altLang="ja-JP" sz="65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endParaRPr>
              </a:p>
            </p:txBody>
          </p:sp>
          <p:sp>
            <p:nvSpPr>
              <p:cNvPr id="28" name="テキスト ボックス 27">
                <a:extLst>
                  <a:ext uri="{FF2B5EF4-FFF2-40B4-BE49-F238E27FC236}">
                    <a16:creationId xmlns:a16="http://schemas.microsoft.com/office/drawing/2014/main" id="{13968CFF-A4ED-0DA7-E61D-D3ABF6146DA8}"/>
                  </a:ext>
                </a:extLst>
              </p:cNvPr>
              <p:cNvSpPr txBox="1"/>
              <p:nvPr/>
            </p:nvSpPr>
            <p:spPr bwMode="gray">
              <a:xfrm>
                <a:off x="8647746" y="3709447"/>
                <a:ext cx="867331" cy="292388"/>
              </a:xfrm>
              <a:prstGeom prst="rect">
                <a:avLst/>
              </a:prstGeom>
              <a:noFill/>
            </p:spPr>
            <p:txBody>
              <a:bodyPr wrap="square" rtlCol="0">
                <a:spAutoFit/>
              </a:bodyPr>
              <a:lstStyle/>
              <a:p>
                <a:pPr marL="0" marR="0" lvl="0" indent="0" algn="l" defTabSz="371433" rtl="0" eaLnBrk="1" fontAlgn="auto" latinLnBrk="0" hangingPunct="1">
                  <a:lnSpc>
                    <a:spcPct val="100000"/>
                  </a:lnSpc>
                  <a:spcBef>
                    <a:spcPts val="0"/>
                  </a:spcBef>
                  <a:spcAft>
                    <a:spcPts val="0"/>
                  </a:spcAft>
                  <a:buClrTx/>
                  <a:buSzTx/>
                  <a:buFontTx/>
                  <a:buNone/>
                  <a:tabLst/>
                  <a:defRPr/>
                </a:pPr>
                <a:r>
                  <a:rPr kumimoji="0" lang="ja-JP" altLang="en-US" sz="65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医療保険は一時金の時代へ！リーフ</a:t>
                </a:r>
                <a:endParaRPr kumimoji="1" lang="en-US" altLang="ja-JP" sz="65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endParaRPr>
              </a:p>
            </p:txBody>
          </p:sp>
          <p:sp>
            <p:nvSpPr>
              <p:cNvPr id="29" name="テキスト ボックス 28">
                <a:extLst>
                  <a:ext uri="{FF2B5EF4-FFF2-40B4-BE49-F238E27FC236}">
                    <a16:creationId xmlns:a16="http://schemas.microsoft.com/office/drawing/2014/main" id="{FCD7EADB-6E3E-7463-D24B-FAF31F9A1565}"/>
                  </a:ext>
                </a:extLst>
              </p:cNvPr>
              <p:cNvSpPr txBox="1"/>
              <p:nvPr/>
            </p:nvSpPr>
            <p:spPr bwMode="gray">
              <a:xfrm>
                <a:off x="8453716" y="5062279"/>
                <a:ext cx="1534133" cy="267509"/>
              </a:xfrm>
              <a:prstGeom prst="rect">
                <a:avLst/>
              </a:prstGeom>
              <a:noFill/>
            </p:spPr>
            <p:txBody>
              <a:bodyPr wrap="square" rtlCol="0">
                <a:spAutoFit/>
              </a:bodyPr>
              <a:lstStyle/>
              <a:p>
                <a:pPr marL="0" marR="0" lvl="0" indent="0" algn="l" defTabSz="371433" rtl="0" eaLnBrk="1" fontAlgn="auto" latinLnBrk="0" hangingPunct="1">
                  <a:lnSpc>
                    <a:spcPct val="100000"/>
                  </a:lnSpc>
                  <a:spcBef>
                    <a:spcPts val="0"/>
                  </a:spcBef>
                  <a:spcAft>
                    <a:spcPts val="0"/>
                  </a:spcAft>
                  <a:buClrTx/>
                  <a:buSzTx/>
                  <a:buFontTx/>
                  <a:buNone/>
                  <a:tabLst/>
                  <a:defRPr/>
                </a:pPr>
                <a:r>
                  <a:rPr kumimoji="0" lang="ja-JP" altLang="en-US" sz="569"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とわサポート＞保障と貯蓄、選べるリーフ</a:t>
                </a:r>
                <a:endParaRPr kumimoji="1" lang="en-US" altLang="ja-JP" sz="569"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endParaRPr>
              </a:p>
              <a:p>
                <a:pPr marL="0" marR="0" lvl="0" indent="0" algn="l" defTabSz="371433" rtl="0" eaLnBrk="1" fontAlgn="auto" latinLnBrk="0" hangingPunct="1">
                  <a:lnSpc>
                    <a:spcPct val="100000"/>
                  </a:lnSpc>
                  <a:spcBef>
                    <a:spcPts val="0"/>
                  </a:spcBef>
                  <a:spcAft>
                    <a:spcPts val="0"/>
                  </a:spcAft>
                  <a:buClrTx/>
                  <a:buSzTx/>
                  <a:buFontTx/>
                  <a:buNone/>
                  <a:tabLst/>
                  <a:defRPr/>
                </a:pPr>
                <a:endParaRPr kumimoji="1" lang="en-US" altLang="ja-JP" sz="569"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endParaRPr>
              </a:p>
            </p:txBody>
          </p:sp>
          <p:sp>
            <p:nvSpPr>
              <p:cNvPr id="30" name="正方形/長方形 29">
                <a:extLst>
                  <a:ext uri="{FF2B5EF4-FFF2-40B4-BE49-F238E27FC236}">
                    <a16:creationId xmlns:a16="http://schemas.microsoft.com/office/drawing/2014/main" id="{CE6CAC7A-F68B-A740-FEED-0AFDF8067DCC}"/>
                  </a:ext>
                </a:extLst>
              </p:cNvPr>
              <p:cNvSpPr/>
              <p:nvPr/>
            </p:nvSpPr>
            <p:spPr>
              <a:xfrm>
                <a:off x="9914113" y="2511833"/>
                <a:ext cx="180031" cy="919057"/>
              </a:xfrm>
              <a:prstGeom prst="rect">
                <a:avLst/>
              </a:prstGeom>
              <a:solidFill>
                <a:schemeClr val="bg1"/>
              </a:solidFill>
              <a:ln w="12700" cap="flat" cmpd="sng" algn="ctr">
                <a:solidFill>
                  <a:srgbClr val="000000"/>
                </a:solidFill>
                <a:prstDash val="solid"/>
                <a:miter lim="800000"/>
              </a:ln>
              <a:effectLst/>
            </p:spPr>
            <p:txBody>
              <a:bodyPr rtlCol="0" anchor="ctr"/>
              <a:lstStyle/>
              <a:p>
                <a:pPr marL="0" marR="0" lvl="0" indent="0" algn="ctr" defTabSz="742950" rtl="0" eaLnBrk="1" fontAlgn="auto" latinLnBrk="0" hangingPunct="1">
                  <a:lnSpc>
                    <a:spcPct val="100000"/>
                  </a:lnSpc>
                  <a:spcBef>
                    <a:spcPts val="0"/>
                  </a:spcBef>
                  <a:spcAft>
                    <a:spcPts val="0"/>
                  </a:spcAft>
                  <a:buClrTx/>
                  <a:buSzTx/>
                  <a:buFontTx/>
                  <a:buNone/>
                  <a:tabLst/>
                  <a:defRPr/>
                </a:pPr>
                <a:endParaRPr kumimoji="0" lang="ja-JP" altLang="en-US" sz="975" b="0" i="0" u="none" strike="noStrike" kern="0" cap="none" spc="0" normalizeH="0" baseline="0" noProof="0">
                  <a:ln>
                    <a:noFill/>
                  </a:ln>
                  <a:solidFill>
                    <a:srgbClr val="ED7D31">
                      <a:lumMod val="75000"/>
                    </a:srgbClr>
                  </a:solidFill>
                  <a:effectLst/>
                  <a:uLnTx/>
                  <a:uFillTx/>
                  <a:latin typeface="Meiryo UI" panose="020B0604030504040204" pitchFamily="50" charset="-128"/>
                  <a:ea typeface="Meiryo UI" panose="020B0604030504040204" pitchFamily="50" charset="-128"/>
                  <a:cs typeface="Arial"/>
                </a:endParaRPr>
              </a:p>
            </p:txBody>
          </p:sp>
          <p:pic>
            <p:nvPicPr>
              <p:cNvPr id="31" name="図 30">
                <a:extLst>
                  <a:ext uri="{FF2B5EF4-FFF2-40B4-BE49-F238E27FC236}">
                    <a16:creationId xmlns:a16="http://schemas.microsoft.com/office/drawing/2014/main" id="{4235EA55-1C44-C721-2DBC-6C50ABE21040}"/>
                  </a:ext>
                </a:extLst>
              </p:cNvPr>
              <p:cNvPicPr>
                <a:picLocks noChangeAspect="1"/>
              </p:cNvPicPr>
              <p:nvPr/>
            </p:nvPicPr>
            <p:blipFill>
              <a:blip r:embed="rId10"/>
              <a:stretch>
                <a:fillRect/>
              </a:stretch>
            </p:blipFill>
            <p:spPr>
              <a:xfrm>
                <a:off x="5742166" y="3987543"/>
                <a:ext cx="739600" cy="1084022"/>
              </a:xfrm>
              <a:prstGeom prst="rect">
                <a:avLst/>
              </a:prstGeom>
            </p:spPr>
          </p:pic>
          <p:sp>
            <p:nvSpPr>
              <p:cNvPr id="32" name="テキスト ボックス 31">
                <a:extLst>
                  <a:ext uri="{FF2B5EF4-FFF2-40B4-BE49-F238E27FC236}">
                    <a16:creationId xmlns:a16="http://schemas.microsoft.com/office/drawing/2014/main" id="{86E8840D-47B2-9672-E465-55B9F0C3982C}"/>
                  </a:ext>
                </a:extLst>
              </p:cNvPr>
              <p:cNvSpPr txBox="1"/>
              <p:nvPr/>
            </p:nvSpPr>
            <p:spPr bwMode="gray">
              <a:xfrm>
                <a:off x="5637170" y="5097390"/>
                <a:ext cx="1007455" cy="185692"/>
              </a:xfrm>
              <a:prstGeom prst="rect">
                <a:avLst/>
              </a:prstGeom>
              <a:noFill/>
            </p:spPr>
            <p:txBody>
              <a:bodyPr wrap="square" rtlCol="0">
                <a:spAutoFit/>
              </a:bodyPr>
              <a:lstStyle/>
              <a:p>
                <a:pPr marL="0" marR="0" lvl="0" indent="0" algn="l" defTabSz="371433" rtl="0" eaLnBrk="1" fontAlgn="auto" latinLnBrk="0" hangingPunct="1">
                  <a:lnSpc>
                    <a:spcPct val="120000"/>
                  </a:lnSpc>
                  <a:spcBef>
                    <a:spcPts val="0"/>
                  </a:spcBef>
                  <a:spcAft>
                    <a:spcPts val="244"/>
                  </a:spcAft>
                  <a:buClrTx/>
                  <a:buSzTx/>
                  <a:buFontTx/>
                  <a:buNone/>
                  <a:tabLst/>
                  <a:defRPr/>
                </a:pPr>
                <a:r>
                  <a:rPr kumimoji="0" lang="ja-JP" altLang="en-US" sz="569"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ステップジャンプパンフレット</a:t>
                </a:r>
                <a:endParaRPr kumimoji="1" lang="en-US" altLang="ja-JP" sz="325" b="0" i="0" u="none" strike="noStrike" kern="0" cap="none" spc="0" normalizeH="0" baseline="0" noProof="0">
                  <a:ln>
                    <a:noFill/>
                  </a:ln>
                  <a:solidFill>
                    <a:srgbClr val="000000">
                      <a:lumMod val="75000"/>
                      <a:lumOff val="25000"/>
                    </a:srgbClr>
                  </a:solidFill>
                  <a:effectLst/>
                  <a:uLnTx/>
                  <a:uFillTx/>
                  <a:latin typeface="Meiryo UI" panose="020B0604030504040204" pitchFamily="50" charset="-128"/>
                  <a:ea typeface="Meiryo UI" panose="020B0604030504040204" pitchFamily="50" charset="-128"/>
                  <a:cs typeface="+mn-cs"/>
                </a:endParaRPr>
              </a:p>
            </p:txBody>
          </p:sp>
          <p:sp>
            <p:nvSpPr>
              <p:cNvPr id="33" name="テキスト ボックス 32">
                <a:extLst>
                  <a:ext uri="{FF2B5EF4-FFF2-40B4-BE49-F238E27FC236}">
                    <a16:creationId xmlns:a16="http://schemas.microsoft.com/office/drawing/2014/main" id="{AD9CF9C2-70B5-28F7-CF94-8CDF8A67903E}"/>
                  </a:ext>
                </a:extLst>
              </p:cNvPr>
              <p:cNvSpPr txBox="1"/>
              <p:nvPr/>
            </p:nvSpPr>
            <p:spPr bwMode="gray">
              <a:xfrm>
                <a:off x="5626945" y="6368104"/>
                <a:ext cx="1188039" cy="185692"/>
              </a:xfrm>
              <a:prstGeom prst="rect">
                <a:avLst/>
              </a:prstGeom>
              <a:noFill/>
            </p:spPr>
            <p:txBody>
              <a:bodyPr wrap="square" rtlCol="0">
                <a:spAutoFit/>
              </a:bodyPr>
              <a:lstStyle/>
              <a:p>
                <a:pPr marL="0" marR="0" lvl="0" indent="0" algn="l" defTabSz="371433" rtl="0" eaLnBrk="1" fontAlgn="auto" latinLnBrk="0" hangingPunct="1">
                  <a:lnSpc>
                    <a:spcPct val="120000"/>
                  </a:lnSpc>
                  <a:spcBef>
                    <a:spcPts val="0"/>
                  </a:spcBef>
                  <a:spcAft>
                    <a:spcPts val="244"/>
                  </a:spcAft>
                  <a:buClrTx/>
                  <a:buSzTx/>
                  <a:buFontTx/>
                  <a:buNone/>
                  <a:tabLst/>
                  <a:defRPr/>
                </a:pPr>
                <a:r>
                  <a:rPr kumimoji="0" lang="ja-JP" altLang="en-US" sz="569"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保険契約者代理特約のご案内</a:t>
                </a:r>
                <a:endParaRPr kumimoji="1" lang="en-US" altLang="ja-JP" sz="325" b="0" i="0" u="none" strike="noStrike" kern="0" cap="none" spc="0" normalizeH="0" baseline="0" noProof="0">
                  <a:ln>
                    <a:noFill/>
                  </a:ln>
                  <a:solidFill>
                    <a:srgbClr val="000000">
                      <a:lumMod val="75000"/>
                      <a:lumOff val="25000"/>
                    </a:srgbClr>
                  </a:solidFill>
                  <a:effectLst/>
                  <a:uLnTx/>
                  <a:uFillTx/>
                  <a:latin typeface="Meiryo UI" panose="020B0604030504040204" pitchFamily="50" charset="-128"/>
                  <a:ea typeface="Meiryo UI" panose="020B0604030504040204" pitchFamily="50" charset="-128"/>
                  <a:cs typeface="+mn-cs"/>
                </a:endParaRPr>
              </a:p>
            </p:txBody>
          </p:sp>
          <p:pic>
            <p:nvPicPr>
              <p:cNvPr id="34" name="図 33">
                <a:extLst>
                  <a:ext uri="{FF2B5EF4-FFF2-40B4-BE49-F238E27FC236}">
                    <a16:creationId xmlns:a16="http://schemas.microsoft.com/office/drawing/2014/main" id="{1CEAD7ED-EE8A-D673-CD1E-E2018CBA3BA1}"/>
                  </a:ext>
                </a:extLst>
              </p:cNvPr>
              <p:cNvPicPr>
                <a:picLocks noChangeAspect="1"/>
              </p:cNvPicPr>
              <p:nvPr/>
            </p:nvPicPr>
            <p:blipFill>
              <a:blip r:embed="rId11"/>
              <a:stretch>
                <a:fillRect/>
              </a:stretch>
            </p:blipFill>
            <p:spPr>
              <a:xfrm>
                <a:off x="5751491" y="5285628"/>
                <a:ext cx="766718" cy="1116821"/>
              </a:xfrm>
              <a:prstGeom prst="rect">
                <a:avLst/>
              </a:prstGeom>
            </p:spPr>
          </p:pic>
          <p:pic>
            <p:nvPicPr>
              <p:cNvPr id="35" name="図 34">
                <a:extLst>
                  <a:ext uri="{FF2B5EF4-FFF2-40B4-BE49-F238E27FC236}">
                    <a16:creationId xmlns:a16="http://schemas.microsoft.com/office/drawing/2014/main" id="{9F0203FC-1740-DF34-3480-F469FDFE0E41}"/>
                  </a:ext>
                </a:extLst>
              </p:cNvPr>
              <p:cNvPicPr>
                <a:picLocks noChangeAspect="1"/>
              </p:cNvPicPr>
              <p:nvPr/>
            </p:nvPicPr>
            <p:blipFill>
              <a:blip r:embed="rId12"/>
              <a:stretch>
                <a:fillRect/>
              </a:stretch>
            </p:blipFill>
            <p:spPr>
              <a:xfrm>
                <a:off x="6813115" y="5275227"/>
                <a:ext cx="761414" cy="1148950"/>
              </a:xfrm>
              <a:prstGeom prst="rect">
                <a:avLst/>
              </a:prstGeom>
            </p:spPr>
          </p:pic>
          <p:sp>
            <p:nvSpPr>
              <p:cNvPr id="36" name="テキスト ボックス 35">
                <a:extLst>
                  <a:ext uri="{FF2B5EF4-FFF2-40B4-BE49-F238E27FC236}">
                    <a16:creationId xmlns:a16="http://schemas.microsoft.com/office/drawing/2014/main" id="{F615F2FA-718C-D683-3BEC-6087B9939749}"/>
                  </a:ext>
                </a:extLst>
              </p:cNvPr>
              <p:cNvSpPr txBox="1"/>
              <p:nvPr/>
            </p:nvSpPr>
            <p:spPr bwMode="gray">
              <a:xfrm>
                <a:off x="6762608" y="6377827"/>
                <a:ext cx="1188039" cy="267509"/>
              </a:xfrm>
              <a:prstGeom prst="rect">
                <a:avLst/>
              </a:prstGeom>
              <a:noFill/>
            </p:spPr>
            <p:txBody>
              <a:bodyPr wrap="square" rtlCol="0">
                <a:spAutoFit/>
              </a:bodyPr>
              <a:lstStyle/>
              <a:p>
                <a:pPr marL="0" marR="0" lvl="0" indent="0" algn="l" defTabSz="371433" rtl="0" eaLnBrk="1" fontAlgn="auto" latinLnBrk="0" hangingPunct="1">
                  <a:lnSpc>
                    <a:spcPct val="100000"/>
                  </a:lnSpc>
                  <a:spcBef>
                    <a:spcPts val="0"/>
                  </a:spcBef>
                  <a:spcAft>
                    <a:spcPts val="0"/>
                  </a:spcAft>
                  <a:buClrTx/>
                  <a:buSzTx/>
                  <a:buFontTx/>
                  <a:buNone/>
                  <a:tabLst/>
                  <a:defRPr/>
                </a:pPr>
                <a:r>
                  <a:rPr kumimoji="0" lang="ja-JP" altLang="en-US" sz="569"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ステップジャンプ</a:t>
                </a:r>
                <a:r>
                  <a:rPr kumimoji="0" lang="en-US" altLang="ja-JP" sz="569"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20</a:t>
                </a:r>
                <a:r>
                  <a:rPr kumimoji="0" lang="ja-JP" altLang="en-US" sz="569"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万件</a:t>
                </a:r>
                <a:endParaRPr kumimoji="0" lang="en-US" altLang="ja-JP" sz="569"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endParaRPr>
              </a:p>
              <a:p>
                <a:pPr marL="0" marR="0" lvl="0" indent="0" algn="l" defTabSz="371433" rtl="0" eaLnBrk="1" fontAlgn="auto" latinLnBrk="0" hangingPunct="1">
                  <a:lnSpc>
                    <a:spcPct val="100000"/>
                  </a:lnSpc>
                  <a:spcBef>
                    <a:spcPts val="0"/>
                  </a:spcBef>
                  <a:spcAft>
                    <a:spcPts val="0"/>
                  </a:spcAft>
                  <a:buClrTx/>
                  <a:buSzTx/>
                  <a:buFontTx/>
                  <a:buNone/>
                  <a:tabLst/>
                  <a:defRPr/>
                </a:pPr>
                <a:r>
                  <a:rPr kumimoji="0" lang="ja-JP" altLang="en-US" sz="569"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突破リーフ</a:t>
                </a:r>
                <a:endParaRPr kumimoji="1" lang="en-US" altLang="ja-JP" sz="325" b="0" i="0" u="none" strike="noStrike" kern="0" cap="none" spc="0" normalizeH="0" baseline="0" noProof="0">
                  <a:ln>
                    <a:noFill/>
                  </a:ln>
                  <a:solidFill>
                    <a:srgbClr val="000000">
                      <a:lumMod val="75000"/>
                      <a:lumOff val="25000"/>
                    </a:srgbClr>
                  </a:solidFill>
                  <a:effectLst/>
                  <a:uLnTx/>
                  <a:uFillTx/>
                  <a:latin typeface="Meiryo UI" panose="020B0604030504040204" pitchFamily="50" charset="-128"/>
                  <a:ea typeface="Meiryo UI" panose="020B0604030504040204" pitchFamily="50" charset="-128"/>
                  <a:cs typeface="+mn-cs"/>
                </a:endParaRPr>
              </a:p>
            </p:txBody>
          </p:sp>
          <p:sp>
            <p:nvSpPr>
              <p:cNvPr id="37" name="テキスト ボックス 36">
                <a:extLst>
                  <a:ext uri="{FF2B5EF4-FFF2-40B4-BE49-F238E27FC236}">
                    <a16:creationId xmlns:a16="http://schemas.microsoft.com/office/drawing/2014/main" id="{A25135C2-C091-9684-2727-C82D9E158C73}"/>
                  </a:ext>
                </a:extLst>
              </p:cNvPr>
              <p:cNvSpPr txBox="1"/>
              <p:nvPr/>
            </p:nvSpPr>
            <p:spPr bwMode="gray">
              <a:xfrm>
                <a:off x="7804975" y="5069373"/>
                <a:ext cx="940739" cy="185692"/>
              </a:xfrm>
              <a:prstGeom prst="rect">
                <a:avLst/>
              </a:prstGeom>
              <a:noFill/>
            </p:spPr>
            <p:txBody>
              <a:bodyPr wrap="square" rtlCol="0">
                <a:spAutoFit/>
              </a:bodyPr>
              <a:lstStyle/>
              <a:p>
                <a:pPr marL="0" marR="0" lvl="0" indent="0" algn="l" defTabSz="371433" rtl="0" eaLnBrk="1" fontAlgn="auto" latinLnBrk="0" hangingPunct="1">
                  <a:lnSpc>
                    <a:spcPct val="120000"/>
                  </a:lnSpc>
                  <a:spcBef>
                    <a:spcPts val="0"/>
                  </a:spcBef>
                  <a:spcAft>
                    <a:spcPts val="244"/>
                  </a:spcAft>
                  <a:buClrTx/>
                  <a:buSzTx/>
                  <a:buFontTx/>
                  <a:buNone/>
                  <a:tabLst/>
                  <a:defRPr/>
                </a:pPr>
                <a:r>
                  <a:rPr kumimoji="1" lang="ja-JP" altLang="en-US" sz="569"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社会保障ガイド</a:t>
                </a:r>
                <a:endParaRPr kumimoji="1" lang="en-US" altLang="ja-JP" sz="569"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endParaRPr>
              </a:p>
            </p:txBody>
          </p:sp>
          <p:pic>
            <p:nvPicPr>
              <p:cNvPr id="38" name="図 37">
                <a:extLst>
                  <a:ext uri="{FF2B5EF4-FFF2-40B4-BE49-F238E27FC236}">
                    <a16:creationId xmlns:a16="http://schemas.microsoft.com/office/drawing/2014/main" id="{81FC823E-255A-94A4-8F7C-E40C4A8EE06E}"/>
                  </a:ext>
                </a:extLst>
              </p:cNvPr>
              <p:cNvPicPr>
                <a:picLocks noChangeAspect="1"/>
              </p:cNvPicPr>
              <p:nvPr/>
            </p:nvPicPr>
            <p:blipFill>
              <a:blip r:embed="rId13"/>
              <a:stretch>
                <a:fillRect/>
              </a:stretch>
            </p:blipFill>
            <p:spPr>
              <a:xfrm>
                <a:off x="7739122" y="4041693"/>
                <a:ext cx="756059" cy="996429"/>
              </a:xfrm>
              <a:prstGeom prst="rect">
                <a:avLst/>
              </a:prstGeom>
              <a:ln>
                <a:solidFill>
                  <a:schemeClr val="bg1">
                    <a:lumMod val="85000"/>
                  </a:schemeClr>
                </a:solidFill>
              </a:ln>
            </p:spPr>
          </p:pic>
          <p:sp>
            <p:nvSpPr>
              <p:cNvPr id="39" name="四角形: 上の 2 つの角を丸める 38">
                <a:extLst>
                  <a:ext uri="{FF2B5EF4-FFF2-40B4-BE49-F238E27FC236}">
                    <a16:creationId xmlns:a16="http://schemas.microsoft.com/office/drawing/2014/main" id="{69E1C66E-55AD-7250-5A84-E029A5E53518}"/>
                  </a:ext>
                </a:extLst>
              </p:cNvPr>
              <p:cNvSpPr/>
              <p:nvPr/>
            </p:nvSpPr>
            <p:spPr>
              <a:xfrm>
                <a:off x="6293767" y="2073579"/>
                <a:ext cx="706890" cy="240339"/>
              </a:xfrm>
              <a:prstGeom prst="round2SameRect">
                <a:avLst>
                  <a:gd name="adj1" fmla="val 0"/>
                  <a:gd name="adj2" fmla="val 18714"/>
                </a:avLst>
              </a:prstGeom>
              <a:solidFill>
                <a:schemeClr val="tx2">
                  <a:lumMod val="20000"/>
                  <a:lumOff val="80000"/>
                </a:schemeClr>
              </a:solidFill>
              <a:ln w="12700" cap="flat" cmpd="sng" algn="ctr">
                <a:solidFill>
                  <a:srgbClr val="000000"/>
                </a:solidFill>
                <a:prstDash val="solid"/>
                <a:miter lim="800000"/>
              </a:ln>
              <a:effectLst/>
            </p:spPr>
            <p:txBody>
              <a:bodyPr wrap="none" rtlCol="0" anchor="ctr"/>
              <a:lstStyle/>
              <a:p>
                <a:pPr marL="0" marR="0" lvl="0" indent="0" algn="ctr" defTabSz="742950" rtl="0" eaLnBrk="1" fontAlgn="auto" latinLnBrk="0" hangingPunct="1">
                  <a:lnSpc>
                    <a:spcPct val="100000"/>
                  </a:lnSpc>
                  <a:spcBef>
                    <a:spcPts val="0"/>
                  </a:spcBef>
                  <a:spcAft>
                    <a:spcPts val="0"/>
                  </a:spcAft>
                  <a:buClrTx/>
                  <a:buSzTx/>
                  <a:buFontTx/>
                  <a:buNone/>
                  <a:tabLst/>
                  <a:defRPr/>
                </a:pPr>
                <a:r>
                  <a:rPr kumimoji="0" lang="ja-JP" altLang="en-US" sz="813"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Arial"/>
                  </a:rPr>
                  <a:t>お気に入り</a:t>
                </a:r>
              </a:p>
            </p:txBody>
          </p:sp>
          <p:sp>
            <p:nvSpPr>
              <p:cNvPr id="40" name="四角形: 上の 2 つの角を丸める 39">
                <a:extLst>
                  <a:ext uri="{FF2B5EF4-FFF2-40B4-BE49-F238E27FC236}">
                    <a16:creationId xmlns:a16="http://schemas.microsoft.com/office/drawing/2014/main" id="{AA7EA028-FCED-4C15-73F4-41540AE89B22}"/>
                  </a:ext>
                </a:extLst>
              </p:cNvPr>
              <p:cNvSpPr/>
              <p:nvPr/>
            </p:nvSpPr>
            <p:spPr>
              <a:xfrm>
                <a:off x="5569982" y="2083392"/>
                <a:ext cx="706890" cy="240339"/>
              </a:xfrm>
              <a:prstGeom prst="round2SameRect">
                <a:avLst>
                  <a:gd name="adj1" fmla="val 0"/>
                  <a:gd name="adj2" fmla="val 18714"/>
                </a:avLst>
              </a:prstGeom>
              <a:solidFill>
                <a:schemeClr val="bg1">
                  <a:lumMod val="75000"/>
                </a:schemeClr>
              </a:solidFill>
              <a:ln w="12700" cap="flat" cmpd="sng" algn="ctr">
                <a:solidFill>
                  <a:srgbClr val="000000"/>
                </a:solidFill>
                <a:prstDash val="solid"/>
                <a:miter lim="800000"/>
              </a:ln>
              <a:effectLst/>
            </p:spPr>
            <p:txBody>
              <a:bodyPr rtlCol="0" anchor="ctr"/>
              <a:lstStyle/>
              <a:p>
                <a:pPr marL="0" marR="0" lvl="0" indent="0" algn="ctr" defTabSz="742950" rtl="0" eaLnBrk="1" fontAlgn="auto" latinLnBrk="0" hangingPunct="1">
                  <a:lnSpc>
                    <a:spcPct val="100000"/>
                  </a:lnSpc>
                  <a:spcBef>
                    <a:spcPts val="0"/>
                  </a:spcBef>
                  <a:spcAft>
                    <a:spcPts val="0"/>
                  </a:spcAft>
                  <a:buClrTx/>
                  <a:buSzTx/>
                  <a:buFontTx/>
                  <a:buNone/>
                  <a:tabLst/>
                  <a:defRPr/>
                </a:pPr>
                <a:r>
                  <a:rPr kumimoji="0" lang="ja-JP" altLang="en-US" sz="813" b="0" i="0" u="none" strike="noStrike" kern="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Arial"/>
                  </a:rPr>
                  <a:t>デジ棚</a:t>
                </a:r>
              </a:p>
            </p:txBody>
          </p:sp>
          <p:cxnSp>
            <p:nvCxnSpPr>
              <p:cNvPr id="41" name="直線コネクタ 40">
                <a:extLst>
                  <a:ext uri="{FF2B5EF4-FFF2-40B4-BE49-F238E27FC236}">
                    <a16:creationId xmlns:a16="http://schemas.microsoft.com/office/drawing/2014/main" id="{AD2F600E-16C1-FD71-309F-F5E0838974FF}"/>
                  </a:ext>
                </a:extLst>
              </p:cNvPr>
              <p:cNvCxnSpPr>
                <a:cxnSpLocks/>
              </p:cNvCxnSpPr>
              <p:nvPr/>
            </p:nvCxnSpPr>
            <p:spPr>
              <a:xfrm>
                <a:off x="5500501" y="3956264"/>
                <a:ext cx="4361312" cy="0"/>
              </a:xfrm>
              <a:prstGeom prst="line">
                <a:avLst/>
              </a:prstGeom>
              <a:ln w="3175">
                <a:solidFill>
                  <a:schemeClr val="tx1"/>
                </a:solidFill>
              </a:ln>
            </p:spPr>
            <p:style>
              <a:lnRef idx="2">
                <a:schemeClr val="accent1"/>
              </a:lnRef>
              <a:fillRef idx="0">
                <a:schemeClr val="accent1"/>
              </a:fillRef>
              <a:effectRef idx="1">
                <a:schemeClr val="accent1"/>
              </a:effectRef>
              <a:fontRef idx="minor">
                <a:schemeClr val="tx1"/>
              </a:fontRef>
            </p:style>
          </p:cxnSp>
          <p:cxnSp>
            <p:nvCxnSpPr>
              <p:cNvPr id="42" name="直線コネクタ 41">
                <a:extLst>
                  <a:ext uri="{FF2B5EF4-FFF2-40B4-BE49-F238E27FC236}">
                    <a16:creationId xmlns:a16="http://schemas.microsoft.com/office/drawing/2014/main" id="{423A72B9-4A68-4D79-2CCA-51577E49E255}"/>
                  </a:ext>
                </a:extLst>
              </p:cNvPr>
              <p:cNvCxnSpPr>
                <a:cxnSpLocks/>
              </p:cNvCxnSpPr>
              <p:nvPr/>
            </p:nvCxnSpPr>
            <p:spPr>
              <a:xfrm>
                <a:off x="5500502" y="5223813"/>
                <a:ext cx="4413611" cy="0"/>
              </a:xfrm>
              <a:prstGeom prst="line">
                <a:avLst/>
              </a:prstGeom>
              <a:ln w="3175">
                <a:solidFill>
                  <a:schemeClr val="tx1"/>
                </a:solidFill>
              </a:ln>
            </p:spPr>
            <p:style>
              <a:lnRef idx="2">
                <a:schemeClr val="accent1"/>
              </a:lnRef>
              <a:fillRef idx="0">
                <a:schemeClr val="accent1"/>
              </a:fillRef>
              <a:effectRef idx="1">
                <a:schemeClr val="accent1"/>
              </a:effectRef>
              <a:fontRef idx="minor">
                <a:schemeClr val="tx1"/>
              </a:fontRef>
            </p:style>
          </p:cxnSp>
          <p:sp>
            <p:nvSpPr>
              <p:cNvPr id="43" name="四角形: 角を丸くする 42">
                <a:extLst>
                  <a:ext uri="{FF2B5EF4-FFF2-40B4-BE49-F238E27FC236}">
                    <a16:creationId xmlns:a16="http://schemas.microsoft.com/office/drawing/2014/main" id="{28DE9BC9-696C-465B-A833-57BFD63C5420}"/>
                  </a:ext>
                </a:extLst>
              </p:cNvPr>
              <p:cNvSpPr/>
              <p:nvPr/>
            </p:nvSpPr>
            <p:spPr>
              <a:xfrm>
                <a:off x="5610401" y="2432011"/>
                <a:ext cx="592667" cy="203200"/>
              </a:xfrm>
              <a:prstGeom prst="roundRect">
                <a:avLst/>
              </a:prstGeom>
              <a:solidFill>
                <a:schemeClr val="bg1">
                  <a:lumMod val="65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78835" rtl="0" eaLnBrk="1" fontAlgn="auto" latinLnBrk="0" hangingPunct="1">
                  <a:lnSpc>
                    <a:spcPct val="100000"/>
                  </a:lnSpc>
                  <a:spcBef>
                    <a:spcPts val="0"/>
                  </a:spcBef>
                  <a:spcAft>
                    <a:spcPts val="0"/>
                  </a:spcAft>
                  <a:buClrTx/>
                  <a:buSzTx/>
                  <a:buFontTx/>
                  <a:buNone/>
                  <a:tabLst/>
                  <a:defRPr/>
                </a:pPr>
                <a:r>
                  <a:rPr kumimoji="1" lang="ja-JP" altLang="en-US" sz="800" b="0"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rPr>
                  <a:t>トップ</a:t>
                </a:r>
              </a:p>
            </p:txBody>
          </p:sp>
          <p:sp>
            <p:nvSpPr>
              <p:cNvPr id="44" name="四角形: 角を丸くする 43">
                <a:extLst>
                  <a:ext uri="{FF2B5EF4-FFF2-40B4-BE49-F238E27FC236}">
                    <a16:creationId xmlns:a16="http://schemas.microsoft.com/office/drawing/2014/main" id="{D374CC2A-4D25-CCC0-E184-804712E4BBC0}"/>
                  </a:ext>
                </a:extLst>
              </p:cNvPr>
              <p:cNvSpPr/>
              <p:nvPr/>
            </p:nvSpPr>
            <p:spPr>
              <a:xfrm>
                <a:off x="6277813" y="2432011"/>
                <a:ext cx="592667" cy="203200"/>
              </a:xfrm>
              <a:prstGeom prst="roundRect">
                <a:avLst/>
              </a:prstGeom>
              <a:solidFill>
                <a:schemeClr val="bg1">
                  <a:lumMod val="65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78835" rtl="0" eaLnBrk="1" fontAlgn="auto" latinLnBrk="0" hangingPunct="1">
                  <a:lnSpc>
                    <a:spcPct val="100000"/>
                  </a:lnSpc>
                  <a:spcBef>
                    <a:spcPts val="0"/>
                  </a:spcBef>
                  <a:spcAft>
                    <a:spcPts val="0"/>
                  </a:spcAft>
                  <a:buClrTx/>
                  <a:buSzTx/>
                  <a:buFontTx/>
                  <a:buNone/>
                  <a:tabLst/>
                  <a:defRPr/>
                </a:pPr>
                <a:r>
                  <a:rPr kumimoji="1" lang="en-US" altLang="ja-JP" sz="800" b="0"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rPr>
                  <a:t>DL</a:t>
                </a:r>
                <a:endParaRPr kumimoji="1" lang="ja-JP" altLang="en-US" sz="800" b="0"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endParaRPr>
              </a:p>
            </p:txBody>
          </p:sp>
          <p:sp>
            <p:nvSpPr>
              <p:cNvPr id="45" name="四角形: 角を丸くする 44">
                <a:extLst>
                  <a:ext uri="{FF2B5EF4-FFF2-40B4-BE49-F238E27FC236}">
                    <a16:creationId xmlns:a16="http://schemas.microsoft.com/office/drawing/2014/main" id="{43947E86-4067-4990-369D-060219A251A2}"/>
                  </a:ext>
                </a:extLst>
              </p:cNvPr>
              <p:cNvSpPr/>
              <p:nvPr/>
            </p:nvSpPr>
            <p:spPr>
              <a:xfrm>
                <a:off x="6913974" y="2432011"/>
                <a:ext cx="592667" cy="203200"/>
              </a:xfrm>
              <a:prstGeom prst="roundRect">
                <a:avLst/>
              </a:prstGeom>
              <a:solidFill>
                <a:schemeClr val="bg1">
                  <a:lumMod val="65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78835" rtl="0" eaLnBrk="1" fontAlgn="auto" latinLnBrk="0" hangingPunct="1">
                  <a:lnSpc>
                    <a:spcPct val="100000"/>
                  </a:lnSpc>
                  <a:spcBef>
                    <a:spcPts val="0"/>
                  </a:spcBef>
                  <a:spcAft>
                    <a:spcPts val="0"/>
                  </a:spcAft>
                  <a:buClrTx/>
                  <a:buSzTx/>
                  <a:buFontTx/>
                  <a:buNone/>
                  <a:tabLst/>
                  <a:defRPr/>
                </a:pPr>
                <a:r>
                  <a:rPr kumimoji="1" lang="en-US" altLang="ja-JP" sz="800" b="0"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rPr>
                  <a:t>DFL</a:t>
                </a:r>
                <a:endParaRPr kumimoji="1" lang="ja-JP" altLang="en-US" sz="800" b="0"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endParaRPr>
              </a:p>
            </p:txBody>
          </p:sp>
          <p:sp>
            <p:nvSpPr>
              <p:cNvPr id="46" name="四角形: 角を丸くする 45">
                <a:extLst>
                  <a:ext uri="{FF2B5EF4-FFF2-40B4-BE49-F238E27FC236}">
                    <a16:creationId xmlns:a16="http://schemas.microsoft.com/office/drawing/2014/main" id="{DA5288FD-3050-2F73-E7F4-CA2598A8A62F}"/>
                  </a:ext>
                </a:extLst>
              </p:cNvPr>
              <p:cNvSpPr/>
              <p:nvPr/>
            </p:nvSpPr>
            <p:spPr>
              <a:xfrm>
                <a:off x="7557736" y="2432011"/>
                <a:ext cx="592667" cy="203200"/>
              </a:xfrm>
              <a:prstGeom prst="roundRect">
                <a:avLst/>
              </a:prstGeom>
              <a:solidFill>
                <a:schemeClr val="bg1">
                  <a:lumMod val="65000"/>
                </a:schemeClr>
              </a:solidFill>
              <a:ln>
                <a:noFill/>
              </a:ln>
            </p:spPr>
            <p:style>
              <a:lnRef idx="1">
                <a:schemeClr val="accent1"/>
              </a:lnRef>
              <a:fillRef idx="3">
                <a:schemeClr val="accent1"/>
              </a:fillRef>
              <a:effectRef idx="2">
                <a:schemeClr val="accent1"/>
              </a:effectRef>
              <a:fontRef idx="minor">
                <a:schemeClr val="lt1"/>
              </a:fontRef>
            </p:style>
            <p:txBody>
              <a:bodyPr wrap="none" rtlCol="0" anchor="ctr"/>
              <a:lstStyle/>
              <a:p>
                <a:pPr marL="0" marR="0" lvl="0" indent="0" algn="ctr" defTabSz="478835" rtl="0" eaLnBrk="1" fontAlgn="auto" latinLnBrk="0" hangingPunct="1">
                  <a:lnSpc>
                    <a:spcPct val="100000"/>
                  </a:lnSpc>
                  <a:spcBef>
                    <a:spcPts val="0"/>
                  </a:spcBef>
                  <a:spcAft>
                    <a:spcPts val="0"/>
                  </a:spcAft>
                  <a:buClrTx/>
                  <a:buSzTx/>
                  <a:buFontTx/>
                  <a:buNone/>
                  <a:tabLst/>
                  <a:defRPr/>
                </a:pPr>
                <a:r>
                  <a:rPr kumimoji="1" lang="ja-JP" altLang="en-US" sz="700" b="0"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rPr>
                  <a:t>がん・損保</a:t>
                </a:r>
                <a:endParaRPr kumimoji="1" lang="en-US" altLang="ja-JP" sz="700" b="0"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endParaRPr>
              </a:p>
            </p:txBody>
          </p:sp>
          <p:sp>
            <p:nvSpPr>
              <p:cNvPr id="47" name="四角形: 角を丸くする 46">
                <a:extLst>
                  <a:ext uri="{FF2B5EF4-FFF2-40B4-BE49-F238E27FC236}">
                    <a16:creationId xmlns:a16="http://schemas.microsoft.com/office/drawing/2014/main" id="{D281C751-1495-58F0-D54E-863C541E5BE1}"/>
                  </a:ext>
                </a:extLst>
              </p:cNvPr>
              <p:cNvSpPr/>
              <p:nvPr/>
            </p:nvSpPr>
            <p:spPr>
              <a:xfrm>
                <a:off x="8201498" y="2423796"/>
                <a:ext cx="592667" cy="203200"/>
              </a:xfrm>
              <a:prstGeom prst="roundRect">
                <a:avLst/>
              </a:prstGeom>
              <a:solidFill>
                <a:schemeClr val="bg1">
                  <a:lumMod val="65000"/>
                </a:schemeClr>
              </a:solidFill>
              <a:ln>
                <a:noFill/>
              </a:ln>
            </p:spPr>
            <p:style>
              <a:lnRef idx="1">
                <a:schemeClr val="accent1"/>
              </a:lnRef>
              <a:fillRef idx="3">
                <a:schemeClr val="accent1"/>
              </a:fillRef>
              <a:effectRef idx="2">
                <a:schemeClr val="accent1"/>
              </a:effectRef>
              <a:fontRef idx="minor">
                <a:schemeClr val="lt1"/>
              </a:fontRef>
            </p:style>
            <p:txBody>
              <a:bodyPr wrap="none" rtlCol="0" anchor="ctr"/>
              <a:lstStyle/>
              <a:p>
                <a:pPr marL="0" marR="0" lvl="0" indent="0" algn="ctr" defTabSz="478835" rtl="0" eaLnBrk="1" fontAlgn="auto" latinLnBrk="0" hangingPunct="1">
                  <a:lnSpc>
                    <a:spcPct val="100000"/>
                  </a:lnSpc>
                  <a:spcBef>
                    <a:spcPts val="0"/>
                  </a:spcBef>
                  <a:spcAft>
                    <a:spcPts val="0"/>
                  </a:spcAft>
                  <a:buClrTx/>
                  <a:buSzTx/>
                  <a:buFontTx/>
                  <a:buNone/>
                  <a:tabLst/>
                  <a:defRPr/>
                </a:pPr>
                <a:r>
                  <a:rPr kumimoji="1" lang="ja-JP" altLang="en-US" sz="700" b="0"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rPr>
                  <a:t>資産形成</a:t>
                </a:r>
                <a:endParaRPr kumimoji="1" lang="en-US" altLang="ja-JP" sz="700" b="0"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endParaRPr>
              </a:p>
            </p:txBody>
          </p:sp>
          <p:sp>
            <p:nvSpPr>
              <p:cNvPr id="48" name="四角形: 角を丸くする 47">
                <a:extLst>
                  <a:ext uri="{FF2B5EF4-FFF2-40B4-BE49-F238E27FC236}">
                    <a16:creationId xmlns:a16="http://schemas.microsoft.com/office/drawing/2014/main" id="{AC53108C-E63F-6725-8DA2-7D07022F300A}"/>
                  </a:ext>
                </a:extLst>
              </p:cNvPr>
              <p:cNvSpPr/>
              <p:nvPr/>
            </p:nvSpPr>
            <p:spPr>
              <a:xfrm>
                <a:off x="8856294" y="2423796"/>
                <a:ext cx="592667" cy="203200"/>
              </a:xfrm>
              <a:prstGeom prst="roundRect">
                <a:avLst/>
              </a:prstGeom>
              <a:solidFill>
                <a:schemeClr val="bg1">
                  <a:lumMod val="65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78835" rtl="0" eaLnBrk="1" fontAlgn="auto" latinLnBrk="0" hangingPunct="1">
                  <a:lnSpc>
                    <a:spcPct val="100000"/>
                  </a:lnSpc>
                  <a:spcBef>
                    <a:spcPts val="0"/>
                  </a:spcBef>
                  <a:spcAft>
                    <a:spcPts val="0"/>
                  </a:spcAft>
                  <a:buClrTx/>
                  <a:buSzTx/>
                  <a:buFontTx/>
                  <a:buNone/>
                  <a:tabLst/>
                  <a:defRPr/>
                </a:pPr>
                <a:r>
                  <a:rPr kumimoji="1" lang="ja-JP" altLang="en-US" sz="700" b="0"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rPr>
                  <a:t>相続</a:t>
                </a:r>
                <a:endParaRPr kumimoji="1" lang="en-US" altLang="ja-JP" sz="700" b="0"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endParaRPr>
              </a:p>
            </p:txBody>
          </p:sp>
          <p:pic>
            <p:nvPicPr>
              <p:cNvPr id="49" name="グラフィックス 48" descr="拡大鏡 単色塗りつぶし">
                <a:extLst>
                  <a:ext uri="{FF2B5EF4-FFF2-40B4-BE49-F238E27FC236}">
                    <a16:creationId xmlns:a16="http://schemas.microsoft.com/office/drawing/2014/main" id="{1BDC318F-E87C-3FAA-084D-1C6D71510EE0}"/>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9817854" y="2229549"/>
                <a:ext cx="158628" cy="165408"/>
              </a:xfrm>
              <a:prstGeom prst="rect">
                <a:avLst/>
              </a:prstGeom>
            </p:spPr>
          </p:pic>
          <p:sp>
            <p:nvSpPr>
              <p:cNvPr id="50" name="正方形/長方形 49">
                <a:extLst>
                  <a:ext uri="{FF2B5EF4-FFF2-40B4-BE49-F238E27FC236}">
                    <a16:creationId xmlns:a16="http://schemas.microsoft.com/office/drawing/2014/main" id="{BAED19F0-EEAB-E897-BC7F-796B22351FF9}"/>
                  </a:ext>
                </a:extLst>
              </p:cNvPr>
              <p:cNvSpPr/>
              <p:nvPr/>
            </p:nvSpPr>
            <p:spPr>
              <a:xfrm>
                <a:off x="8875171" y="2146178"/>
                <a:ext cx="1082726" cy="212080"/>
              </a:xfrm>
              <a:prstGeom prst="rect">
                <a:avLst/>
              </a:prstGeom>
              <a:noFill/>
              <a:ln w="12700" cap="flat" cmpd="sng" algn="ctr">
                <a:solidFill>
                  <a:srgbClr val="000000"/>
                </a:solidFill>
                <a:prstDash val="solid"/>
                <a:miter lim="800000"/>
              </a:ln>
              <a:effectLst/>
            </p:spPr>
            <p:txBody>
              <a:bodyPr rtlCol="0" anchor="ctr"/>
              <a:lstStyle/>
              <a:p>
                <a:pPr marL="0" marR="0" lvl="0" indent="0" algn="ctr" defTabSz="742950" rtl="0" eaLnBrk="1" fontAlgn="auto" latinLnBrk="0" hangingPunct="1">
                  <a:lnSpc>
                    <a:spcPct val="100000"/>
                  </a:lnSpc>
                  <a:spcBef>
                    <a:spcPts val="0"/>
                  </a:spcBef>
                  <a:spcAft>
                    <a:spcPts val="0"/>
                  </a:spcAft>
                  <a:buClrTx/>
                  <a:buSzTx/>
                  <a:buFontTx/>
                  <a:buNone/>
                  <a:tabLst/>
                  <a:defRPr/>
                </a:pPr>
                <a:endParaRPr kumimoji="0" lang="ja-JP" altLang="en-US" sz="975" b="0" i="0" u="none" strike="noStrike" kern="0" cap="none" spc="0" normalizeH="0" baseline="0" noProof="0">
                  <a:ln>
                    <a:noFill/>
                  </a:ln>
                  <a:solidFill>
                    <a:srgbClr val="ED7D31">
                      <a:lumMod val="75000"/>
                    </a:srgbClr>
                  </a:solidFill>
                  <a:effectLst/>
                  <a:uLnTx/>
                  <a:uFillTx/>
                  <a:latin typeface="Meiryo UI" panose="020B0604030504040204" pitchFamily="50" charset="-128"/>
                  <a:ea typeface="Meiryo UI" panose="020B0604030504040204" pitchFamily="50" charset="-128"/>
                  <a:cs typeface="Arial"/>
                </a:endParaRPr>
              </a:p>
            </p:txBody>
          </p:sp>
          <p:sp>
            <p:nvSpPr>
              <p:cNvPr id="51" name="正方形/長方形 50">
                <a:extLst>
                  <a:ext uri="{FF2B5EF4-FFF2-40B4-BE49-F238E27FC236}">
                    <a16:creationId xmlns:a16="http://schemas.microsoft.com/office/drawing/2014/main" id="{B476EC28-5B20-520D-2831-3A6F759932C0}"/>
                  </a:ext>
                </a:extLst>
              </p:cNvPr>
              <p:cNvSpPr/>
              <p:nvPr/>
            </p:nvSpPr>
            <p:spPr bwMode="gray">
              <a:xfrm>
                <a:off x="9446736" y="2138459"/>
                <a:ext cx="509199" cy="219800"/>
              </a:xfrm>
              <a:prstGeom prst="rect">
                <a:avLst/>
              </a:prstGeom>
              <a:solidFill>
                <a:schemeClr val="tx2">
                  <a:lumMod val="60000"/>
                  <a:lumOff val="40000"/>
                </a:schemeClr>
              </a:solidFill>
              <a:ln w="34925" cap="flat" cmpd="sng" algn="ctr">
                <a:noFill/>
                <a:prstDash val="solid"/>
              </a:ln>
              <a:effectLst/>
              <a:scene3d>
                <a:camera prst="orthographicFront">
                  <a:rot lat="0" lon="0" rev="0"/>
                </a:camera>
                <a:lightRig rig="contrasting" dir="t">
                  <a:rot lat="0" lon="0" rev="1500000"/>
                </a:lightRig>
              </a:scene3d>
              <a:sp3d prstMaterial="metal">
                <a:bevelT w="88900" h="88900"/>
              </a:sp3d>
            </p:spPr>
            <p:txBody>
              <a:bodyPr wrap="none" rtlCol="0" anchor="ctr"/>
              <a:lstStyle/>
              <a:p>
                <a:pPr marL="0" marR="0" lvl="0" indent="0" algn="l" defTabSz="371433" rtl="0" eaLnBrk="1" fontAlgn="auto" latinLnBrk="0" hangingPunct="1">
                  <a:lnSpc>
                    <a:spcPct val="100000"/>
                  </a:lnSpc>
                  <a:spcBef>
                    <a:spcPts val="0"/>
                  </a:spcBef>
                  <a:spcAft>
                    <a:spcPts val="0"/>
                  </a:spcAft>
                  <a:buClrTx/>
                  <a:buSzTx/>
                  <a:buFontTx/>
                  <a:buNone/>
                  <a:tabLst/>
                  <a:defRPr/>
                </a:pPr>
                <a:r>
                  <a:rPr kumimoji="1" lang="ja-JP" altLang="en-US" sz="813" b="0" i="0" u="none" strike="noStrike" kern="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rPr>
                  <a:t>検索</a:t>
                </a:r>
              </a:p>
            </p:txBody>
          </p:sp>
          <p:pic>
            <p:nvPicPr>
              <p:cNvPr id="52" name="グラフィックス 51" descr="拡大鏡 単色塗りつぶし">
                <a:extLst>
                  <a:ext uri="{FF2B5EF4-FFF2-40B4-BE49-F238E27FC236}">
                    <a16:creationId xmlns:a16="http://schemas.microsoft.com/office/drawing/2014/main" id="{D862F44D-3128-EBC0-FAA1-E5124DB64AA9}"/>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9086088" y="2184109"/>
                <a:ext cx="158629" cy="165408"/>
              </a:xfrm>
              <a:prstGeom prst="rect">
                <a:avLst/>
              </a:prstGeom>
            </p:spPr>
          </p:pic>
        </p:grpSp>
        <p:pic>
          <p:nvPicPr>
            <p:cNvPr id="15" name="図 14">
              <a:extLst>
                <a:ext uri="{FF2B5EF4-FFF2-40B4-BE49-F238E27FC236}">
                  <a16:creationId xmlns:a16="http://schemas.microsoft.com/office/drawing/2014/main" id="{38B23295-B031-4F4C-B4B7-FD42F0CFEB50}"/>
                </a:ext>
              </a:extLst>
            </p:cNvPr>
            <p:cNvPicPr>
              <a:picLocks noChangeAspect="1"/>
            </p:cNvPicPr>
            <p:nvPr/>
          </p:nvPicPr>
          <p:blipFill>
            <a:blip r:embed="rId16"/>
            <a:stretch>
              <a:fillRect/>
            </a:stretch>
          </p:blipFill>
          <p:spPr>
            <a:xfrm>
              <a:off x="8926010" y="5382340"/>
              <a:ext cx="918876" cy="1228996"/>
            </a:xfrm>
            <a:prstGeom prst="rect">
              <a:avLst/>
            </a:prstGeom>
          </p:spPr>
        </p:pic>
      </p:grpSp>
      <p:sp>
        <p:nvSpPr>
          <p:cNvPr id="54" name="四角形: 角を丸くする 53">
            <a:extLst>
              <a:ext uri="{FF2B5EF4-FFF2-40B4-BE49-F238E27FC236}">
                <a16:creationId xmlns:a16="http://schemas.microsoft.com/office/drawing/2014/main" id="{12744238-558B-C326-CF5C-91DFEBE623A9}"/>
              </a:ext>
            </a:extLst>
          </p:cNvPr>
          <p:cNvSpPr/>
          <p:nvPr/>
        </p:nvSpPr>
        <p:spPr>
          <a:xfrm>
            <a:off x="2203292" y="4308277"/>
            <a:ext cx="914400" cy="164463"/>
          </a:xfrm>
          <a:prstGeom prst="roundRect">
            <a:avLst/>
          </a:prstGeom>
          <a:solidFill>
            <a:schemeClr val="tx2">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lvl="0" indent="0" algn="ctr" defTabSz="478835"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お気に入り追加</a:t>
            </a:r>
          </a:p>
        </p:txBody>
      </p:sp>
      <p:sp>
        <p:nvSpPr>
          <p:cNvPr id="55" name="正方形/長方形 54">
            <a:extLst>
              <a:ext uri="{FF2B5EF4-FFF2-40B4-BE49-F238E27FC236}">
                <a16:creationId xmlns:a16="http://schemas.microsoft.com/office/drawing/2014/main" id="{F1A7CD45-391B-BD4C-8993-6BC14B043934}"/>
              </a:ext>
            </a:extLst>
          </p:cNvPr>
          <p:cNvSpPr/>
          <p:nvPr/>
        </p:nvSpPr>
        <p:spPr>
          <a:xfrm>
            <a:off x="2145730" y="4260244"/>
            <a:ext cx="1030211" cy="269487"/>
          </a:xfrm>
          <a:prstGeom prst="rect">
            <a:avLst/>
          </a:prstGeom>
          <a:noFill/>
          <a:ln w="19050">
            <a:solidFill>
              <a:schemeClr val="tx2"/>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78835" rtl="0" eaLnBrk="1" fontAlgn="auto" latinLnBrk="0" hangingPunct="1">
              <a:lnSpc>
                <a:spcPct val="100000"/>
              </a:lnSpc>
              <a:spcBef>
                <a:spcPts val="0"/>
              </a:spcBef>
              <a:spcAft>
                <a:spcPts val="0"/>
              </a:spcAft>
              <a:buClrTx/>
              <a:buSzTx/>
              <a:buFontTx/>
              <a:buNone/>
              <a:tabLst/>
              <a:defRPr/>
            </a:pPr>
            <a:endParaRPr kumimoji="1" lang="en-US" altLang="ja-JP" sz="11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endParaRPr>
          </a:p>
        </p:txBody>
      </p:sp>
      <p:cxnSp>
        <p:nvCxnSpPr>
          <p:cNvPr id="56" name="コネクタ: カギ線 55">
            <a:extLst>
              <a:ext uri="{FF2B5EF4-FFF2-40B4-BE49-F238E27FC236}">
                <a16:creationId xmlns:a16="http://schemas.microsoft.com/office/drawing/2014/main" id="{8ACBBD76-E3D0-0F85-592C-DAAF8D0F7D65}"/>
              </a:ext>
            </a:extLst>
          </p:cNvPr>
          <p:cNvCxnSpPr>
            <a:cxnSpLocks/>
            <a:stCxn id="55" idx="3"/>
            <a:endCxn id="57" idx="1"/>
          </p:cNvCxnSpPr>
          <p:nvPr/>
        </p:nvCxnSpPr>
        <p:spPr>
          <a:xfrm>
            <a:off x="3175941" y="4394988"/>
            <a:ext cx="2658381" cy="1719264"/>
          </a:xfrm>
          <a:prstGeom prst="bentConnector3">
            <a:avLst>
              <a:gd name="adj1" fmla="val 50000"/>
            </a:avLst>
          </a:prstGeom>
          <a:noFill/>
          <a:ln w="19050" cap="flat" cmpd="sng" algn="ctr">
            <a:solidFill>
              <a:srgbClr val="FF0000"/>
            </a:solidFill>
            <a:prstDash val="solid"/>
            <a:headEnd type="none" w="lg" len="med"/>
            <a:tailEnd type="triangle"/>
          </a:ln>
          <a:effectLst/>
        </p:spPr>
      </p:cxnSp>
      <p:sp>
        <p:nvSpPr>
          <p:cNvPr id="57" name="正方形/長方形 56">
            <a:extLst>
              <a:ext uri="{FF2B5EF4-FFF2-40B4-BE49-F238E27FC236}">
                <a16:creationId xmlns:a16="http://schemas.microsoft.com/office/drawing/2014/main" id="{ECB04862-AE55-03DE-44FE-22DBB5BEE54D}"/>
              </a:ext>
            </a:extLst>
          </p:cNvPr>
          <p:cNvSpPr/>
          <p:nvPr/>
        </p:nvSpPr>
        <p:spPr>
          <a:xfrm>
            <a:off x="5834322" y="5456647"/>
            <a:ext cx="1030211" cy="1315210"/>
          </a:xfrm>
          <a:prstGeom prst="rect">
            <a:avLst/>
          </a:prstGeom>
          <a:noFill/>
          <a:ln w="19050">
            <a:solidFill>
              <a:schemeClr val="tx2"/>
            </a:solidFill>
            <a:prstDash val="soli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78835" rtl="0" eaLnBrk="1" fontAlgn="auto" latinLnBrk="0" hangingPunct="1">
              <a:lnSpc>
                <a:spcPct val="100000"/>
              </a:lnSpc>
              <a:spcBef>
                <a:spcPts val="0"/>
              </a:spcBef>
              <a:spcAft>
                <a:spcPts val="0"/>
              </a:spcAft>
              <a:buClrTx/>
              <a:buSzTx/>
              <a:buFontTx/>
              <a:buNone/>
              <a:tabLst/>
              <a:defRPr/>
            </a:pPr>
            <a:endParaRPr kumimoji="1" lang="en-US" altLang="ja-JP" sz="11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endParaRPr>
          </a:p>
        </p:txBody>
      </p:sp>
      <p:pic>
        <p:nvPicPr>
          <p:cNvPr id="58" name="グラフィックス 57" descr="非常に良い 単色塗りつぶし">
            <a:extLst>
              <a:ext uri="{FF2B5EF4-FFF2-40B4-BE49-F238E27FC236}">
                <a16:creationId xmlns:a16="http://schemas.microsoft.com/office/drawing/2014/main" id="{A9A48011-682D-9FF1-2602-5D1270D7FC5A}"/>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rot="19800000">
            <a:off x="5548757" y="5156160"/>
            <a:ext cx="516155" cy="516155"/>
          </a:xfrm>
          <a:prstGeom prst="rect">
            <a:avLst/>
          </a:prstGeom>
        </p:spPr>
      </p:pic>
      <p:sp>
        <p:nvSpPr>
          <p:cNvPr id="61" name="矢印: 五方向 60">
            <a:extLst>
              <a:ext uri="{FF2B5EF4-FFF2-40B4-BE49-F238E27FC236}">
                <a16:creationId xmlns:a16="http://schemas.microsoft.com/office/drawing/2014/main" id="{583CA223-15E7-03A8-3032-CCD36BA40011}"/>
              </a:ext>
            </a:extLst>
          </p:cNvPr>
          <p:cNvSpPr/>
          <p:nvPr/>
        </p:nvSpPr>
        <p:spPr>
          <a:xfrm>
            <a:off x="285610" y="2268040"/>
            <a:ext cx="3807596" cy="434015"/>
          </a:xfrm>
          <a:prstGeom prst="homePlate">
            <a:avLst/>
          </a:prstGeom>
          <a:solidFill>
            <a:schemeClr val="accent6">
              <a:lumMod val="50000"/>
            </a:schemeClr>
          </a:solidFill>
          <a:ln>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78835" rtl="0" eaLnBrk="1" fontAlgn="auto" latinLnBrk="0" hangingPunct="1">
              <a:lnSpc>
                <a:spcPct val="100000"/>
              </a:lnSpc>
              <a:spcBef>
                <a:spcPts val="0"/>
              </a:spcBef>
              <a:spcAft>
                <a:spcPts val="0"/>
              </a:spcAft>
              <a:buClrTx/>
              <a:buSzTx/>
              <a:buFontTx/>
              <a:buNone/>
              <a:tabLst/>
              <a:defRPr/>
            </a:pPr>
            <a:r>
              <a:rPr kumimoji="1" lang="ja-JP" altLang="en-US" sz="1400" b="1"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rPr>
              <a:t>活動ヒントで抽出されたチラシの</a:t>
            </a:r>
            <a:endParaRPr kumimoji="1" lang="en-US" altLang="ja-JP" sz="1400" b="1"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endParaRPr>
          </a:p>
          <a:p>
            <a:pPr marL="0" marR="0" lvl="0" indent="0" algn="ctr" defTabSz="478835" rtl="0" eaLnBrk="1" fontAlgn="auto" latinLnBrk="0" hangingPunct="1">
              <a:lnSpc>
                <a:spcPct val="100000"/>
              </a:lnSpc>
              <a:spcBef>
                <a:spcPts val="0"/>
              </a:spcBef>
              <a:spcAft>
                <a:spcPts val="0"/>
              </a:spcAft>
              <a:buClrTx/>
              <a:buSzTx/>
              <a:buFontTx/>
              <a:buNone/>
              <a:tabLst/>
              <a:defRPr/>
            </a:pPr>
            <a:r>
              <a:rPr kumimoji="1" lang="ja-JP" altLang="en-US" sz="1400" b="1"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rPr>
              <a:t>“お気に入り追加”</a:t>
            </a:r>
          </a:p>
        </p:txBody>
      </p:sp>
      <p:sp>
        <p:nvSpPr>
          <p:cNvPr id="62" name="矢印: 山形 61">
            <a:extLst>
              <a:ext uri="{FF2B5EF4-FFF2-40B4-BE49-F238E27FC236}">
                <a16:creationId xmlns:a16="http://schemas.microsoft.com/office/drawing/2014/main" id="{9F23D674-27BF-EC61-C3E9-A861D5D8CEE3}"/>
              </a:ext>
            </a:extLst>
          </p:cNvPr>
          <p:cNvSpPr/>
          <p:nvPr/>
        </p:nvSpPr>
        <p:spPr>
          <a:xfrm>
            <a:off x="4011288" y="2268040"/>
            <a:ext cx="3807596" cy="434015"/>
          </a:xfrm>
          <a:prstGeom prst="chevron">
            <a:avLst/>
          </a:prstGeom>
          <a:solidFill>
            <a:schemeClr val="accent6">
              <a:lumMod val="50000"/>
            </a:schemeClr>
          </a:solidFill>
          <a:ln>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78835" rtl="0" eaLnBrk="1" fontAlgn="auto" latinLnBrk="0" hangingPunct="1">
              <a:lnSpc>
                <a:spcPct val="100000"/>
              </a:lnSpc>
              <a:spcBef>
                <a:spcPts val="0"/>
              </a:spcBef>
              <a:spcAft>
                <a:spcPts val="0"/>
              </a:spcAft>
              <a:buClrTx/>
              <a:buSzTx/>
              <a:buFontTx/>
              <a:buNone/>
              <a:tabLst/>
              <a:defRPr/>
            </a:pPr>
            <a:r>
              <a:rPr kumimoji="1" lang="ja-JP" altLang="en-US" sz="1400" b="1"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rPr>
              <a:t>デジ棚の“お気に入りタブ”への連携</a:t>
            </a:r>
          </a:p>
        </p:txBody>
      </p:sp>
      <p:cxnSp>
        <p:nvCxnSpPr>
          <p:cNvPr id="128" name="直線コネクタ 127">
            <a:extLst>
              <a:ext uri="{FF2B5EF4-FFF2-40B4-BE49-F238E27FC236}">
                <a16:creationId xmlns:a16="http://schemas.microsoft.com/office/drawing/2014/main" id="{9518AF5D-7879-5F77-6A44-471AEB2F2E2B}"/>
              </a:ext>
            </a:extLst>
          </p:cNvPr>
          <p:cNvCxnSpPr>
            <a:cxnSpLocks/>
          </p:cNvCxnSpPr>
          <p:nvPr/>
        </p:nvCxnSpPr>
        <p:spPr>
          <a:xfrm flipV="1">
            <a:off x="8020929" y="2291144"/>
            <a:ext cx="0" cy="4143403"/>
          </a:xfrm>
          <a:prstGeom prst="line">
            <a:avLst/>
          </a:prstGeom>
          <a:noFill/>
          <a:ln w="9525" cap="flat" cmpd="sng" algn="ctr">
            <a:solidFill>
              <a:schemeClr val="bg1">
                <a:lumMod val="50000"/>
              </a:schemeClr>
            </a:solidFill>
            <a:prstDash val="sysDash"/>
            <a:headEnd type="none" w="lg" len="med"/>
            <a:tailEnd type="none" w="lg" len="med"/>
          </a:ln>
          <a:effectLst/>
        </p:spPr>
      </p:cxnSp>
      <p:sp>
        <p:nvSpPr>
          <p:cNvPr id="129" name="楕円 128">
            <a:extLst>
              <a:ext uri="{FF2B5EF4-FFF2-40B4-BE49-F238E27FC236}">
                <a16:creationId xmlns:a16="http://schemas.microsoft.com/office/drawing/2014/main" id="{C76813F1-8370-B87F-36DD-DD707B274A89}"/>
              </a:ext>
            </a:extLst>
          </p:cNvPr>
          <p:cNvSpPr/>
          <p:nvPr/>
        </p:nvSpPr>
        <p:spPr>
          <a:xfrm>
            <a:off x="7908231" y="2058526"/>
            <a:ext cx="235940" cy="235940"/>
          </a:xfrm>
          <a:prstGeom prst="ellipse">
            <a:avLst/>
          </a:prstGeom>
          <a:solidFill>
            <a:schemeClr val="bg1">
              <a:lumMod val="50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78835" rtl="0" eaLnBrk="1" fontAlgn="auto" latinLnBrk="0" hangingPunct="1">
              <a:lnSpc>
                <a:spcPct val="100000"/>
              </a:lnSpc>
              <a:spcBef>
                <a:spcPts val="0"/>
              </a:spcBef>
              <a:spcAft>
                <a:spcPts val="0"/>
              </a:spcAft>
              <a:buClrTx/>
              <a:buSzTx/>
              <a:buFontTx/>
              <a:buNone/>
              <a:tabLst/>
              <a:defRPr/>
            </a:pPr>
            <a:r>
              <a:rPr kumimoji="1" lang="ja-JP" altLang="en-US" sz="1100" b="0"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rPr>
              <a:t>＞</a:t>
            </a:r>
          </a:p>
        </p:txBody>
      </p:sp>
      <p:sp>
        <p:nvSpPr>
          <p:cNvPr id="130" name="正方形/長方形 129">
            <a:extLst>
              <a:ext uri="{FF2B5EF4-FFF2-40B4-BE49-F238E27FC236}">
                <a16:creationId xmlns:a16="http://schemas.microsoft.com/office/drawing/2014/main" id="{E61A8E47-FB89-6F0C-21D8-C94C7035A0E3}"/>
              </a:ext>
            </a:extLst>
          </p:cNvPr>
          <p:cNvSpPr/>
          <p:nvPr/>
        </p:nvSpPr>
        <p:spPr>
          <a:xfrm>
            <a:off x="285610" y="2761046"/>
            <a:ext cx="7533274" cy="269489"/>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478835"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デジタルバディ上で抽出されたツールを“</a:t>
            </a:r>
            <a:r>
              <a:rPr kumimoji="1" lang="ja-JP" altLang="en-US" sz="1400" b="1"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お気に入り追加</a:t>
            </a:r>
            <a:r>
              <a:rPr kumimoji="1" lang="ja-JP" altLang="en-US" sz="14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し、</a:t>
            </a:r>
            <a:r>
              <a:rPr kumimoji="1" lang="ja-JP" altLang="en-US" sz="1400" b="1"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デジ棚の“お気に入りタブ”にシームレスに連携</a:t>
            </a:r>
            <a:r>
              <a:rPr kumimoji="1" lang="ja-JP" altLang="en-US" sz="14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することで、</a:t>
            </a:r>
            <a:r>
              <a:rPr kumimoji="1" lang="ja-JP" altLang="en-US" sz="1400" b="1"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活動準備」や「お客さまへのデジ棚を用いたプレゼンテーション」を実施</a:t>
            </a:r>
            <a:r>
              <a:rPr kumimoji="1" lang="ja-JP" altLang="en-US" sz="14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する</a:t>
            </a:r>
            <a:endParaRPr kumimoji="1" lang="en-US" altLang="ja-JP" sz="14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endParaRPr>
          </a:p>
        </p:txBody>
      </p:sp>
      <p:sp>
        <p:nvSpPr>
          <p:cNvPr id="131" name="四角形: 角を丸くする 130">
            <a:extLst>
              <a:ext uri="{FF2B5EF4-FFF2-40B4-BE49-F238E27FC236}">
                <a16:creationId xmlns:a16="http://schemas.microsoft.com/office/drawing/2014/main" id="{F0080770-68EF-3F8F-40F5-EBE23C1E4661}"/>
              </a:ext>
            </a:extLst>
          </p:cNvPr>
          <p:cNvSpPr/>
          <p:nvPr/>
        </p:nvSpPr>
        <p:spPr>
          <a:xfrm>
            <a:off x="6045926" y="5462305"/>
            <a:ext cx="831273" cy="164463"/>
          </a:xfrm>
          <a:prstGeom prst="roundRect">
            <a:avLst/>
          </a:prstGeom>
          <a:solidFill>
            <a:srgbClr val="FF0000"/>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lvl="0" indent="0" algn="ctr" defTabSz="478835"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rPr>
              <a:t>バディから連携</a:t>
            </a:r>
          </a:p>
        </p:txBody>
      </p:sp>
      <p:sp>
        <p:nvSpPr>
          <p:cNvPr id="132" name="正方形/長方形 131">
            <a:extLst>
              <a:ext uri="{FF2B5EF4-FFF2-40B4-BE49-F238E27FC236}">
                <a16:creationId xmlns:a16="http://schemas.microsoft.com/office/drawing/2014/main" id="{158A1E9E-215F-BB8C-EE6F-B913C999568C}"/>
              </a:ext>
            </a:extLst>
          </p:cNvPr>
          <p:cNvSpPr/>
          <p:nvPr/>
        </p:nvSpPr>
        <p:spPr>
          <a:xfrm>
            <a:off x="5638863" y="1940068"/>
            <a:ext cx="2205474" cy="269489"/>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78835" rtl="0" eaLnBrk="1" fontAlgn="auto" latinLnBrk="0" hangingPunct="1">
              <a:lnSpc>
                <a:spcPct val="100000"/>
              </a:lnSpc>
              <a:spcBef>
                <a:spcPts val="0"/>
              </a:spcBef>
              <a:spcAft>
                <a:spcPts val="0"/>
              </a:spcAft>
              <a:buClrTx/>
              <a:buSzTx/>
              <a:buFontTx/>
              <a:buNone/>
              <a:tabLst/>
              <a:defRPr/>
            </a:pPr>
            <a:r>
              <a:rPr kumimoji="1" lang="en-US" altLang="ja-JP" sz="1400" b="1" i="0" u="none" strike="noStrike" kern="1200" cap="none" spc="0" normalizeH="0" baseline="0" noProof="0">
                <a:ln>
                  <a:noFill/>
                </a:ln>
                <a:solidFill>
                  <a:srgbClr val="FF0000"/>
                </a:solidFill>
                <a:effectLst/>
                <a:uLnTx/>
                <a:uFillTx/>
                <a:latin typeface="Meiryo UI" panose="020B0604030504040204" pitchFamily="50" charset="-128"/>
                <a:ea typeface="Meiryo UI" panose="020B0604030504040204" pitchFamily="50" charset="-128"/>
                <a:cs typeface="+mn-cs"/>
              </a:rPr>
              <a:t>※UI</a:t>
            </a:r>
            <a:r>
              <a:rPr kumimoji="1" lang="ja-JP" altLang="en-US" sz="1400" b="1" i="0" u="none" strike="noStrike" kern="1200" cap="none" spc="0" normalizeH="0" baseline="0" noProof="0">
                <a:ln>
                  <a:noFill/>
                </a:ln>
                <a:solidFill>
                  <a:srgbClr val="FF0000"/>
                </a:solidFill>
                <a:effectLst/>
                <a:uLnTx/>
                <a:uFillTx/>
                <a:latin typeface="Meiryo UI" panose="020B0604030504040204" pitchFamily="50" charset="-128"/>
                <a:ea typeface="Meiryo UI" panose="020B0604030504040204" pitchFamily="50" charset="-128"/>
                <a:cs typeface="+mn-cs"/>
              </a:rPr>
              <a:t>設計は</a:t>
            </a:r>
            <a:r>
              <a:rPr kumimoji="1" lang="en-US" altLang="ja-JP" sz="1400" b="1" i="0" u="none" strike="noStrike" kern="1200" cap="none" spc="0" normalizeH="0" baseline="0" noProof="0">
                <a:ln>
                  <a:noFill/>
                </a:ln>
                <a:solidFill>
                  <a:srgbClr val="FF0000"/>
                </a:solidFill>
                <a:effectLst/>
                <a:uLnTx/>
                <a:uFillTx/>
                <a:latin typeface="Meiryo UI" panose="020B0604030504040204" pitchFamily="50" charset="-128"/>
                <a:ea typeface="Meiryo UI" panose="020B0604030504040204" pitchFamily="50" charset="-128"/>
                <a:cs typeface="+mn-cs"/>
              </a:rPr>
              <a:t>25</a:t>
            </a:r>
            <a:r>
              <a:rPr kumimoji="1" lang="ja-JP" altLang="en-US" sz="1400" b="1" i="0" u="none" strike="noStrike" kern="1200" cap="none" spc="0" normalizeH="0" baseline="0" noProof="0">
                <a:ln>
                  <a:noFill/>
                </a:ln>
                <a:solidFill>
                  <a:srgbClr val="FF0000"/>
                </a:solidFill>
                <a:effectLst/>
                <a:uLnTx/>
                <a:uFillTx/>
                <a:latin typeface="Meiryo UI" panose="020B0604030504040204" pitchFamily="50" charset="-128"/>
                <a:ea typeface="Meiryo UI" panose="020B0604030504040204" pitchFamily="50" charset="-128"/>
                <a:cs typeface="+mn-cs"/>
              </a:rPr>
              <a:t>年度に実施</a:t>
            </a:r>
            <a:endParaRPr kumimoji="1" lang="en-US" altLang="ja-JP" sz="1400" b="1" i="0" u="none" strike="noStrike" kern="1200" cap="none" spc="0" normalizeH="0" baseline="0" noProof="0">
              <a:ln>
                <a:noFill/>
              </a:ln>
              <a:solidFill>
                <a:srgbClr val="FF0000"/>
              </a:solidFill>
              <a:effectLst/>
              <a:uLnTx/>
              <a:uFillTx/>
              <a:latin typeface="Meiryo UI" panose="020B0604030504040204" pitchFamily="50" charset="-128"/>
              <a:ea typeface="Meiryo UI" panose="020B0604030504040204" pitchFamily="50" charset="-128"/>
              <a:cs typeface="+mn-cs"/>
            </a:endParaRPr>
          </a:p>
        </p:txBody>
      </p:sp>
      <p:sp>
        <p:nvSpPr>
          <p:cNvPr id="134" name="楕円 133">
            <a:extLst>
              <a:ext uri="{FF2B5EF4-FFF2-40B4-BE49-F238E27FC236}">
                <a16:creationId xmlns:a16="http://schemas.microsoft.com/office/drawing/2014/main" id="{9DAB30AC-4344-B807-9A49-F7DE95870531}"/>
              </a:ext>
            </a:extLst>
          </p:cNvPr>
          <p:cNvSpPr/>
          <p:nvPr/>
        </p:nvSpPr>
        <p:spPr>
          <a:xfrm>
            <a:off x="2013536" y="4126905"/>
            <a:ext cx="235940" cy="235940"/>
          </a:xfrm>
          <a:prstGeom prst="ellipse">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78835"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rPr>
              <a:t>1</a:t>
            </a:r>
            <a:endParaRPr kumimoji="1" lang="ja-JP" altLang="en-US" sz="1200" b="0"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endParaRPr>
          </a:p>
        </p:txBody>
      </p:sp>
      <p:sp>
        <p:nvSpPr>
          <p:cNvPr id="135" name="楕円 134">
            <a:extLst>
              <a:ext uri="{FF2B5EF4-FFF2-40B4-BE49-F238E27FC236}">
                <a16:creationId xmlns:a16="http://schemas.microsoft.com/office/drawing/2014/main" id="{F212C958-2152-CA66-873B-90C7E1E0F0EC}"/>
              </a:ext>
            </a:extLst>
          </p:cNvPr>
          <p:cNvSpPr/>
          <p:nvPr/>
        </p:nvSpPr>
        <p:spPr>
          <a:xfrm>
            <a:off x="6786747" y="5306733"/>
            <a:ext cx="235940" cy="235940"/>
          </a:xfrm>
          <a:prstGeom prst="ellipse">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78835"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rPr>
              <a:t>3</a:t>
            </a:r>
            <a:endParaRPr kumimoji="1" lang="ja-JP" altLang="en-US" sz="1200" b="0"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endParaRPr>
          </a:p>
        </p:txBody>
      </p:sp>
      <p:sp>
        <p:nvSpPr>
          <p:cNvPr id="136" name="正方形/長方形 135">
            <a:extLst>
              <a:ext uri="{FF2B5EF4-FFF2-40B4-BE49-F238E27FC236}">
                <a16:creationId xmlns:a16="http://schemas.microsoft.com/office/drawing/2014/main" id="{D0D3268C-F3E3-1F3E-31BF-571BFB90D27F}"/>
              </a:ext>
            </a:extLst>
          </p:cNvPr>
          <p:cNvSpPr/>
          <p:nvPr/>
        </p:nvSpPr>
        <p:spPr>
          <a:xfrm>
            <a:off x="3535267" y="4249914"/>
            <a:ext cx="609095" cy="245686"/>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lvl="0" indent="0" algn="ctr" defTabSz="478835" rtl="0" eaLnBrk="1" fontAlgn="auto" latinLnBrk="0" hangingPunct="1">
              <a:lnSpc>
                <a:spcPct val="100000"/>
              </a:lnSpc>
              <a:spcBef>
                <a:spcPts val="0"/>
              </a:spcBef>
              <a:spcAft>
                <a:spcPts val="0"/>
              </a:spcAft>
              <a:buClrTx/>
              <a:buSzTx/>
              <a:buFontTx/>
              <a:buNone/>
              <a:tabLst/>
              <a:defRPr/>
            </a:pPr>
            <a:r>
              <a:rPr kumimoji="1" lang="en-US" altLang="ja-JP" sz="1200" b="1" i="0" u="none" strike="noStrike" kern="1200" cap="none" spc="0" normalizeH="0" baseline="0" noProof="0">
                <a:ln>
                  <a:noFill/>
                </a:ln>
                <a:solidFill>
                  <a:srgbClr val="DF0010"/>
                </a:solidFill>
                <a:effectLst/>
                <a:uLnTx/>
                <a:uFillTx/>
                <a:latin typeface="Meiryo UI" panose="020B0604030504040204" pitchFamily="50" charset="-128"/>
                <a:ea typeface="Meiryo UI" panose="020B0604030504040204" pitchFamily="50" charset="-128"/>
                <a:cs typeface="+mn-cs"/>
              </a:rPr>
              <a:t>API</a:t>
            </a:r>
            <a:r>
              <a:rPr kumimoji="1" lang="ja-JP" altLang="en-US" sz="1200" b="1" i="0" u="none" strike="noStrike" kern="1200" cap="none" spc="0" normalizeH="0" baseline="0" noProof="0">
                <a:ln>
                  <a:noFill/>
                </a:ln>
                <a:solidFill>
                  <a:srgbClr val="DF0010"/>
                </a:solidFill>
                <a:effectLst/>
                <a:uLnTx/>
                <a:uFillTx/>
                <a:latin typeface="Meiryo UI" panose="020B0604030504040204" pitchFamily="50" charset="-128"/>
                <a:ea typeface="Meiryo UI" panose="020B0604030504040204" pitchFamily="50" charset="-128"/>
                <a:cs typeface="+mn-cs"/>
              </a:rPr>
              <a:t>連携</a:t>
            </a:r>
            <a:endParaRPr kumimoji="1" lang="en-US" altLang="ja-JP" sz="1200" b="1" i="0" u="none" strike="noStrike" kern="1200" cap="none" spc="0" normalizeH="0" baseline="0" noProof="0">
              <a:ln>
                <a:noFill/>
              </a:ln>
              <a:solidFill>
                <a:srgbClr val="DF0010"/>
              </a:solidFill>
              <a:effectLst/>
              <a:uLnTx/>
              <a:uFillTx/>
              <a:latin typeface="Meiryo UI" panose="020B0604030504040204" pitchFamily="50" charset="-128"/>
              <a:ea typeface="Meiryo UI" panose="020B0604030504040204" pitchFamily="50" charset="-128"/>
              <a:cs typeface="+mn-cs"/>
            </a:endParaRPr>
          </a:p>
        </p:txBody>
      </p:sp>
      <p:sp>
        <p:nvSpPr>
          <p:cNvPr id="137" name="楕円 136">
            <a:extLst>
              <a:ext uri="{FF2B5EF4-FFF2-40B4-BE49-F238E27FC236}">
                <a16:creationId xmlns:a16="http://schemas.microsoft.com/office/drawing/2014/main" id="{511A6871-01C3-7616-0114-D34AF918CECB}"/>
              </a:ext>
            </a:extLst>
          </p:cNvPr>
          <p:cNvSpPr/>
          <p:nvPr/>
        </p:nvSpPr>
        <p:spPr>
          <a:xfrm>
            <a:off x="3426200" y="4020788"/>
            <a:ext cx="235940" cy="235940"/>
          </a:xfrm>
          <a:prstGeom prst="ellipse">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78835"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rPr>
              <a:t>2</a:t>
            </a:r>
            <a:endParaRPr kumimoji="1" lang="ja-JP" altLang="en-US" sz="1200" b="0"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endParaRPr>
          </a:p>
        </p:txBody>
      </p:sp>
      <p:sp>
        <p:nvSpPr>
          <p:cNvPr id="138" name="正方形/長方形 137">
            <a:extLst>
              <a:ext uri="{FF2B5EF4-FFF2-40B4-BE49-F238E27FC236}">
                <a16:creationId xmlns:a16="http://schemas.microsoft.com/office/drawing/2014/main" id="{FD32731D-D444-731D-D081-5BF22B9C75F7}"/>
              </a:ext>
            </a:extLst>
          </p:cNvPr>
          <p:cNvSpPr/>
          <p:nvPr/>
        </p:nvSpPr>
        <p:spPr>
          <a:xfrm>
            <a:off x="8222975" y="2439431"/>
            <a:ext cx="3796661" cy="1296263"/>
          </a:xfrm>
          <a:prstGeom prst="rect">
            <a:avLst/>
          </a:prstGeom>
          <a:solidFill>
            <a:schemeClr val="bg1">
              <a:lumMod val="95000"/>
            </a:schemeClr>
          </a:solidFill>
          <a:ln>
            <a:solidFill>
              <a:schemeClr val="bg1">
                <a:lumMod val="75000"/>
              </a:schemeClr>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08000" tIns="45720" rIns="91440" bIns="45720" numCol="1" spcCol="0" rtlCol="0" fromWordArt="0" anchor="t" anchorCtr="0" forceAA="0" compatLnSpc="1">
            <a:prstTxWarp prst="textNoShape">
              <a:avLst/>
            </a:prstTxWarp>
            <a:noAutofit/>
          </a:bodyPr>
          <a:lstStyle/>
          <a:p>
            <a:pPr marL="0" marR="0" lvl="0" indent="0" algn="l" defTabSz="478835" rtl="0" eaLnBrk="1" fontAlgn="auto" latinLnBrk="0" hangingPunct="1">
              <a:lnSpc>
                <a:spcPct val="100000"/>
              </a:lnSpc>
              <a:spcBef>
                <a:spcPts val="0"/>
              </a:spcBef>
              <a:spcAft>
                <a:spcPts val="0"/>
              </a:spcAft>
              <a:buClrTx/>
              <a:buSzTx/>
              <a:buFontTx/>
              <a:buNone/>
              <a:tabLst/>
              <a:defRPr/>
            </a:pPr>
            <a:r>
              <a:rPr kumimoji="1" lang="ja-JP" altLang="en-US" sz="1400" b="0" i="0" u="sng"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バディの活動ヒント画面に、</a:t>
            </a:r>
            <a:r>
              <a:rPr kumimoji="1" lang="ja-JP" altLang="en-US" sz="1400" b="1" i="0" u="sng"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お気に入り追加”ボタンを新設</a:t>
            </a:r>
            <a:endParaRPr kumimoji="1" lang="en-US" altLang="ja-JP" sz="1400" b="1" i="0" u="sng"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endParaRPr>
          </a:p>
          <a:p>
            <a:pPr marL="357188" marR="0" lvl="0" indent="-171450" algn="l" defTabSz="478835" rtl="0" eaLnBrk="1" fontAlgn="auto" latinLnBrk="0" hangingPunct="1">
              <a:lnSpc>
                <a:spcPct val="100000"/>
              </a:lnSpc>
              <a:spcBef>
                <a:spcPts val="0"/>
              </a:spcBef>
              <a:spcAft>
                <a:spcPts val="0"/>
              </a:spcAft>
              <a:buClrTx/>
              <a:buSzTx/>
              <a:buFont typeface="Meiryo UI" panose="020B0604030504040204" pitchFamily="50" charset="-128"/>
              <a:buChar char="–"/>
              <a:tabLst/>
              <a:defRPr/>
            </a:pPr>
            <a:endParaRPr kumimoji="1" lang="en-US" altLang="ja-JP" sz="120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endParaRPr>
          </a:p>
          <a:p>
            <a:pPr marL="357188" marR="0" lvl="0" indent="-171450" algn="l" defTabSz="478835" rtl="0" eaLnBrk="1" fontAlgn="auto" latinLnBrk="0" hangingPunct="1">
              <a:lnSpc>
                <a:spcPct val="100000"/>
              </a:lnSpc>
              <a:spcBef>
                <a:spcPts val="0"/>
              </a:spcBef>
              <a:spcAft>
                <a:spcPts val="0"/>
              </a:spcAft>
              <a:buClrTx/>
              <a:buSzTx/>
              <a:buFont typeface="Meiryo UI" panose="020B0604030504040204" pitchFamily="50" charset="-128"/>
              <a:buChar char="–"/>
              <a:tabLst/>
              <a:defRPr/>
            </a:pPr>
            <a:r>
              <a:rPr kumimoji="1" lang="ja-JP" altLang="en-US" sz="120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バディの活動ヒントで気に入ったチラシを“</a:t>
            </a:r>
            <a:r>
              <a:rPr kumimoji="1" lang="ja-JP" altLang="en-US" sz="1200" b="1"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お気に入り追加”し、デジ棚の“お気に入りタブ”に連携</a:t>
            </a:r>
            <a:r>
              <a:rPr kumimoji="1" lang="ja-JP" altLang="en-US" sz="120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可能</a:t>
            </a:r>
            <a:endParaRPr kumimoji="1" lang="en-US" altLang="ja-JP" sz="120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endParaRPr>
          </a:p>
        </p:txBody>
      </p:sp>
      <p:sp>
        <p:nvSpPr>
          <p:cNvPr id="139" name="正方形/長方形 138">
            <a:extLst>
              <a:ext uri="{FF2B5EF4-FFF2-40B4-BE49-F238E27FC236}">
                <a16:creationId xmlns:a16="http://schemas.microsoft.com/office/drawing/2014/main" id="{13D608D8-5565-5CC3-B3F6-BDD08C3D50AF}"/>
              </a:ext>
            </a:extLst>
          </p:cNvPr>
          <p:cNvSpPr/>
          <p:nvPr/>
        </p:nvSpPr>
        <p:spPr>
          <a:xfrm>
            <a:off x="8222975" y="3859626"/>
            <a:ext cx="3796661" cy="1296263"/>
          </a:xfrm>
          <a:prstGeom prst="rect">
            <a:avLst/>
          </a:prstGeom>
          <a:solidFill>
            <a:schemeClr val="bg1">
              <a:lumMod val="95000"/>
            </a:schemeClr>
          </a:solidFill>
          <a:ln>
            <a:solidFill>
              <a:schemeClr val="bg1">
                <a:lumMod val="75000"/>
              </a:schemeClr>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08000" tIns="45720" rIns="91440" bIns="45720" numCol="1" spcCol="0" rtlCol="0" fromWordArt="0" anchor="t" anchorCtr="0" forceAA="0" compatLnSpc="1">
            <a:prstTxWarp prst="textNoShape">
              <a:avLst/>
            </a:prstTxWarp>
            <a:noAutofit/>
          </a:bodyPr>
          <a:lstStyle/>
          <a:p>
            <a:pPr marL="0" marR="0" lvl="0" indent="0" algn="l" defTabSz="478835" rtl="0" eaLnBrk="1" fontAlgn="auto" latinLnBrk="0" hangingPunct="1">
              <a:lnSpc>
                <a:spcPct val="100000"/>
              </a:lnSpc>
              <a:spcBef>
                <a:spcPts val="0"/>
              </a:spcBef>
              <a:spcAft>
                <a:spcPts val="0"/>
              </a:spcAft>
              <a:buClrTx/>
              <a:buSzTx/>
              <a:buFontTx/>
              <a:buNone/>
              <a:tabLst/>
              <a:defRPr/>
            </a:pPr>
            <a:r>
              <a:rPr kumimoji="1" lang="en-US" altLang="ja-JP" sz="1400" b="1" i="0" u="sng" strike="noStrike" kern="1200" cap="none" spc="0" normalizeH="0" baseline="0" noProof="0" dirty="0">
                <a:ln>
                  <a:noFill/>
                </a:ln>
                <a:solidFill>
                  <a:srgbClr val="000000"/>
                </a:solidFill>
                <a:effectLst/>
                <a:highlight>
                  <a:srgbClr val="FFFF00"/>
                </a:highlight>
                <a:uLnTx/>
                <a:uFillTx/>
                <a:latin typeface="Meiryo UI" panose="020B0604030504040204" pitchFamily="50" charset="-128"/>
                <a:ea typeface="Meiryo UI" panose="020B0604030504040204" pitchFamily="50" charset="-128"/>
                <a:cs typeface="+mn-cs"/>
              </a:rPr>
              <a:t>API</a:t>
            </a:r>
            <a:r>
              <a:rPr kumimoji="1" lang="ja-JP" altLang="en-US" sz="1400" b="1" i="0" u="sng" strike="noStrike" kern="1200" cap="none" spc="0" normalizeH="0" baseline="0" noProof="0" dirty="0">
                <a:ln>
                  <a:noFill/>
                </a:ln>
                <a:solidFill>
                  <a:srgbClr val="000000"/>
                </a:solidFill>
                <a:effectLst/>
                <a:highlight>
                  <a:srgbClr val="FFFF00"/>
                </a:highlight>
                <a:uLnTx/>
                <a:uFillTx/>
                <a:latin typeface="Meiryo UI" panose="020B0604030504040204" pitchFamily="50" charset="-128"/>
                <a:ea typeface="Meiryo UI" panose="020B0604030504040204" pitchFamily="50" charset="-128"/>
                <a:cs typeface="+mn-cs"/>
              </a:rPr>
              <a:t>連携によって、「お気に入りフラグ」、「お客さま氏名」、「活動日」を表示</a:t>
            </a:r>
            <a:endParaRPr kumimoji="1" lang="en-US" altLang="ja-JP" sz="1400" b="1" i="0" u="sng" strike="noStrike" kern="1200" cap="none" spc="0" normalizeH="0" baseline="0" noProof="0" dirty="0">
              <a:ln>
                <a:noFill/>
              </a:ln>
              <a:solidFill>
                <a:srgbClr val="000000"/>
              </a:solidFill>
              <a:effectLst/>
              <a:highlight>
                <a:srgbClr val="FFFF00"/>
              </a:highlight>
              <a:uLnTx/>
              <a:uFillTx/>
              <a:latin typeface="Meiryo UI" panose="020B0604030504040204" pitchFamily="50" charset="-128"/>
              <a:ea typeface="Meiryo UI" panose="020B0604030504040204" pitchFamily="50" charset="-128"/>
              <a:cs typeface="+mn-cs"/>
            </a:endParaRPr>
          </a:p>
          <a:p>
            <a:pPr marL="0" marR="0" lvl="0" indent="0" algn="l" defTabSz="478835" rtl="0" eaLnBrk="1" fontAlgn="auto" latinLnBrk="0" hangingPunct="1">
              <a:lnSpc>
                <a:spcPct val="100000"/>
              </a:lnSpc>
              <a:spcBef>
                <a:spcPts val="0"/>
              </a:spcBef>
              <a:spcAft>
                <a:spcPts val="0"/>
              </a:spcAft>
              <a:buClrTx/>
              <a:buSzTx/>
              <a:buFontTx/>
              <a:buNone/>
              <a:tabLst/>
              <a:defRPr/>
            </a:pPr>
            <a:r>
              <a:rPr kumimoji="1" lang="en-US" altLang="ja-JP" sz="90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a:t>
            </a:r>
            <a:r>
              <a:rPr kumimoji="1" lang="ja-JP" altLang="en-US" sz="90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訂正前：“「お気に入りフラグ」、「おすすめ理由」を</a:t>
            </a:r>
            <a:r>
              <a:rPr kumimoji="1" lang="en-US" altLang="ja-JP" sz="90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API</a:t>
            </a:r>
            <a:r>
              <a:rPr kumimoji="1" lang="ja-JP" altLang="en-US" sz="90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により連携“と表記</a:t>
            </a:r>
            <a:endParaRPr kumimoji="1" lang="en-US" altLang="ja-JP" sz="1400" b="1" i="0" u="sng"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endParaRPr>
          </a:p>
          <a:p>
            <a:pPr marL="357188" marR="0" lvl="0" indent="-171450" algn="l" defTabSz="478835" rtl="0" eaLnBrk="1" fontAlgn="auto" latinLnBrk="0" hangingPunct="1">
              <a:lnSpc>
                <a:spcPct val="100000"/>
              </a:lnSpc>
              <a:spcBef>
                <a:spcPts val="0"/>
              </a:spcBef>
              <a:spcAft>
                <a:spcPts val="0"/>
              </a:spcAft>
              <a:buClrTx/>
              <a:buSzTx/>
              <a:buFont typeface="Meiryo UI" panose="020B0604030504040204" pitchFamily="50" charset="-128"/>
              <a:buChar char="–"/>
              <a:tabLst/>
              <a:defRPr/>
            </a:pPr>
            <a:endParaRPr kumimoji="1" lang="en-US" altLang="ja-JP" sz="60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endParaRPr>
          </a:p>
          <a:p>
            <a:pPr marL="357188" marR="0" lvl="0" indent="-171450" algn="l" defTabSz="478835" rtl="0" eaLnBrk="1" fontAlgn="auto" latinLnBrk="0" hangingPunct="1">
              <a:lnSpc>
                <a:spcPct val="100000"/>
              </a:lnSpc>
              <a:spcBef>
                <a:spcPts val="0"/>
              </a:spcBef>
              <a:spcAft>
                <a:spcPts val="0"/>
              </a:spcAft>
              <a:buClrTx/>
              <a:buSzTx/>
              <a:buFont typeface="Meiryo UI" panose="020B0604030504040204" pitchFamily="50" charset="-128"/>
              <a:buChar char="–"/>
              <a:tabLst/>
              <a:defRPr/>
            </a:pPr>
            <a:r>
              <a:rPr kumimoji="1" lang="en-US" altLang="ja-JP" sz="120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DNP</a:t>
            </a:r>
            <a:r>
              <a:rPr kumimoji="1" lang="ja-JP" altLang="en-US" sz="120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側で実装予定のお気に入り登録・解除</a:t>
            </a:r>
            <a:r>
              <a:rPr kumimoji="1" lang="en-US" altLang="ja-JP" sz="120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API</a:t>
            </a:r>
            <a:r>
              <a:rPr kumimoji="1" lang="ja-JP" altLang="en-US" sz="120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を、</a:t>
            </a:r>
            <a:r>
              <a:rPr kumimoji="1" lang="ja-JP" altLang="en-US" sz="1200" b="1"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バディ上でお気に入り登録した際に、</a:t>
            </a:r>
            <a:r>
              <a:rPr kumimoji="1" lang="en-US" altLang="ja-JP" sz="1200" b="1"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DNP</a:t>
            </a:r>
            <a:r>
              <a:rPr kumimoji="1" lang="ja-JP" altLang="en-US" sz="1200" b="1"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側</a:t>
            </a:r>
            <a:r>
              <a:rPr kumimoji="1" lang="en-US" altLang="ja-JP" sz="1200" b="1"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API</a:t>
            </a:r>
            <a:r>
              <a:rPr kumimoji="1" lang="ja-JP" altLang="en-US" sz="1200" b="1"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をコール</a:t>
            </a:r>
            <a:r>
              <a:rPr kumimoji="1" lang="ja-JP" altLang="en-US" sz="120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することで、連携</a:t>
            </a:r>
            <a:endParaRPr kumimoji="1" lang="en-US" altLang="ja-JP" sz="110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endParaRPr>
          </a:p>
        </p:txBody>
      </p:sp>
      <p:sp>
        <p:nvSpPr>
          <p:cNvPr id="140" name="正方形/長方形 139">
            <a:extLst>
              <a:ext uri="{FF2B5EF4-FFF2-40B4-BE49-F238E27FC236}">
                <a16:creationId xmlns:a16="http://schemas.microsoft.com/office/drawing/2014/main" id="{A7076038-B3E2-E467-2D5B-BFC133D94B5E}"/>
              </a:ext>
            </a:extLst>
          </p:cNvPr>
          <p:cNvSpPr/>
          <p:nvPr/>
        </p:nvSpPr>
        <p:spPr>
          <a:xfrm>
            <a:off x="8222975" y="5279820"/>
            <a:ext cx="3796661" cy="1296263"/>
          </a:xfrm>
          <a:prstGeom prst="rect">
            <a:avLst/>
          </a:prstGeom>
          <a:solidFill>
            <a:schemeClr val="bg1">
              <a:lumMod val="95000"/>
            </a:schemeClr>
          </a:solidFill>
          <a:ln>
            <a:solidFill>
              <a:schemeClr val="bg1">
                <a:lumMod val="75000"/>
              </a:schemeClr>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08000" tIns="45720" rIns="91440" bIns="45720" numCol="1" spcCol="0" rtlCol="0" fromWordArt="0" anchor="t" anchorCtr="0" forceAA="0" compatLnSpc="1">
            <a:prstTxWarp prst="textNoShape">
              <a:avLst/>
            </a:prstTxWarp>
            <a:noAutofit/>
          </a:bodyPr>
          <a:lstStyle/>
          <a:p>
            <a:pPr marL="0" marR="0" lvl="0" indent="0" algn="l" defTabSz="478835" rtl="0" eaLnBrk="1" fontAlgn="auto" latinLnBrk="0" hangingPunct="1">
              <a:lnSpc>
                <a:spcPct val="100000"/>
              </a:lnSpc>
              <a:spcBef>
                <a:spcPts val="0"/>
              </a:spcBef>
              <a:spcAft>
                <a:spcPts val="0"/>
              </a:spcAft>
              <a:buClrTx/>
              <a:buSzTx/>
              <a:buFontTx/>
              <a:buNone/>
              <a:tabLst/>
              <a:defRPr/>
            </a:pPr>
            <a:r>
              <a:rPr kumimoji="1" lang="ja-JP" altLang="en-US" sz="1400" b="0" i="0" u="sng"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バディでお気に入り追加したチラシが、</a:t>
            </a:r>
            <a:r>
              <a:rPr kumimoji="1" lang="ja-JP" altLang="en-US" sz="1400" b="1" i="0" u="sng"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デジ棚の”お気に入りタブ”に、「バディからの連携フラグ」と「お客さま氏名」、「活動日」が表示</a:t>
            </a:r>
            <a:endParaRPr kumimoji="1" lang="en-US" altLang="ja-JP" sz="1400" b="1" i="0" u="sng"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endParaRPr>
          </a:p>
          <a:p>
            <a:pPr marL="0" marR="0" lvl="0" indent="0" algn="l" defTabSz="478835" rtl="0" eaLnBrk="1" fontAlgn="auto" latinLnBrk="0" hangingPunct="1">
              <a:lnSpc>
                <a:spcPct val="100000"/>
              </a:lnSpc>
              <a:spcBef>
                <a:spcPts val="0"/>
              </a:spcBef>
              <a:spcAft>
                <a:spcPts val="0"/>
              </a:spcAft>
              <a:buClrTx/>
              <a:buSzTx/>
              <a:buFontTx/>
              <a:buNone/>
              <a:tabLst/>
              <a:defRPr/>
            </a:pPr>
            <a:endParaRPr kumimoji="1" lang="en-US" altLang="ja-JP" sz="11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endParaRPr>
          </a:p>
          <a:p>
            <a:pPr marL="357188" marR="0" lvl="0" indent="-171450" algn="l" defTabSz="478835" rtl="0" eaLnBrk="1" fontAlgn="auto" latinLnBrk="0" hangingPunct="1">
              <a:lnSpc>
                <a:spcPct val="100000"/>
              </a:lnSpc>
              <a:spcBef>
                <a:spcPts val="0"/>
              </a:spcBef>
              <a:spcAft>
                <a:spcPts val="0"/>
              </a:spcAft>
              <a:buClrTx/>
              <a:buSzTx/>
              <a:buFont typeface="Meiryo UI" panose="020B0604030504040204" pitchFamily="50" charset="-128"/>
              <a:buChar char="–"/>
              <a:tabLst/>
              <a:defRPr/>
            </a:pPr>
            <a:r>
              <a:rPr kumimoji="1" lang="ja-JP" altLang="en-US" sz="12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お気に入りタブは</a:t>
            </a:r>
            <a:r>
              <a:rPr kumimoji="1" lang="ja-JP" altLang="en-US" sz="1200" b="1"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顧客単位ではない</a:t>
            </a:r>
            <a:endParaRPr kumimoji="1" lang="en-US" altLang="ja-JP" sz="1200" b="1"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endParaRPr>
          </a:p>
        </p:txBody>
      </p:sp>
      <p:sp>
        <p:nvSpPr>
          <p:cNvPr id="141" name="楕円 140">
            <a:extLst>
              <a:ext uri="{FF2B5EF4-FFF2-40B4-BE49-F238E27FC236}">
                <a16:creationId xmlns:a16="http://schemas.microsoft.com/office/drawing/2014/main" id="{887B2913-677B-CFD1-15CB-2C9001616DD6}"/>
              </a:ext>
            </a:extLst>
          </p:cNvPr>
          <p:cNvSpPr/>
          <p:nvPr/>
        </p:nvSpPr>
        <p:spPr>
          <a:xfrm>
            <a:off x="8054609" y="2357578"/>
            <a:ext cx="235940" cy="235940"/>
          </a:xfrm>
          <a:prstGeom prst="ellipse">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78835" rtl="0" eaLnBrk="1" fontAlgn="auto" latinLnBrk="0" hangingPunct="1">
              <a:lnSpc>
                <a:spcPct val="100000"/>
              </a:lnSpc>
              <a:spcBef>
                <a:spcPts val="0"/>
              </a:spcBef>
              <a:spcAft>
                <a:spcPts val="0"/>
              </a:spcAft>
              <a:buClrTx/>
              <a:buSzTx/>
              <a:buFontTx/>
              <a:buNone/>
              <a:tabLst/>
              <a:defRPr/>
            </a:pPr>
            <a:r>
              <a:rPr kumimoji="1" lang="en-US" altLang="ja-JP" sz="1400" b="0"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rPr>
              <a:t>1</a:t>
            </a:r>
            <a:endParaRPr kumimoji="1" lang="ja-JP" altLang="en-US" sz="1400" b="0"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endParaRPr>
          </a:p>
        </p:txBody>
      </p:sp>
      <p:sp>
        <p:nvSpPr>
          <p:cNvPr id="142" name="楕円 141">
            <a:extLst>
              <a:ext uri="{FF2B5EF4-FFF2-40B4-BE49-F238E27FC236}">
                <a16:creationId xmlns:a16="http://schemas.microsoft.com/office/drawing/2014/main" id="{0C7D3A4C-892E-1D90-B4ED-C0AD2D2606D3}"/>
              </a:ext>
            </a:extLst>
          </p:cNvPr>
          <p:cNvSpPr/>
          <p:nvPr/>
        </p:nvSpPr>
        <p:spPr>
          <a:xfrm>
            <a:off x="8054609" y="3785212"/>
            <a:ext cx="235940" cy="235940"/>
          </a:xfrm>
          <a:prstGeom prst="ellipse">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78835" rtl="0" eaLnBrk="1" fontAlgn="auto" latinLnBrk="0" hangingPunct="1">
              <a:lnSpc>
                <a:spcPct val="100000"/>
              </a:lnSpc>
              <a:spcBef>
                <a:spcPts val="0"/>
              </a:spcBef>
              <a:spcAft>
                <a:spcPts val="0"/>
              </a:spcAft>
              <a:buClrTx/>
              <a:buSzTx/>
              <a:buFontTx/>
              <a:buNone/>
              <a:tabLst/>
              <a:defRPr/>
            </a:pPr>
            <a:r>
              <a:rPr kumimoji="1" lang="en-US" altLang="ja-JP" sz="1400" b="0"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rPr>
              <a:t>2</a:t>
            </a:r>
            <a:endParaRPr kumimoji="1" lang="ja-JP" altLang="en-US" sz="1400" b="0"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endParaRPr>
          </a:p>
        </p:txBody>
      </p:sp>
      <p:sp>
        <p:nvSpPr>
          <p:cNvPr id="143" name="楕円 142">
            <a:extLst>
              <a:ext uri="{FF2B5EF4-FFF2-40B4-BE49-F238E27FC236}">
                <a16:creationId xmlns:a16="http://schemas.microsoft.com/office/drawing/2014/main" id="{71038AE5-9DCC-715E-DEBC-E03F7B68D08A}"/>
              </a:ext>
            </a:extLst>
          </p:cNvPr>
          <p:cNvSpPr/>
          <p:nvPr/>
        </p:nvSpPr>
        <p:spPr>
          <a:xfrm>
            <a:off x="8054609" y="5212847"/>
            <a:ext cx="235940" cy="235940"/>
          </a:xfrm>
          <a:prstGeom prst="ellipse">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78835" rtl="0" eaLnBrk="1" fontAlgn="auto" latinLnBrk="0" hangingPunct="1">
              <a:lnSpc>
                <a:spcPct val="100000"/>
              </a:lnSpc>
              <a:spcBef>
                <a:spcPts val="0"/>
              </a:spcBef>
              <a:spcAft>
                <a:spcPts val="0"/>
              </a:spcAft>
              <a:buClrTx/>
              <a:buSzTx/>
              <a:buFontTx/>
              <a:buNone/>
              <a:tabLst/>
              <a:defRPr/>
            </a:pPr>
            <a:r>
              <a:rPr kumimoji="1" lang="en-US" altLang="ja-JP" sz="1400" b="0"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rPr>
              <a:t>3</a:t>
            </a:r>
            <a:endParaRPr kumimoji="1" lang="ja-JP" altLang="en-US" sz="1400" b="0"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endParaRPr>
          </a:p>
        </p:txBody>
      </p:sp>
      <p:sp>
        <p:nvSpPr>
          <p:cNvPr id="145" name="四角形: 角を丸くする 144">
            <a:extLst>
              <a:ext uri="{FF2B5EF4-FFF2-40B4-BE49-F238E27FC236}">
                <a16:creationId xmlns:a16="http://schemas.microsoft.com/office/drawing/2014/main" id="{5186E13C-C84E-875C-FA24-277D9AE32A25}"/>
              </a:ext>
            </a:extLst>
          </p:cNvPr>
          <p:cNvSpPr/>
          <p:nvPr/>
        </p:nvSpPr>
        <p:spPr>
          <a:xfrm>
            <a:off x="7889689" y="89936"/>
            <a:ext cx="1537490" cy="663721"/>
          </a:xfrm>
          <a:prstGeom prst="roundRect">
            <a:avLst/>
          </a:prstGeom>
          <a:solidFill>
            <a:schemeClr val="tx2"/>
          </a:solid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78835" rtl="0" eaLnBrk="1" fontAlgn="auto" latinLnBrk="0" hangingPunct="1">
              <a:lnSpc>
                <a:spcPct val="100000"/>
              </a:lnSpc>
              <a:spcBef>
                <a:spcPts val="0"/>
              </a:spcBef>
              <a:spcAft>
                <a:spcPts val="0"/>
              </a:spcAft>
              <a:buClrTx/>
              <a:buSzTx/>
              <a:buFontTx/>
              <a:buNone/>
              <a:tabLst/>
              <a:defRPr/>
            </a:pPr>
            <a:r>
              <a:rPr kumimoji="1" lang="en-US" altLang="ja-JP" sz="2000" b="1"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rPr>
              <a:t>26/4</a:t>
            </a:r>
            <a:r>
              <a:rPr kumimoji="1" lang="ja-JP" altLang="en-US" sz="2000" b="1"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rPr>
              <a:t>時点</a:t>
            </a:r>
            <a:endParaRPr kumimoji="1" lang="en-US" altLang="ja-JP" sz="2000" b="1"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endParaRPr>
          </a:p>
          <a:p>
            <a:pPr marL="0" marR="0" lvl="0" indent="0" algn="ctr" defTabSz="478835" rtl="0" eaLnBrk="1" fontAlgn="auto" latinLnBrk="0" hangingPunct="1">
              <a:lnSpc>
                <a:spcPct val="100000"/>
              </a:lnSpc>
              <a:spcBef>
                <a:spcPts val="0"/>
              </a:spcBef>
              <a:spcAft>
                <a:spcPts val="0"/>
              </a:spcAft>
              <a:buClrTx/>
              <a:buSzTx/>
              <a:buFontTx/>
              <a:buNone/>
              <a:tabLst/>
              <a:defRPr/>
            </a:pPr>
            <a:r>
              <a:rPr kumimoji="1" lang="ja-JP" altLang="en-US" sz="2000" b="1"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rPr>
              <a:t>での実装</a:t>
            </a:r>
          </a:p>
        </p:txBody>
      </p:sp>
      <p:sp>
        <p:nvSpPr>
          <p:cNvPr id="59" name="楕円 58">
            <a:extLst>
              <a:ext uri="{FF2B5EF4-FFF2-40B4-BE49-F238E27FC236}">
                <a16:creationId xmlns:a16="http://schemas.microsoft.com/office/drawing/2014/main" id="{3E0037F3-996B-AACB-2ABD-E9F0114166E3}"/>
              </a:ext>
            </a:extLst>
          </p:cNvPr>
          <p:cNvSpPr/>
          <p:nvPr/>
        </p:nvSpPr>
        <p:spPr>
          <a:xfrm>
            <a:off x="342716" y="444485"/>
            <a:ext cx="345440" cy="345440"/>
          </a:xfrm>
          <a:prstGeom prst="ellipse">
            <a:avLst/>
          </a:prstGeom>
          <a:solidFill>
            <a:schemeClr val="accent3">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lvl="0" indent="0" algn="ctr" defTabSz="478835" rtl="0" eaLnBrk="1" fontAlgn="auto" latinLnBrk="0" hangingPunct="1">
              <a:lnSpc>
                <a:spcPct val="100000"/>
              </a:lnSpc>
              <a:spcBef>
                <a:spcPts val="0"/>
              </a:spcBef>
              <a:spcAft>
                <a:spcPts val="0"/>
              </a:spcAft>
              <a:buClrTx/>
              <a:buSzTx/>
              <a:buFontTx/>
              <a:buNone/>
              <a:tabLst/>
              <a:defRPr/>
            </a:pPr>
            <a:r>
              <a:rPr kumimoji="1" lang="en-US" altLang="ja-JP" sz="1800" b="1"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rPr>
              <a:t>A’</a:t>
            </a:r>
            <a:endParaRPr kumimoji="1" lang="ja-JP" altLang="en-US" sz="1800" b="1"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endParaRPr>
          </a:p>
        </p:txBody>
      </p:sp>
      <p:grpSp>
        <p:nvGrpSpPr>
          <p:cNvPr id="147" name="グループ化 146">
            <a:extLst>
              <a:ext uri="{FF2B5EF4-FFF2-40B4-BE49-F238E27FC236}">
                <a16:creationId xmlns:a16="http://schemas.microsoft.com/office/drawing/2014/main" id="{D9045CB0-E5AE-5120-FE24-14E0900C3CC3}"/>
              </a:ext>
            </a:extLst>
          </p:cNvPr>
          <p:cNvGrpSpPr/>
          <p:nvPr/>
        </p:nvGrpSpPr>
        <p:grpSpPr>
          <a:xfrm>
            <a:off x="9795990" y="39696"/>
            <a:ext cx="2223646" cy="708068"/>
            <a:chOff x="7711002" y="39696"/>
            <a:chExt cx="2223646" cy="708068"/>
          </a:xfrm>
        </p:grpSpPr>
        <p:sp>
          <p:nvSpPr>
            <p:cNvPr id="60" name="正方形/長方形 59">
              <a:extLst>
                <a:ext uri="{FF2B5EF4-FFF2-40B4-BE49-F238E27FC236}">
                  <a16:creationId xmlns:a16="http://schemas.microsoft.com/office/drawing/2014/main" id="{25D0B1AF-8AEB-13AC-3E31-A506D3CF5AE0}"/>
                </a:ext>
              </a:extLst>
            </p:cNvPr>
            <p:cNvSpPr/>
            <p:nvPr/>
          </p:nvSpPr>
          <p:spPr>
            <a:xfrm>
              <a:off x="7711002" y="482895"/>
              <a:ext cx="509972" cy="264869"/>
            </a:xfrm>
            <a:prstGeom prst="rect">
              <a:avLst/>
            </a:prstGeom>
            <a:solidFill>
              <a:srgbClr val="FFFF00"/>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78835" rtl="0" eaLnBrk="1" fontAlgn="auto" latinLnBrk="0" hangingPunct="1">
                <a:lnSpc>
                  <a:spcPct val="100000"/>
                </a:lnSpc>
                <a:spcBef>
                  <a:spcPts val="0"/>
                </a:spcBef>
                <a:spcAft>
                  <a:spcPts val="0"/>
                </a:spcAft>
                <a:buClrTx/>
                <a:buSzTx/>
                <a:buFontTx/>
                <a:buNone/>
                <a:tabLst/>
                <a:defRPr/>
              </a:pPr>
              <a:endParaRPr kumimoji="1" lang="ja-JP" altLang="en-US" sz="1900" b="0" i="0" u="none" strike="noStrike" kern="1200" cap="none" spc="0" normalizeH="0" baseline="0" noProof="0">
                <a:ln>
                  <a:noFill/>
                </a:ln>
                <a:solidFill>
                  <a:srgbClr val="000000"/>
                </a:solidFill>
                <a:effectLst/>
                <a:uLnTx/>
                <a:uFillTx/>
                <a:latin typeface="Arial Unicode MS"/>
                <a:ea typeface="ＭＳ Ｐゴシック"/>
                <a:cs typeface="+mn-cs"/>
              </a:endParaRPr>
            </a:p>
          </p:txBody>
        </p:sp>
        <p:grpSp>
          <p:nvGrpSpPr>
            <p:cNvPr id="146" name="グループ化 145">
              <a:extLst>
                <a:ext uri="{FF2B5EF4-FFF2-40B4-BE49-F238E27FC236}">
                  <a16:creationId xmlns:a16="http://schemas.microsoft.com/office/drawing/2014/main" id="{96F0D128-102F-69E1-ED26-9ECCE3B88558}"/>
                </a:ext>
              </a:extLst>
            </p:cNvPr>
            <p:cNvGrpSpPr/>
            <p:nvPr/>
          </p:nvGrpSpPr>
          <p:grpSpPr>
            <a:xfrm>
              <a:off x="7711002" y="39696"/>
              <a:ext cx="2223646" cy="708068"/>
              <a:chOff x="7711001" y="39696"/>
              <a:chExt cx="2582613" cy="708068"/>
            </a:xfrm>
          </p:grpSpPr>
          <p:sp>
            <p:nvSpPr>
              <p:cNvPr id="63" name="正方形/長方形 62">
                <a:extLst>
                  <a:ext uri="{FF2B5EF4-FFF2-40B4-BE49-F238E27FC236}">
                    <a16:creationId xmlns:a16="http://schemas.microsoft.com/office/drawing/2014/main" id="{638AB1B0-35A5-A356-2240-CC2AF2B00CE9}"/>
                  </a:ext>
                </a:extLst>
              </p:cNvPr>
              <p:cNvSpPr/>
              <p:nvPr/>
            </p:nvSpPr>
            <p:spPr>
              <a:xfrm>
                <a:off x="8298560" y="482895"/>
                <a:ext cx="1995054" cy="264869"/>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478835" rtl="0" eaLnBrk="1" fontAlgn="auto" latinLnBrk="0" hangingPunct="1">
                  <a:lnSpc>
                    <a:spcPct val="100000"/>
                  </a:lnSpc>
                  <a:spcBef>
                    <a:spcPts val="0"/>
                  </a:spcBef>
                  <a:spcAft>
                    <a:spcPts val="0"/>
                  </a:spcAft>
                  <a:buClrTx/>
                  <a:buSzTx/>
                  <a:buFontTx/>
                  <a:buNone/>
                  <a:tabLst/>
                  <a:defRPr/>
                </a:pPr>
                <a:r>
                  <a:rPr kumimoji="1" lang="ja-JP" altLang="en-US" sz="1600" b="1"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訂正箇所</a:t>
                </a:r>
              </a:p>
            </p:txBody>
          </p:sp>
          <p:sp>
            <p:nvSpPr>
              <p:cNvPr id="133" name="正方形/長方形 132">
                <a:extLst>
                  <a:ext uri="{FF2B5EF4-FFF2-40B4-BE49-F238E27FC236}">
                    <a16:creationId xmlns:a16="http://schemas.microsoft.com/office/drawing/2014/main" id="{0E25ABBA-A13D-39E5-D7C6-26A2A636AE2F}"/>
                  </a:ext>
                </a:extLst>
              </p:cNvPr>
              <p:cNvSpPr/>
              <p:nvPr/>
            </p:nvSpPr>
            <p:spPr>
              <a:xfrm>
                <a:off x="7711001" y="39696"/>
                <a:ext cx="2582613" cy="380554"/>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78835" rtl="0" eaLnBrk="1" fontAlgn="auto" latinLnBrk="0" hangingPunct="1">
                  <a:lnSpc>
                    <a:spcPct val="100000"/>
                  </a:lnSpc>
                  <a:spcBef>
                    <a:spcPts val="0"/>
                  </a:spcBef>
                  <a:spcAft>
                    <a:spcPts val="0"/>
                  </a:spcAft>
                  <a:buClrTx/>
                  <a:buSzTx/>
                  <a:buFontTx/>
                  <a:buNone/>
                  <a:tabLst/>
                  <a:defRPr/>
                </a:pPr>
                <a:r>
                  <a:rPr kumimoji="1" lang="en-US" altLang="ja-JP" sz="1600" b="1"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rPr>
                  <a:t>4/11(</a:t>
                </a:r>
                <a:r>
                  <a:rPr kumimoji="1" lang="ja-JP" altLang="en-US" sz="1600" b="1"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rPr>
                  <a:t>金</a:t>
                </a:r>
                <a:r>
                  <a:rPr kumimoji="1" lang="en-US" altLang="ja-JP" sz="1600" b="1"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rPr>
                  <a:t>)</a:t>
                </a:r>
                <a:r>
                  <a:rPr kumimoji="1" lang="ja-JP" altLang="en-US" sz="1600" b="1"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rPr>
                  <a:t>訂正版</a:t>
                </a:r>
                <a:endParaRPr kumimoji="1" lang="en-US" altLang="ja-JP" sz="1600" b="1"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endParaRPr>
              </a:p>
            </p:txBody>
          </p:sp>
        </p:grpSp>
      </p:grpSp>
      <p:sp>
        <p:nvSpPr>
          <p:cNvPr id="149" name="テキスト ボックス 148">
            <a:extLst>
              <a:ext uri="{FF2B5EF4-FFF2-40B4-BE49-F238E27FC236}">
                <a16:creationId xmlns:a16="http://schemas.microsoft.com/office/drawing/2014/main" id="{2952D6A6-F0EF-C8BA-9D22-4463136D7FE8}"/>
              </a:ext>
            </a:extLst>
          </p:cNvPr>
          <p:cNvSpPr txBox="1"/>
          <p:nvPr/>
        </p:nvSpPr>
        <p:spPr>
          <a:xfrm>
            <a:off x="-804" y="-10254"/>
            <a:ext cx="910097" cy="474284"/>
          </a:xfrm>
          <a:prstGeom prst="rect">
            <a:avLst/>
          </a:prstGeom>
          <a:solidFill>
            <a:srgbClr val="002060"/>
          </a:solidFill>
        </p:spPr>
        <p:txBody>
          <a:bodyPr wrap="square" anchor="ctr">
            <a:noAutofit/>
          </a:bodyPr>
          <a:lstStyle/>
          <a:p>
            <a:pPr marL="0" marR="0" lvl="0" indent="0" algn="ctr" defTabSz="914400" rtl="0" eaLnBrk="1" fontAlgn="auto" latinLnBrk="0" hangingPunct="1">
              <a:lnSpc>
                <a:spcPct val="100000"/>
              </a:lnSpc>
              <a:spcBef>
                <a:spcPts val="300"/>
              </a:spcBef>
              <a:spcAft>
                <a:spcPts val="0"/>
              </a:spcAft>
              <a:buClrTx/>
              <a:buSzTx/>
              <a:buFontTx/>
              <a:buNone/>
              <a:tabLst/>
              <a:defRPr/>
            </a:pPr>
            <a:r>
              <a:rPr kumimoji="0" lang="ja-JP" altLang="en-US" sz="2000" b="1" kern="0" dirty="0">
                <a:solidFill>
                  <a:prstClr val="white"/>
                </a:solidFill>
                <a:latin typeface="Meiryo UI"/>
                <a:ea typeface="Meiryo UI"/>
              </a:rPr>
              <a:t>再掲</a:t>
            </a:r>
            <a:endParaRPr kumimoji="0" lang="ja-JP" altLang="en-US" sz="2000" b="1" i="0" u="none" strike="noStrike" kern="0" cap="none" spc="0" normalizeH="0" baseline="0" noProof="0" dirty="0">
              <a:ln>
                <a:noFill/>
              </a:ln>
              <a:solidFill>
                <a:prstClr val="white"/>
              </a:solidFill>
              <a:effectLst/>
              <a:uLnTx/>
              <a:uFillTx/>
              <a:latin typeface="Meiryo UI"/>
              <a:ea typeface="Meiryo UI"/>
              <a:cs typeface="+mn-cs"/>
            </a:endParaRPr>
          </a:p>
        </p:txBody>
      </p:sp>
    </p:spTree>
    <p:extLst>
      <p:ext uri="{BB962C8B-B14F-4D97-AF65-F5344CB8AC3E}">
        <p14:creationId xmlns:p14="http://schemas.microsoft.com/office/powerpoint/2010/main" val="59974120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テキスト ボックス 4">
            <a:extLst>
              <a:ext uri="{FF2B5EF4-FFF2-40B4-BE49-F238E27FC236}">
                <a16:creationId xmlns:a16="http://schemas.microsoft.com/office/drawing/2014/main" id="{E50A2AC3-5121-B692-34BB-7E8381C7ACE9}"/>
              </a:ext>
            </a:extLst>
          </p:cNvPr>
          <p:cNvSpPr txBox="1"/>
          <p:nvPr/>
        </p:nvSpPr>
        <p:spPr>
          <a:xfrm>
            <a:off x="289042" y="1008059"/>
            <a:ext cx="11690595" cy="646331"/>
          </a:xfrm>
          <a:prstGeom prst="rect">
            <a:avLst/>
          </a:prstGeom>
          <a:solidFill>
            <a:srgbClr val="EEECE1"/>
          </a:solidFill>
        </p:spPr>
        <p:txBody>
          <a:bodyPr wrap="square" lIns="288000" rIns="180000">
            <a:spAutoFit/>
          </a:bodyPr>
          <a:lstStyle/>
          <a:p>
            <a:pPr marL="0" marR="0" lvl="0" indent="0" defTabSz="914400" eaLnBrk="1" fontAlgn="auto" latinLnBrk="0" hangingPunct="1">
              <a:lnSpc>
                <a:spcPct val="100000"/>
              </a:lnSpc>
              <a:spcBef>
                <a:spcPts val="300"/>
              </a:spcBef>
              <a:spcAft>
                <a:spcPts val="0"/>
              </a:spcAft>
              <a:buClrTx/>
              <a:buSzTx/>
              <a:buFontTx/>
              <a:buNone/>
              <a:tabLst/>
              <a:defRPr/>
            </a:pPr>
            <a:r>
              <a:rPr kumimoji="0" lang="ja-JP" altLang="en-US" sz="1800" b="0" i="0" u="none" strike="noStrike" kern="0" cap="none" spc="0" normalizeH="0" baseline="0" noProof="0" dirty="0">
                <a:ln>
                  <a:noFill/>
                </a:ln>
                <a:solidFill>
                  <a:srgbClr val="000000"/>
                </a:solidFill>
                <a:effectLst/>
                <a:uLnTx/>
                <a:uFillTx/>
                <a:latin typeface="Meiryo UI"/>
                <a:ea typeface="Meiryo UI"/>
              </a:rPr>
              <a:t>・お気に入りフラグを用いて、バディからデジ棚への「お気に入り連携」については導入、</a:t>
            </a:r>
            <a:r>
              <a:rPr kumimoji="0" lang="ja-JP" altLang="en-US" sz="1800" b="1" i="0" u="sng" strike="noStrike" kern="0" cap="none" spc="0" normalizeH="0" baseline="0" noProof="0" dirty="0">
                <a:ln>
                  <a:noFill/>
                </a:ln>
                <a:solidFill>
                  <a:srgbClr val="000000"/>
                </a:solidFill>
                <a:effectLst/>
                <a:uLnTx/>
                <a:uFillTx/>
                <a:latin typeface="Meiryo UI"/>
                <a:ea typeface="Meiryo UI"/>
              </a:rPr>
              <a:t>「お客さま氏名（等の情報）」「活動日」については対応しない方向</a:t>
            </a:r>
            <a:r>
              <a:rPr kumimoji="0" lang="ja-JP" altLang="en-US" sz="1800" b="0" i="0" u="none" strike="noStrike" kern="0" cap="none" spc="0" normalizeH="0" baseline="0" noProof="0" dirty="0">
                <a:ln>
                  <a:noFill/>
                </a:ln>
                <a:solidFill>
                  <a:srgbClr val="000000"/>
                </a:solidFill>
                <a:effectLst/>
                <a:uLnTx/>
                <a:uFillTx/>
                <a:latin typeface="Meiryo UI"/>
                <a:ea typeface="Meiryo UI"/>
              </a:rPr>
              <a:t>でお願いしたい。</a:t>
            </a:r>
            <a:endParaRPr kumimoji="0" lang="en-US" altLang="ja-JP" sz="1800" b="0" i="0" u="none" strike="noStrike" kern="0" cap="none" spc="0" normalizeH="0" baseline="0" noProof="0" dirty="0">
              <a:ln>
                <a:noFill/>
              </a:ln>
              <a:solidFill>
                <a:srgbClr val="000000"/>
              </a:solidFill>
              <a:effectLst/>
              <a:uLnTx/>
              <a:uFillTx/>
              <a:latin typeface="Meiryo UI"/>
              <a:ea typeface="Meiryo UI"/>
            </a:endParaRPr>
          </a:p>
        </p:txBody>
      </p:sp>
      <p:sp>
        <p:nvSpPr>
          <p:cNvPr id="12" name="タイトル 1">
            <a:extLst>
              <a:ext uri="{FF2B5EF4-FFF2-40B4-BE49-F238E27FC236}">
                <a16:creationId xmlns:a16="http://schemas.microsoft.com/office/drawing/2014/main" id="{031FBF2F-F5C2-7962-F6A8-48FB1928A5E6}"/>
              </a:ext>
            </a:extLst>
          </p:cNvPr>
          <p:cNvSpPr txBox="1">
            <a:spLocks/>
          </p:cNvSpPr>
          <p:nvPr/>
        </p:nvSpPr>
        <p:spPr>
          <a:xfrm>
            <a:off x="317802" y="53214"/>
            <a:ext cx="11328097" cy="738452"/>
          </a:xfrm>
          <a:prstGeom prst="rect">
            <a:avLst/>
          </a:prstGeom>
        </p:spPr>
        <p:txBody>
          <a:bodyPr>
            <a:noAutofit/>
          </a:bodyPr>
          <a:lstStyle>
            <a:lvl1pPr algn="l" defTabSz="1219170" rtl="0" eaLnBrk="1" latinLnBrk="0" hangingPunct="1">
              <a:lnSpc>
                <a:spcPct val="100000"/>
              </a:lnSpc>
              <a:spcBef>
                <a:spcPct val="0"/>
              </a:spcBef>
              <a:buNone/>
              <a:defRPr kumimoji="1" sz="2400" kern="1200">
                <a:solidFill>
                  <a:schemeClr val="tx1"/>
                </a:solidFill>
                <a:latin typeface="Meiryo UI" panose="020B0604030504040204" pitchFamily="50" charset="-128"/>
                <a:ea typeface="Meiryo UI" panose="020B0604030504040204" pitchFamily="50" charset="-128"/>
                <a:cs typeface="+mj-cs"/>
              </a:defRPr>
            </a:lvl1pPr>
          </a:lstStyle>
          <a:p>
            <a:pPr marL="0" marR="0" lvl="0" indent="0" algn="l" defTabSz="1219170" rtl="0" eaLnBrk="1" fontAlgn="auto" latinLnBrk="0" hangingPunct="1">
              <a:lnSpc>
                <a:spcPct val="100000"/>
              </a:lnSpc>
              <a:spcBef>
                <a:spcPct val="0"/>
              </a:spcBef>
              <a:spcAft>
                <a:spcPts val="0"/>
              </a:spcAft>
              <a:buClrTx/>
              <a:buSzTx/>
              <a:buFontTx/>
              <a:buNone/>
              <a:tabLst/>
              <a:defRPr/>
            </a:pPr>
            <a:r>
              <a:rPr kumimoji="1" lang="ja-JP" altLang="en-US" sz="2400" b="1" i="0" u="none" strike="noStrike" kern="1200" cap="none" spc="0" normalizeH="0" baseline="0" noProof="0" dirty="0">
                <a:ln>
                  <a:noFill/>
                </a:ln>
                <a:solidFill>
                  <a:srgbClr val="282828"/>
                </a:solidFill>
                <a:effectLst/>
                <a:uLnTx/>
                <a:uFillTx/>
                <a:latin typeface="Meiryo UI" panose="020B0604030504040204" pitchFamily="50" charset="-128"/>
                <a:ea typeface="Meiryo UI" panose="020B0604030504040204" pitchFamily="50" charset="-128"/>
                <a:cs typeface="+mj-cs"/>
              </a:rPr>
              <a:t>自律型教育（デジ棚）</a:t>
            </a:r>
            <a:endParaRPr kumimoji="1" lang="en-US" altLang="ja-JP" sz="2400" b="1" i="0" u="none" strike="noStrike" kern="1200" cap="none" spc="0" normalizeH="0" baseline="0" noProof="0" dirty="0">
              <a:ln>
                <a:noFill/>
              </a:ln>
              <a:solidFill>
                <a:srgbClr val="282828"/>
              </a:solidFill>
              <a:effectLst/>
              <a:uLnTx/>
              <a:uFillTx/>
              <a:latin typeface="Meiryo UI" panose="020B0604030504040204" pitchFamily="50" charset="-128"/>
              <a:ea typeface="Meiryo UI" panose="020B0604030504040204" pitchFamily="50" charset="-128"/>
              <a:cs typeface="+mj-cs"/>
            </a:endParaRPr>
          </a:p>
          <a:p>
            <a:pPr>
              <a:defRPr/>
            </a:pPr>
            <a:r>
              <a:rPr kumimoji="1" lang="ja-JP" altLang="en-US" sz="2000" b="0" i="0" u="none" strike="noStrike" kern="1200" cap="none" spc="0" normalizeH="0" baseline="0" noProof="0" dirty="0">
                <a:ln>
                  <a:noFill/>
                </a:ln>
                <a:solidFill>
                  <a:srgbClr val="282828"/>
                </a:solidFill>
                <a:effectLst/>
                <a:uLnTx/>
                <a:uFillTx/>
                <a:latin typeface="Meiryo UI" panose="020B0604030504040204" pitchFamily="50" charset="-128"/>
                <a:ea typeface="Meiryo UI" panose="020B0604030504040204" pitchFamily="50" charset="-128"/>
                <a:cs typeface="+mj-cs"/>
              </a:rPr>
              <a:t>～</a:t>
            </a:r>
            <a:r>
              <a:rPr kumimoji="1" lang="ja-JP" altLang="en-US" sz="200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ユースケースを元にした“お気に入り追加”機能の要件定義、及び両チームでの認識合わせ</a:t>
            </a:r>
            <a:r>
              <a:rPr kumimoji="1" lang="ja-JP" altLang="en-US" sz="2000" b="0" i="0" u="none" strike="noStrike" kern="1200" cap="none" spc="0" normalizeH="0" baseline="0" noProof="0" dirty="0">
                <a:ln>
                  <a:noFill/>
                </a:ln>
                <a:solidFill>
                  <a:srgbClr val="282828"/>
                </a:solidFill>
                <a:effectLst/>
                <a:uLnTx/>
                <a:uFillTx/>
                <a:latin typeface="Meiryo UI" panose="020B0604030504040204" pitchFamily="50" charset="-128"/>
                <a:ea typeface="Meiryo UI" panose="020B0604030504040204" pitchFamily="50" charset="-128"/>
                <a:cs typeface="+mj-cs"/>
              </a:rPr>
              <a:t>～</a:t>
            </a:r>
            <a:endParaRPr kumimoji="1" lang="en-US" altLang="ja-JP" sz="2000" b="0" i="0" u="none" strike="noStrike" kern="1200" cap="none" spc="0" normalizeH="0" baseline="0" noProof="0" dirty="0">
              <a:ln>
                <a:noFill/>
              </a:ln>
              <a:solidFill>
                <a:srgbClr val="282828"/>
              </a:solidFill>
              <a:effectLst/>
              <a:uLnTx/>
              <a:uFillTx/>
              <a:latin typeface="Meiryo UI" panose="020B0604030504040204" pitchFamily="50" charset="-128"/>
              <a:ea typeface="Meiryo UI" panose="020B0604030504040204" pitchFamily="50" charset="-128"/>
              <a:cs typeface="+mj-cs"/>
            </a:endParaRPr>
          </a:p>
        </p:txBody>
      </p:sp>
      <p:sp>
        <p:nvSpPr>
          <p:cNvPr id="271" name="Title 3">
            <a:extLst>
              <a:ext uri="{FF2B5EF4-FFF2-40B4-BE49-F238E27FC236}">
                <a16:creationId xmlns:a16="http://schemas.microsoft.com/office/drawing/2014/main" id="{0D9BA880-CD40-A386-8BA6-60C0B8B7FF6F}"/>
              </a:ext>
            </a:extLst>
          </p:cNvPr>
          <p:cNvSpPr txBox="1">
            <a:spLocks/>
          </p:cNvSpPr>
          <p:nvPr/>
        </p:nvSpPr>
        <p:spPr>
          <a:xfrm>
            <a:off x="317802" y="1717890"/>
            <a:ext cx="11874198" cy="1575152"/>
          </a:xfrm>
          <a:prstGeom prst="rect">
            <a:avLst/>
          </a:prstGeom>
        </p:spPr>
        <p:txBody>
          <a:bodyPr vert="horz" lIns="91440" tIns="45720" rIns="91440" bIns="45720" rtlCol="0" anchor="t">
            <a:noAutofit/>
          </a:bodyPr>
          <a:lstStyle>
            <a:lvl1pPr algn="l" defTabSz="457200" rtl="0" eaLnBrk="1" latinLnBrk="0" hangingPunct="1">
              <a:spcBef>
                <a:spcPct val="0"/>
              </a:spcBef>
              <a:buNone/>
              <a:defRPr kumimoji="1" sz="2400" kern="1200">
                <a:solidFill>
                  <a:schemeClr val="tx1"/>
                </a:solidFill>
                <a:latin typeface="Trebuchet MS" panose="020B0603020202020204" pitchFamily="34" charset="0"/>
                <a:ea typeface="Meiryo UI" panose="020B0604030504040204" pitchFamily="50" charset="-128"/>
                <a:cs typeface="+mj-cs"/>
                <a:sym typeface="Meiryo UI" panose="020B0604030504040204" pitchFamily="50" charset="-128"/>
              </a:defRPr>
            </a:lvl1pPr>
          </a:lstStyle>
          <a:p>
            <a:pPr>
              <a:spcBef>
                <a:spcPts val="0"/>
              </a:spcBef>
              <a:defRPr/>
            </a:pPr>
            <a:r>
              <a:rPr kumimoji="0" lang="ja-JP" altLang="en-US" sz="1600" b="0" i="0" u="none" strike="noStrike" kern="0" cap="none" spc="0" normalizeH="0" baseline="0" noProof="0" dirty="0">
                <a:ln>
                  <a:noFill/>
                </a:ln>
                <a:solidFill>
                  <a:srgbClr val="000000"/>
                </a:solidFill>
                <a:effectLst/>
                <a:uLnTx/>
                <a:uFillTx/>
                <a:latin typeface="Meiryo UI"/>
                <a:ea typeface="Meiryo UI"/>
              </a:rPr>
              <a:t>以下理由より、 「お気に入り連携」 については導入したい一方で、「お客さま氏名（等の情報）」「活動日」について見送りたい。</a:t>
            </a:r>
            <a:endParaRPr kumimoji="0" lang="en-US" altLang="ja-JP" sz="1600" kern="0" dirty="0">
              <a:solidFill>
                <a:srgbClr val="000000"/>
              </a:solidFill>
              <a:latin typeface="Meiryo UI"/>
              <a:ea typeface="Meiryo UI"/>
              <a:cs typeface="Meiryo UI" pitchFamily="50" charset="-128"/>
            </a:endParaRPr>
          </a:p>
          <a:p>
            <a:pPr marL="285750" indent="-285750">
              <a:spcBef>
                <a:spcPts val="0"/>
              </a:spcBef>
              <a:buFont typeface="Wingdings" panose="05000000000000000000" pitchFamily="2" charset="2"/>
              <a:buChar char="ü"/>
              <a:defRPr/>
            </a:pPr>
            <a:endParaRPr kumimoji="0" lang="en-US" altLang="ja-JP" sz="1600" kern="0" dirty="0">
              <a:solidFill>
                <a:srgbClr val="000000"/>
              </a:solidFill>
              <a:latin typeface="Meiryo UI"/>
              <a:ea typeface="Meiryo UI"/>
              <a:cs typeface="Meiryo UI" pitchFamily="50" charset="-128"/>
            </a:endParaRPr>
          </a:p>
          <a:p>
            <a:pPr marL="285750" indent="-285750">
              <a:spcBef>
                <a:spcPts val="0"/>
              </a:spcBef>
              <a:buFont typeface="Wingdings" panose="05000000000000000000" pitchFamily="2" charset="2"/>
              <a:buChar char="ü"/>
              <a:defRPr/>
            </a:pPr>
            <a:r>
              <a:rPr kumimoji="0" lang="ja-JP" altLang="en-US" sz="1600" kern="0" dirty="0">
                <a:solidFill>
                  <a:srgbClr val="000000"/>
                </a:solidFill>
                <a:latin typeface="Meiryo UI"/>
                <a:ea typeface="Meiryo UI"/>
                <a:cs typeface="Meiryo UI" pitchFamily="50" charset="-128"/>
              </a:rPr>
              <a:t>デジ棚上でお客さま情報を個別に管理・表示させるのではなく、生涯</a:t>
            </a:r>
            <a:r>
              <a:rPr kumimoji="0" lang="en-US" altLang="ja-JP" sz="1600" kern="0" dirty="0">
                <a:solidFill>
                  <a:srgbClr val="000000"/>
                </a:solidFill>
                <a:latin typeface="Meiryo UI"/>
                <a:ea typeface="Meiryo UI"/>
                <a:cs typeface="Meiryo UI" pitchFamily="50" charset="-128"/>
              </a:rPr>
              <a:t>D</a:t>
            </a:r>
            <a:r>
              <a:rPr kumimoji="0" lang="ja-JP" altLang="en-US" sz="1600" kern="0" dirty="0">
                <a:solidFill>
                  <a:srgbClr val="000000"/>
                </a:solidFill>
                <a:latin typeface="Meiryo UI"/>
                <a:ea typeface="Meiryo UI"/>
                <a:cs typeface="Meiryo UI" pitchFamily="50" charset="-128"/>
              </a:rPr>
              <a:t>、お客さまに必要な資料が探せる仕様としたい。（あいまい検索と同様）</a:t>
            </a:r>
            <a:endParaRPr kumimoji="0" lang="en-US" altLang="ja-JP" sz="1600" kern="0" dirty="0">
              <a:solidFill>
                <a:srgbClr val="000000"/>
              </a:solidFill>
              <a:latin typeface="Meiryo UI"/>
              <a:ea typeface="Meiryo UI"/>
              <a:cs typeface="Meiryo UI" pitchFamily="50" charset="-128"/>
            </a:endParaRPr>
          </a:p>
          <a:p>
            <a:pPr marL="285750" indent="-285750">
              <a:spcBef>
                <a:spcPts val="0"/>
              </a:spcBef>
              <a:buFont typeface="Wingdings" panose="05000000000000000000" pitchFamily="2" charset="2"/>
              <a:buChar char="ü"/>
              <a:defRPr/>
            </a:pPr>
            <a:r>
              <a:rPr kumimoji="0" lang="ja-JP" altLang="en-US" sz="1600" kern="0" dirty="0">
                <a:solidFill>
                  <a:srgbClr val="000000"/>
                </a:solidFill>
                <a:latin typeface="Meiryo UI"/>
                <a:ea typeface="Meiryo UI"/>
                <a:cs typeface="Meiryo UI" pitchFamily="50" charset="-128"/>
              </a:rPr>
              <a:t>バディ側からのお気に入り登録なのか、デジ棚上で直接お気に入り登録したかどうかの見分けは特段不要。</a:t>
            </a:r>
            <a:endParaRPr kumimoji="0" lang="en-US" altLang="ja-JP" sz="1600" kern="0" dirty="0">
              <a:solidFill>
                <a:srgbClr val="000000"/>
              </a:solidFill>
              <a:latin typeface="Meiryo UI"/>
              <a:ea typeface="Meiryo UI"/>
              <a:cs typeface="Meiryo UI" pitchFamily="50" charset="-128"/>
            </a:endParaRPr>
          </a:p>
          <a:p>
            <a:pPr marL="285750" indent="-285750">
              <a:spcBef>
                <a:spcPts val="0"/>
              </a:spcBef>
              <a:buFont typeface="Wingdings" panose="05000000000000000000" pitchFamily="2" charset="2"/>
              <a:buChar char="ü"/>
              <a:defRPr/>
            </a:pPr>
            <a:r>
              <a:rPr kumimoji="0" lang="ja-JP" altLang="en-US" sz="1600" kern="0" dirty="0">
                <a:solidFill>
                  <a:srgbClr val="000000"/>
                </a:solidFill>
                <a:latin typeface="Meiryo UI"/>
                <a:ea typeface="Meiryo UI"/>
                <a:cs typeface="Meiryo UI" pitchFamily="50" charset="-128"/>
              </a:rPr>
              <a:t>過去にバディからお気に入りを登録した情報をいつまで保持するか等課題がある。</a:t>
            </a:r>
            <a:endParaRPr kumimoji="0" lang="en-US" altLang="ja-JP" sz="1600" kern="0" dirty="0">
              <a:solidFill>
                <a:srgbClr val="000000"/>
              </a:solidFill>
              <a:latin typeface="Meiryo UI"/>
              <a:ea typeface="Meiryo UI"/>
              <a:cs typeface="Meiryo UI" pitchFamily="50" charset="-128"/>
            </a:endParaRPr>
          </a:p>
          <a:p>
            <a:pPr marL="285750" indent="-285750">
              <a:spcBef>
                <a:spcPts val="0"/>
              </a:spcBef>
              <a:buFont typeface="Wingdings" panose="05000000000000000000" pitchFamily="2" charset="2"/>
              <a:buChar char="ü"/>
              <a:defRPr/>
            </a:pPr>
            <a:r>
              <a:rPr kumimoji="0" lang="ja-JP" altLang="en-US" sz="1600" kern="0" dirty="0">
                <a:solidFill>
                  <a:srgbClr val="000000"/>
                </a:solidFill>
                <a:latin typeface="Meiryo UI"/>
                <a:ea typeface="Meiryo UI"/>
                <a:cs typeface="Meiryo UI" pitchFamily="50" charset="-128"/>
              </a:rPr>
              <a:t>デジ棚の</a:t>
            </a:r>
            <a:r>
              <a:rPr kumimoji="0" lang="en-US" altLang="ja-JP" sz="1600" kern="0" dirty="0">
                <a:solidFill>
                  <a:srgbClr val="000000"/>
                </a:solidFill>
                <a:latin typeface="Meiryo UI"/>
                <a:ea typeface="Meiryo UI"/>
                <a:cs typeface="Meiryo UI" pitchFamily="50" charset="-128"/>
              </a:rPr>
              <a:t>UI</a:t>
            </a:r>
            <a:r>
              <a:rPr kumimoji="0" lang="ja-JP" altLang="en-US" sz="1600" kern="0" dirty="0">
                <a:solidFill>
                  <a:srgbClr val="000000"/>
                </a:solidFill>
                <a:latin typeface="Meiryo UI"/>
                <a:ea typeface="Meiryo UI"/>
                <a:cs typeface="Meiryo UI" pitchFamily="50" charset="-128"/>
              </a:rPr>
              <a:t>上、上記項目を設置する場所がない。あわせて、他のお客さまに顧客情報が見えてしまうリスクがある。</a:t>
            </a:r>
            <a:endParaRPr kumimoji="0" lang="en-US" altLang="ja-JP" sz="1600" kern="0" dirty="0">
              <a:solidFill>
                <a:srgbClr val="000000"/>
              </a:solidFill>
              <a:latin typeface="Meiryo UI"/>
              <a:ea typeface="Meiryo UI"/>
              <a:cs typeface="Meiryo UI" pitchFamily="50" charset="-128"/>
            </a:endParaRPr>
          </a:p>
        </p:txBody>
      </p:sp>
      <p:sp>
        <p:nvSpPr>
          <p:cNvPr id="4" name="テキスト ボックス 3">
            <a:extLst>
              <a:ext uri="{FF2B5EF4-FFF2-40B4-BE49-F238E27FC236}">
                <a16:creationId xmlns:a16="http://schemas.microsoft.com/office/drawing/2014/main" id="{BB273009-6A1F-29CB-DE3F-ED7B859C6F60}"/>
              </a:ext>
            </a:extLst>
          </p:cNvPr>
          <p:cNvSpPr txBox="1"/>
          <p:nvPr/>
        </p:nvSpPr>
        <p:spPr>
          <a:xfrm>
            <a:off x="303421" y="5701367"/>
            <a:ext cx="11661836" cy="1077218"/>
          </a:xfrm>
          <a:prstGeom prst="rect">
            <a:avLst/>
          </a:prstGeom>
          <a:solidFill>
            <a:schemeClr val="bg1">
              <a:lumMod val="95000"/>
            </a:schemeClr>
          </a:solidFill>
        </p:spPr>
        <p:txBody>
          <a:bodyPr wrap="square">
            <a:spAutoFit/>
          </a:bodyPr>
          <a:lstStyle/>
          <a:p>
            <a:r>
              <a:rPr kumimoji="0" lang="en-US" altLang="ja-JP" sz="1600" kern="0" dirty="0">
                <a:solidFill>
                  <a:srgbClr val="000000"/>
                </a:solidFill>
                <a:latin typeface="Meiryo UI"/>
                <a:ea typeface="Meiryo UI"/>
                <a:cs typeface="+mj-cs"/>
              </a:rPr>
              <a:t>【2025</a:t>
            </a:r>
            <a:r>
              <a:rPr kumimoji="0" lang="ja-JP" altLang="en-US" sz="1600" kern="0" dirty="0">
                <a:solidFill>
                  <a:srgbClr val="000000"/>
                </a:solidFill>
                <a:latin typeface="Meiryo UI"/>
                <a:ea typeface="Meiryo UI"/>
                <a:cs typeface="+mj-cs"/>
              </a:rPr>
              <a:t>年</a:t>
            </a:r>
            <a:r>
              <a:rPr kumimoji="0" lang="en-US" altLang="ja-JP" sz="1600" kern="0" dirty="0">
                <a:solidFill>
                  <a:srgbClr val="000000"/>
                </a:solidFill>
                <a:latin typeface="Meiryo UI"/>
                <a:ea typeface="Meiryo UI"/>
                <a:cs typeface="+mj-cs"/>
              </a:rPr>
              <a:t>3</a:t>
            </a:r>
            <a:r>
              <a:rPr kumimoji="0" lang="ja-JP" altLang="en-US" sz="1600" kern="0" dirty="0">
                <a:solidFill>
                  <a:srgbClr val="000000"/>
                </a:solidFill>
                <a:latin typeface="Meiryo UI"/>
                <a:ea typeface="Meiryo UI"/>
                <a:cs typeface="+mj-cs"/>
              </a:rPr>
              <a:t>月時点での生涯意見</a:t>
            </a:r>
            <a:r>
              <a:rPr kumimoji="0" lang="en-US" altLang="ja-JP" sz="1600" kern="0" dirty="0">
                <a:solidFill>
                  <a:srgbClr val="000000"/>
                </a:solidFill>
                <a:latin typeface="Meiryo UI"/>
                <a:ea typeface="Meiryo UI"/>
                <a:cs typeface="+mj-cs"/>
              </a:rPr>
              <a:t>】</a:t>
            </a:r>
          </a:p>
          <a:p>
            <a:r>
              <a:rPr kumimoji="0" lang="ja-JP" altLang="en-US" sz="1600" kern="0" dirty="0">
                <a:solidFill>
                  <a:srgbClr val="000000"/>
                </a:solidFill>
                <a:latin typeface="Meiryo UI"/>
                <a:ea typeface="Meiryo UI"/>
                <a:cs typeface="+mj-cs"/>
              </a:rPr>
              <a:t>「</a:t>
            </a:r>
            <a:r>
              <a:rPr kumimoji="0" lang="ja-JP" altLang="en-US" sz="1600" kern="0" dirty="0">
                <a:solidFill>
                  <a:srgbClr val="000000"/>
                </a:solidFill>
                <a:latin typeface="Meiryo UI"/>
                <a:ea typeface="Meiryo UI"/>
                <a:cs typeface="+mj-cs"/>
                <a:sym typeface="Meiryo UI" panose="020B0604030504040204" pitchFamily="50" charset="-128"/>
              </a:rPr>
              <a:t>バディのヒントの画面でツールをお気に入り追加する→デジ棚を起動したときにデジ棚のお気に入り欄に該当のツールが登録されている＋バディからの連携があったことがわかるサインが立つことで、バディの</a:t>
            </a:r>
            <a:r>
              <a:rPr kumimoji="0" lang="ja-JP" altLang="en-US" sz="1600" kern="0" dirty="0">
                <a:solidFill>
                  <a:srgbClr val="000000"/>
                </a:solidFill>
                <a:latin typeface="Meiryo UI"/>
                <a:ea typeface="Meiryo UI"/>
                <a:cs typeface="+mj-cs"/>
              </a:rPr>
              <a:t>ヒント画面に遷移しなくても、バディから抽出されたツールのおすすめ理由を</a:t>
            </a:r>
            <a:r>
              <a:rPr kumimoji="0" lang="en-US" altLang="ja-JP" sz="1600" kern="0" dirty="0">
                <a:solidFill>
                  <a:srgbClr val="000000"/>
                </a:solidFill>
                <a:latin typeface="Meiryo UI"/>
                <a:ea typeface="Meiryo UI"/>
                <a:cs typeface="+mj-cs"/>
              </a:rPr>
              <a:t>API</a:t>
            </a:r>
            <a:r>
              <a:rPr kumimoji="0" lang="ja-JP" altLang="en-US" sz="1600" kern="0" dirty="0">
                <a:solidFill>
                  <a:srgbClr val="000000"/>
                </a:solidFill>
                <a:latin typeface="Meiryo UI"/>
                <a:ea typeface="Meiryo UI"/>
                <a:cs typeface="+mj-cs"/>
              </a:rPr>
              <a:t>で引っ張ってきて、デジ棚側の</a:t>
            </a:r>
            <a:r>
              <a:rPr kumimoji="0" lang="en-US" altLang="ja-JP" sz="1600" kern="0" dirty="0">
                <a:solidFill>
                  <a:srgbClr val="000000"/>
                </a:solidFill>
                <a:latin typeface="Meiryo UI"/>
                <a:ea typeface="Meiryo UI"/>
                <a:cs typeface="+mj-cs"/>
              </a:rPr>
              <a:t>UI</a:t>
            </a:r>
            <a:r>
              <a:rPr kumimoji="0" lang="ja-JP" altLang="en-US" sz="1600" kern="0" dirty="0">
                <a:solidFill>
                  <a:srgbClr val="000000"/>
                </a:solidFill>
                <a:latin typeface="Meiryo UI"/>
                <a:ea typeface="Meiryo UI"/>
                <a:cs typeface="+mj-cs"/>
              </a:rPr>
              <a:t>上で表示させれるのが望ましい。</a:t>
            </a:r>
          </a:p>
        </p:txBody>
      </p:sp>
      <p:sp>
        <p:nvSpPr>
          <p:cNvPr id="15" name="タイトル 1">
            <a:extLst>
              <a:ext uri="{FF2B5EF4-FFF2-40B4-BE49-F238E27FC236}">
                <a16:creationId xmlns:a16="http://schemas.microsoft.com/office/drawing/2014/main" id="{8952D9B8-F8AC-5CDA-39CE-800BF7D036CE}"/>
              </a:ext>
            </a:extLst>
          </p:cNvPr>
          <p:cNvSpPr txBox="1">
            <a:spLocks/>
          </p:cNvSpPr>
          <p:nvPr/>
        </p:nvSpPr>
        <p:spPr>
          <a:xfrm>
            <a:off x="428717" y="3333525"/>
            <a:ext cx="467246" cy="2337132"/>
          </a:xfrm>
          <a:prstGeom prst="rect">
            <a:avLst/>
          </a:prstGeom>
          <a:solidFill>
            <a:srgbClr val="4F81BD">
              <a:lumMod val="60000"/>
              <a:lumOff val="40000"/>
            </a:srgbClr>
          </a:solidFill>
        </p:spPr>
        <p:txBody>
          <a:bodyPr vert="eaVert" anchor="ctr">
            <a:noAutofit/>
          </a:bodyPr>
          <a:lstStyle>
            <a:lvl1pPr algn="l" defTabSz="1219170" rtl="0" eaLnBrk="1" latinLnBrk="0" hangingPunct="1">
              <a:lnSpc>
                <a:spcPct val="100000"/>
              </a:lnSpc>
              <a:spcBef>
                <a:spcPct val="0"/>
              </a:spcBef>
              <a:buNone/>
              <a:defRPr kumimoji="1" sz="2400" kern="1200">
                <a:solidFill>
                  <a:schemeClr val="tx1"/>
                </a:solidFill>
                <a:latin typeface="Meiryo UI" panose="020B0604030504040204" pitchFamily="50" charset="-128"/>
                <a:ea typeface="Meiryo UI" panose="020B0604030504040204" pitchFamily="50" charset="-128"/>
                <a:cs typeface="+mj-cs"/>
              </a:defRPr>
            </a:lvl1pPr>
          </a:lstStyle>
          <a:p>
            <a:pPr marL="0" marR="0" lvl="0" indent="0" algn="ctr" defTabSz="1219170" rtl="0" eaLnBrk="1" fontAlgn="auto" latinLnBrk="0" hangingPunct="1">
              <a:lnSpc>
                <a:spcPct val="100000"/>
              </a:lnSpc>
              <a:spcBef>
                <a:spcPct val="0"/>
              </a:spcBef>
              <a:spcAft>
                <a:spcPts val="0"/>
              </a:spcAft>
              <a:buClrTx/>
              <a:buSzTx/>
              <a:buFontTx/>
              <a:buNone/>
              <a:tabLst/>
              <a:defRPr/>
            </a:pPr>
            <a:r>
              <a:rPr lang="en-US" altLang="ja-JP" sz="1800" dirty="0">
                <a:solidFill>
                  <a:srgbClr val="282828"/>
                </a:solidFill>
              </a:rPr>
              <a:t>Before</a:t>
            </a:r>
            <a:endParaRPr kumimoji="1" lang="en-US" altLang="ja-JP" sz="1800" b="0" i="0" u="none" strike="noStrike" kern="1200" cap="none" spc="0" normalizeH="0" baseline="0" noProof="0" dirty="0">
              <a:ln>
                <a:noFill/>
              </a:ln>
              <a:solidFill>
                <a:srgbClr val="282828"/>
              </a:solidFill>
              <a:effectLst/>
              <a:uLnTx/>
              <a:uFillTx/>
              <a:latin typeface="Meiryo UI" panose="020B0604030504040204" pitchFamily="50" charset="-128"/>
              <a:ea typeface="Meiryo UI" panose="020B0604030504040204" pitchFamily="50" charset="-128"/>
              <a:cs typeface="+mj-cs"/>
            </a:endParaRPr>
          </a:p>
        </p:txBody>
      </p:sp>
      <p:sp>
        <p:nvSpPr>
          <p:cNvPr id="16" name="タイトル 1">
            <a:extLst>
              <a:ext uri="{FF2B5EF4-FFF2-40B4-BE49-F238E27FC236}">
                <a16:creationId xmlns:a16="http://schemas.microsoft.com/office/drawing/2014/main" id="{C528B82D-C8B1-0C52-FBF7-AE3D9E6CEE0A}"/>
              </a:ext>
            </a:extLst>
          </p:cNvPr>
          <p:cNvSpPr txBox="1">
            <a:spLocks/>
          </p:cNvSpPr>
          <p:nvPr/>
        </p:nvSpPr>
        <p:spPr>
          <a:xfrm>
            <a:off x="7069153" y="3312230"/>
            <a:ext cx="467246" cy="2323689"/>
          </a:xfrm>
          <a:prstGeom prst="rect">
            <a:avLst/>
          </a:prstGeom>
          <a:solidFill>
            <a:srgbClr val="C0504D">
              <a:lumMod val="60000"/>
              <a:lumOff val="40000"/>
            </a:srgbClr>
          </a:solidFill>
        </p:spPr>
        <p:txBody>
          <a:bodyPr vert="eaVert" anchor="ctr">
            <a:noAutofit/>
          </a:bodyPr>
          <a:lstStyle>
            <a:lvl1pPr algn="l" defTabSz="1219170" rtl="0" eaLnBrk="1" latinLnBrk="0" hangingPunct="1">
              <a:lnSpc>
                <a:spcPct val="100000"/>
              </a:lnSpc>
              <a:spcBef>
                <a:spcPct val="0"/>
              </a:spcBef>
              <a:buNone/>
              <a:defRPr kumimoji="1" sz="2400" kern="1200">
                <a:solidFill>
                  <a:schemeClr val="tx1"/>
                </a:solidFill>
                <a:latin typeface="Meiryo UI" panose="020B0604030504040204" pitchFamily="50" charset="-128"/>
                <a:ea typeface="Meiryo UI" panose="020B0604030504040204" pitchFamily="50" charset="-128"/>
                <a:cs typeface="+mj-cs"/>
              </a:defRPr>
            </a:lvl1pPr>
          </a:lstStyle>
          <a:p>
            <a:pPr marL="0" marR="0" lvl="0" indent="0" algn="ctr" defTabSz="1219170" rtl="0" eaLnBrk="1" fontAlgn="auto" latinLnBrk="0" hangingPunct="1">
              <a:lnSpc>
                <a:spcPct val="100000"/>
              </a:lnSpc>
              <a:spcBef>
                <a:spcPct val="0"/>
              </a:spcBef>
              <a:spcAft>
                <a:spcPts val="0"/>
              </a:spcAft>
              <a:buClrTx/>
              <a:buSzTx/>
              <a:buFontTx/>
              <a:buNone/>
              <a:tabLst/>
              <a:defRPr/>
            </a:pPr>
            <a:r>
              <a:rPr lang="en-US" altLang="ja-JP" sz="1800" dirty="0">
                <a:solidFill>
                  <a:srgbClr val="282828"/>
                </a:solidFill>
              </a:rPr>
              <a:t>After</a:t>
            </a:r>
            <a:endParaRPr kumimoji="1" lang="en-US" altLang="ja-JP" sz="1800" b="0" i="0" u="none" strike="noStrike" kern="1200" cap="none" spc="0" normalizeH="0" baseline="0" noProof="0" dirty="0">
              <a:ln>
                <a:noFill/>
              </a:ln>
              <a:solidFill>
                <a:srgbClr val="282828"/>
              </a:solidFill>
              <a:effectLst/>
              <a:uLnTx/>
              <a:uFillTx/>
              <a:latin typeface="Meiryo UI" panose="020B0604030504040204" pitchFamily="50" charset="-128"/>
              <a:ea typeface="Meiryo UI" panose="020B0604030504040204" pitchFamily="50" charset="-128"/>
              <a:cs typeface="+mj-cs"/>
            </a:endParaRPr>
          </a:p>
        </p:txBody>
      </p:sp>
      <p:pic>
        <p:nvPicPr>
          <p:cNvPr id="18" name="図 17">
            <a:extLst>
              <a:ext uri="{FF2B5EF4-FFF2-40B4-BE49-F238E27FC236}">
                <a16:creationId xmlns:a16="http://schemas.microsoft.com/office/drawing/2014/main" id="{22EE88F0-009C-300D-4D1C-23E018C3BDAB}"/>
              </a:ext>
            </a:extLst>
          </p:cNvPr>
          <p:cNvPicPr>
            <a:picLocks noChangeAspect="1"/>
          </p:cNvPicPr>
          <p:nvPr/>
        </p:nvPicPr>
        <p:blipFill>
          <a:blip r:embed="rId2"/>
          <a:stretch>
            <a:fillRect/>
          </a:stretch>
        </p:blipFill>
        <p:spPr>
          <a:xfrm>
            <a:off x="1387312" y="4218507"/>
            <a:ext cx="2967868" cy="1417413"/>
          </a:xfrm>
          <a:prstGeom prst="rect">
            <a:avLst/>
          </a:prstGeom>
        </p:spPr>
      </p:pic>
      <p:pic>
        <p:nvPicPr>
          <p:cNvPr id="1028" name="Picture 4">
            <a:extLst>
              <a:ext uri="{FF2B5EF4-FFF2-40B4-BE49-F238E27FC236}">
                <a16:creationId xmlns:a16="http://schemas.microsoft.com/office/drawing/2014/main" id="{05DCA4E0-A339-0588-5C0F-4BA0C32FBD2B}"/>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778048" y="3983736"/>
            <a:ext cx="2612626" cy="904876"/>
          </a:xfrm>
          <a:prstGeom prst="rect">
            <a:avLst/>
          </a:prstGeom>
          <a:noFill/>
          <a:ln>
            <a:solidFill>
              <a:schemeClr val="bg1">
                <a:lumMod val="50000"/>
              </a:schemeClr>
            </a:solidFill>
          </a:ln>
          <a:extLst>
            <a:ext uri="{909E8E84-426E-40DD-AFC4-6F175D3DCCD1}">
              <a14:hiddenFill xmlns:a14="http://schemas.microsoft.com/office/drawing/2010/main">
                <a:solidFill>
                  <a:srgbClr val="FFFFFF"/>
                </a:solidFill>
              </a14:hiddenFill>
            </a:ext>
          </a:extLst>
        </p:spPr>
      </p:pic>
      <p:sp>
        <p:nvSpPr>
          <p:cNvPr id="19" name="正方形/長方形 18">
            <a:extLst>
              <a:ext uri="{FF2B5EF4-FFF2-40B4-BE49-F238E27FC236}">
                <a16:creationId xmlns:a16="http://schemas.microsoft.com/office/drawing/2014/main" id="{9A48BE68-D22D-4D1C-6E18-38DD43400F8C}"/>
              </a:ext>
            </a:extLst>
          </p:cNvPr>
          <p:cNvSpPr/>
          <p:nvPr/>
        </p:nvSpPr>
        <p:spPr>
          <a:xfrm>
            <a:off x="1017688" y="3346968"/>
            <a:ext cx="5992546" cy="410313"/>
          </a:xfrm>
          <a:prstGeom prst="rect">
            <a:avLst/>
          </a:prstGeom>
          <a:solidFill>
            <a:schemeClr val="bg1">
              <a:lumMod val="95000"/>
            </a:schemeClr>
          </a:solidFill>
          <a:ln>
            <a:solidFill>
              <a:schemeClr val="bg1">
                <a:lumMod val="75000"/>
              </a:schemeClr>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08000" tIns="45720" rIns="91440" bIns="45720" numCol="1" spcCol="0" rtlCol="0" fromWordArt="0" anchor="t" anchorCtr="0" forceAA="0" compatLnSpc="1">
            <a:prstTxWarp prst="textNoShape">
              <a:avLst/>
            </a:prstTxWarp>
            <a:noAutofit/>
          </a:bodyPr>
          <a:lstStyle/>
          <a:p>
            <a:pPr marL="171450" marR="0" lvl="0" indent="-171450" algn="l" defTabSz="478835" rtl="0" eaLnBrk="1" fontAlgn="auto" latinLnBrk="0" hangingPunct="1">
              <a:lnSpc>
                <a:spcPct val="100000"/>
              </a:lnSpc>
              <a:spcBef>
                <a:spcPts val="0"/>
              </a:spcBef>
              <a:spcAft>
                <a:spcPts val="0"/>
              </a:spcAft>
              <a:buClrTx/>
              <a:buSzTx/>
              <a:buFont typeface="Wingdings" panose="05000000000000000000" pitchFamily="2" charset="2"/>
              <a:buChar char="u"/>
              <a:tabLst/>
              <a:defRPr/>
            </a:pPr>
            <a:r>
              <a:rPr kumimoji="1" lang="ja-JP" altLang="en-US" sz="1200" b="0" i="0"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バディの活動ヒント画面に、</a:t>
            </a:r>
            <a:r>
              <a:rPr kumimoji="1" lang="ja-JP" altLang="en-US" sz="1200" b="1" i="0"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お気に入り追加”ボタンを新設し、デジ棚の“お気に入り”と連動</a:t>
            </a:r>
            <a:endParaRPr kumimoji="1" lang="en-US" altLang="ja-JP" sz="1200" b="1" i="0"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endParaRPr>
          </a:p>
          <a:p>
            <a:pPr marL="171450" marR="0" lvl="0" indent="-171450" algn="l" defTabSz="478835" rtl="0" eaLnBrk="1" fontAlgn="auto" latinLnBrk="0" hangingPunct="1">
              <a:lnSpc>
                <a:spcPct val="100000"/>
              </a:lnSpc>
              <a:spcBef>
                <a:spcPts val="0"/>
              </a:spcBef>
              <a:spcAft>
                <a:spcPts val="0"/>
              </a:spcAft>
              <a:buClrTx/>
              <a:buSzTx/>
              <a:buFont typeface="Wingdings" panose="05000000000000000000" pitchFamily="2" charset="2"/>
              <a:buChar char="u"/>
              <a:tabLst/>
              <a:defRPr/>
            </a:pPr>
            <a:r>
              <a:rPr lang="ja-JP" altLang="en-US" sz="1200" dirty="0">
                <a:solidFill>
                  <a:srgbClr val="000000"/>
                </a:solidFill>
                <a:latin typeface="Meiryo UI" panose="020B0604030504040204" pitchFamily="50" charset="-128"/>
                <a:ea typeface="Meiryo UI" panose="020B0604030504040204" pitchFamily="50" charset="-128"/>
              </a:rPr>
              <a:t>連動後、</a:t>
            </a:r>
            <a:r>
              <a:rPr lang="ja-JP" altLang="en-US" sz="1200" b="1" dirty="0">
                <a:solidFill>
                  <a:srgbClr val="000000"/>
                </a:solidFill>
                <a:latin typeface="Meiryo UI" panose="020B0604030504040204" pitchFamily="50" charset="-128"/>
                <a:ea typeface="Meiryo UI" panose="020B0604030504040204" pitchFamily="50" charset="-128"/>
              </a:rPr>
              <a:t>デジ棚の画面上で特定のお客さまに向けた、おすすめ理由等が表示</a:t>
            </a:r>
            <a:r>
              <a:rPr lang="ja-JP" altLang="en-US" sz="1200" dirty="0">
                <a:solidFill>
                  <a:srgbClr val="000000"/>
                </a:solidFill>
                <a:latin typeface="Meiryo UI" panose="020B0604030504040204" pitchFamily="50" charset="-128"/>
                <a:ea typeface="Meiryo UI" panose="020B0604030504040204" pitchFamily="50" charset="-128"/>
              </a:rPr>
              <a:t>される。</a:t>
            </a:r>
            <a:endParaRPr lang="en-US" altLang="ja-JP" sz="1200" dirty="0">
              <a:solidFill>
                <a:srgbClr val="000000"/>
              </a:solidFill>
              <a:latin typeface="Meiryo UI" panose="020B0604030504040204" pitchFamily="50" charset="-128"/>
              <a:ea typeface="Meiryo UI" panose="020B0604030504040204" pitchFamily="50" charset="-128"/>
            </a:endParaRPr>
          </a:p>
        </p:txBody>
      </p:sp>
      <p:sp>
        <p:nvSpPr>
          <p:cNvPr id="20" name="吹き出し: 四角形 19">
            <a:extLst>
              <a:ext uri="{FF2B5EF4-FFF2-40B4-BE49-F238E27FC236}">
                <a16:creationId xmlns:a16="http://schemas.microsoft.com/office/drawing/2014/main" id="{48723045-673A-212A-10C4-6ADFE43A197D}"/>
              </a:ext>
            </a:extLst>
          </p:cNvPr>
          <p:cNvSpPr/>
          <p:nvPr/>
        </p:nvSpPr>
        <p:spPr>
          <a:xfrm>
            <a:off x="3778047" y="3983735"/>
            <a:ext cx="2612626" cy="904875"/>
          </a:xfrm>
          <a:prstGeom prst="wedgeRectCallout">
            <a:avLst>
              <a:gd name="adj1" fmla="val -37377"/>
              <a:gd name="adj2" fmla="val 70573"/>
            </a:avLst>
          </a:prstGeom>
          <a:noFill/>
          <a:ln w="19050">
            <a:solidFill>
              <a:schemeClr val="tx2"/>
            </a:solidFill>
            <a:prstDash val="soli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ja-JP" altLang="en-US" sz="1100" dirty="0">
              <a:solidFill>
                <a:srgbClr val="000000"/>
              </a:solidFill>
              <a:latin typeface="Meiryo UI" panose="020B0604030504040204" pitchFamily="50" charset="-128"/>
              <a:ea typeface="Meiryo UI" panose="020B0604030504040204" pitchFamily="50" charset="-128"/>
            </a:endParaRPr>
          </a:p>
        </p:txBody>
      </p:sp>
      <p:pic>
        <p:nvPicPr>
          <p:cNvPr id="21" name="図 20">
            <a:extLst>
              <a:ext uri="{FF2B5EF4-FFF2-40B4-BE49-F238E27FC236}">
                <a16:creationId xmlns:a16="http://schemas.microsoft.com/office/drawing/2014/main" id="{D6A98FBE-94CA-0713-DBAB-B1A1F832827D}"/>
              </a:ext>
            </a:extLst>
          </p:cNvPr>
          <p:cNvPicPr>
            <a:picLocks noChangeAspect="1"/>
          </p:cNvPicPr>
          <p:nvPr/>
        </p:nvPicPr>
        <p:blipFill>
          <a:blip r:embed="rId2"/>
          <a:stretch>
            <a:fillRect/>
          </a:stretch>
        </p:blipFill>
        <p:spPr>
          <a:xfrm>
            <a:off x="8135672" y="3965840"/>
            <a:ext cx="3427012" cy="1636694"/>
          </a:xfrm>
          <a:prstGeom prst="rect">
            <a:avLst/>
          </a:prstGeom>
        </p:spPr>
      </p:pic>
      <p:sp>
        <p:nvSpPr>
          <p:cNvPr id="22" name="正方形/長方形 21">
            <a:extLst>
              <a:ext uri="{FF2B5EF4-FFF2-40B4-BE49-F238E27FC236}">
                <a16:creationId xmlns:a16="http://schemas.microsoft.com/office/drawing/2014/main" id="{4D7466D8-036C-32F5-A67B-9800822A9810}"/>
              </a:ext>
            </a:extLst>
          </p:cNvPr>
          <p:cNvSpPr/>
          <p:nvPr/>
        </p:nvSpPr>
        <p:spPr>
          <a:xfrm>
            <a:off x="7689484" y="3312231"/>
            <a:ext cx="4073799" cy="445050"/>
          </a:xfrm>
          <a:prstGeom prst="rect">
            <a:avLst/>
          </a:prstGeom>
          <a:solidFill>
            <a:schemeClr val="bg1">
              <a:lumMod val="95000"/>
            </a:schemeClr>
          </a:solidFill>
          <a:ln>
            <a:solidFill>
              <a:schemeClr val="bg1">
                <a:lumMod val="75000"/>
              </a:schemeClr>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08000" tIns="45720" rIns="91440" bIns="45720" numCol="1" spcCol="0" rtlCol="0" fromWordArt="0" anchor="t" anchorCtr="0" forceAA="0" compatLnSpc="1">
            <a:prstTxWarp prst="textNoShape">
              <a:avLst/>
            </a:prstTxWarp>
            <a:noAutofit/>
          </a:bodyPr>
          <a:lstStyle/>
          <a:p>
            <a:pPr marL="171450" marR="0" lvl="0" indent="-171450" algn="l" defTabSz="478835" rtl="0" eaLnBrk="1" fontAlgn="auto" latinLnBrk="0" hangingPunct="1">
              <a:lnSpc>
                <a:spcPct val="100000"/>
              </a:lnSpc>
              <a:spcBef>
                <a:spcPts val="0"/>
              </a:spcBef>
              <a:spcAft>
                <a:spcPts val="0"/>
              </a:spcAft>
              <a:buClrTx/>
              <a:buSzTx/>
              <a:buFont typeface="Wingdings" panose="05000000000000000000" pitchFamily="2" charset="2"/>
              <a:buChar char="u"/>
              <a:tabLst/>
              <a:defRPr/>
            </a:pPr>
            <a:r>
              <a:rPr kumimoji="1" lang="ja-JP" altLang="en-US" sz="1200" b="0" i="0"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バディの活動ヒント画面に、</a:t>
            </a:r>
            <a:r>
              <a:rPr kumimoji="1" lang="ja-JP" altLang="en-US" sz="1200" b="1" i="0"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お気に入り追加”ボタンを新設し、</a:t>
            </a:r>
            <a:endParaRPr kumimoji="1" lang="en-US" altLang="ja-JP" sz="1200" b="1" i="0"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endParaRPr>
          </a:p>
          <a:p>
            <a:pPr marL="0" marR="0" lvl="0" indent="0" algn="l" defTabSz="478835" rtl="0" eaLnBrk="1" fontAlgn="auto" latinLnBrk="0" hangingPunct="1">
              <a:lnSpc>
                <a:spcPct val="100000"/>
              </a:lnSpc>
              <a:spcBef>
                <a:spcPts val="0"/>
              </a:spcBef>
              <a:spcAft>
                <a:spcPts val="0"/>
              </a:spcAft>
              <a:buClrTx/>
              <a:buSzTx/>
              <a:buFontTx/>
              <a:buNone/>
              <a:tabLst/>
              <a:defRPr/>
            </a:pPr>
            <a:r>
              <a:rPr kumimoji="1" lang="ja-JP" altLang="en-US" sz="1200" b="1" i="0"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デジ棚の“お気に入り”と連動</a:t>
            </a:r>
            <a:endParaRPr kumimoji="1" lang="en-US" altLang="ja-JP" sz="1200" b="1" i="0"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endParaRPr>
          </a:p>
        </p:txBody>
      </p:sp>
    </p:spTree>
    <p:extLst>
      <p:ext uri="{BB962C8B-B14F-4D97-AF65-F5344CB8AC3E}">
        <p14:creationId xmlns:p14="http://schemas.microsoft.com/office/powerpoint/2010/main" val="397005120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9VwuOP2HpTJbffejdOOn0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q8jISDSg4fehLREnD2m2j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vTa_F_Pypxfrxu0CweyvQ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911_dl_template">
  <a:themeElements>
    <a:clrScheme name="第一生命 スマートアート対応">
      <a:dk1>
        <a:srgbClr val="000000"/>
      </a:dk1>
      <a:lt1>
        <a:sysClr val="window" lastClr="FFFFFF"/>
      </a:lt1>
      <a:dk2>
        <a:srgbClr val="DF0010"/>
      </a:dk2>
      <a:lt2>
        <a:srgbClr val="80725A"/>
      </a:lt2>
      <a:accent1>
        <a:srgbClr val="E2DDD4"/>
      </a:accent1>
      <a:accent2>
        <a:srgbClr val="E1825E"/>
      </a:accent2>
      <a:accent3>
        <a:srgbClr val="F0C3AB"/>
      </a:accent3>
      <a:accent4>
        <a:srgbClr val="92846E"/>
      </a:accent4>
      <a:accent5>
        <a:srgbClr val="C2B7A8"/>
      </a:accent5>
      <a:accent6>
        <a:srgbClr val="E2DDD4"/>
      </a:accent6>
      <a:hlink>
        <a:srgbClr val="D189A9"/>
      </a:hlink>
      <a:folHlink>
        <a:srgbClr val="0046A9"/>
      </a:folHlink>
    </a:clrScheme>
    <a:fontScheme name="Meiryo UI">
      <a:majorFont>
        <a:latin typeface="Calibri"/>
        <a:ea typeface="Meiryo UI"/>
        <a:cs typeface=""/>
      </a:majorFont>
      <a:minorFont>
        <a:latin typeface="Calibri"/>
        <a:ea typeface="Meiryo UI"/>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6"/>
        </a:solidFill>
        <a:ln>
          <a:noFill/>
        </a:ln>
        <a:effec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kumimoji="1" dirty="0" smtClean="0">
            <a:solidFill>
              <a:schemeClr val="tx1"/>
            </a:solidFill>
          </a:defRPr>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txDef>
      <a:spPr>
        <a:noFill/>
      </a:spPr>
      <a:bodyPr wrap="square" rtlCol="0">
        <a:spAutoFit/>
      </a:bodyPr>
      <a:lstStyle>
        <a:defPPr>
          <a:defRPr kumimoji="1" dirty="0" smtClean="0"/>
        </a:defPPr>
      </a:lstStyle>
    </a:txDef>
  </a:objectDefaults>
  <a:extraClrSchemeLst/>
</a:theme>
</file>

<file path=ppt/theme/theme10.xml><?xml version="1.0" encoding="utf-8"?>
<a:theme xmlns:a="http://schemas.openxmlformats.org/drawingml/2006/main" name="7_その他カラー（社内使用限定）">
  <a:themeElements>
    <a:clrScheme name="ユーザー設定 1">
      <a:dk1>
        <a:srgbClr val="000000"/>
      </a:dk1>
      <a:lt1>
        <a:sysClr val="window" lastClr="FFFFFF"/>
      </a:lt1>
      <a:dk2>
        <a:srgbClr val="DF0010"/>
      </a:dk2>
      <a:lt2>
        <a:srgbClr val="80725A"/>
      </a:lt2>
      <a:accent1>
        <a:srgbClr val="F0C3AB"/>
      </a:accent1>
      <a:accent2>
        <a:srgbClr val="C2B7A8"/>
      </a:accent2>
      <a:accent3>
        <a:srgbClr val="5D9784"/>
      </a:accent3>
      <a:accent4>
        <a:srgbClr val="35719B"/>
      </a:accent4>
      <a:accent5>
        <a:srgbClr val="6DB3D4"/>
      </a:accent5>
      <a:accent6>
        <a:srgbClr val="9A789B"/>
      </a:accent6>
      <a:hlink>
        <a:srgbClr val="D189A9"/>
      </a:hlink>
      <a:folHlink>
        <a:srgbClr val="0046A9"/>
      </a:folHlink>
    </a:clrScheme>
    <a:fontScheme name="ユーザー定義 1">
      <a:majorFont>
        <a:latin typeface="BIZ UDPゴシック"/>
        <a:ea typeface="BIZ UDPゴシック"/>
        <a:cs typeface=""/>
      </a:majorFont>
      <a:minorFont>
        <a:latin typeface="Meiryo UI"/>
        <a:ea typeface="Meiryo UI"/>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rtlCol="0" anchor="ctr"/>
      <a:lstStyle>
        <a:defPPr algn="ctr">
          <a:defRPr kumimoji="1"/>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1.xml><?xml version="1.0" encoding="utf-8"?>
<a:theme xmlns:a="http://schemas.openxmlformats.org/drawingml/2006/main" name="ホワイト">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2.xml><?xml version="1.0" encoding="utf-8"?>
<a:theme xmlns:a="http://schemas.openxmlformats.org/drawingml/2006/main" name="ホワイト">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ウォームグレー30％">
  <a:themeElements>
    <a:clrScheme name="DLテスト">
      <a:dk1>
        <a:srgbClr val="000000"/>
      </a:dk1>
      <a:lt1>
        <a:sysClr val="window" lastClr="FFFFFF"/>
      </a:lt1>
      <a:dk2>
        <a:srgbClr val="DF0010"/>
      </a:dk2>
      <a:lt2>
        <a:srgbClr val="80725A"/>
      </a:lt2>
      <a:accent1>
        <a:srgbClr val="E1825E"/>
      </a:accent1>
      <a:accent2>
        <a:srgbClr val="F0C3AB"/>
      </a:accent2>
      <a:accent3>
        <a:srgbClr val="C2B7A8"/>
      </a:accent3>
      <a:accent4>
        <a:srgbClr val="E2DDD4"/>
      </a:accent4>
      <a:accent5>
        <a:srgbClr val="D59533"/>
      </a:accent5>
      <a:accent6>
        <a:srgbClr val="DBBD36"/>
      </a:accent6>
      <a:hlink>
        <a:srgbClr val="A8416E"/>
      </a:hlink>
      <a:folHlink>
        <a:srgbClr val="605343"/>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913_dl_template">
  <a:themeElements>
    <a:clrScheme name="第一生命 スマートアート対応">
      <a:dk1>
        <a:srgbClr val="000000"/>
      </a:dk1>
      <a:lt1>
        <a:sysClr val="window" lastClr="FFFFFF"/>
      </a:lt1>
      <a:dk2>
        <a:srgbClr val="DF0010"/>
      </a:dk2>
      <a:lt2>
        <a:srgbClr val="80725A"/>
      </a:lt2>
      <a:accent1>
        <a:srgbClr val="E2DDD4"/>
      </a:accent1>
      <a:accent2>
        <a:srgbClr val="E1825E"/>
      </a:accent2>
      <a:accent3>
        <a:srgbClr val="F0C3AB"/>
      </a:accent3>
      <a:accent4>
        <a:srgbClr val="92846E"/>
      </a:accent4>
      <a:accent5>
        <a:srgbClr val="C2B7A8"/>
      </a:accent5>
      <a:accent6>
        <a:srgbClr val="E2DDD4"/>
      </a:accent6>
      <a:hlink>
        <a:srgbClr val="D189A9"/>
      </a:hlink>
      <a:folHlink>
        <a:srgbClr val="0046A9"/>
      </a:folHlink>
    </a:clrScheme>
    <a:fontScheme name="new">
      <a:majorFont>
        <a:latin typeface="Arial Unicode MS"/>
        <a:ea typeface="ＭＳ Ｐゴシック"/>
        <a:cs typeface=""/>
      </a:majorFont>
      <a:minorFont>
        <a:latin typeface="Arial Unicode MS"/>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6"/>
        </a:solidFill>
        <a:ln>
          <a:noFill/>
        </a:ln>
        <a:effec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kumimoji="1" dirty="0" smtClean="0">
            <a:solidFill>
              <a:schemeClr val="tx1"/>
            </a:solidFill>
          </a:defRPr>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txDef>
      <a:spPr>
        <a:noFill/>
      </a:spPr>
      <a:bodyPr wrap="square" rtlCol="0">
        <a:spAutoFit/>
      </a:bodyPr>
      <a:lstStyle>
        <a:defPPr>
          <a:defRPr kumimoji="1" dirty="0" smtClean="0"/>
        </a:defPPr>
      </a:lstStyle>
    </a:txDef>
  </a:objectDefaults>
  <a:extraClrSchemeLst/>
</a:theme>
</file>

<file path=ppt/theme/theme4.xml><?xml version="1.0" encoding="utf-8"?>
<a:theme xmlns:a="http://schemas.openxmlformats.org/drawingml/2006/main" name="912_dl_template">
  <a:themeElements>
    <a:clrScheme name="第一生命 スマートアート対応">
      <a:dk1>
        <a:srgbClr val="000000"/>
      </a:dk1>
      <a:lt1>
        <a:sysClr val="window" lastClr="FFFFFF"/>
      </a:lt1>
      <a:dk2>
        <a:srgbClr val="DF0010"/>
      </a:dk2>
      <a:lt2>
        <a:srgbClr val="80725A"/>
      </a:lt2>
      <a:accent1>
        <a:srgbClr val="E2DDD4"/>
      </a:accent1>
      <a:accent2>
        <a:srgbClr val="E1825E"/>
      </a:accent2>
      <a:accent3>
        <a:srgbClr val="F0C3AB"/>
      </a:accent3>
      <a:accent4>
        <a:srgbClr val="92846E"/>
      </a:accent4>
      <a:accent5>
        <a:srgbClr val="C2B7A8"/>
      </a:accent5>
      <a:accent6>
        <a:srgbClr val="E2DDD4"/>
      </a:accent6>
      <a:hlink>
        <a:srgbClr val="D189A9"/>
      </a:hlink>
      <a:folHlink>
        <a:srgbClr val="0046A9"/>
      </a:folHlink>
    </a:clrScheme>
    <a:fontScheme name="new">
      <a:majorFont>
        <a:latin typeface="Arial Unicode MS"/>
        <a:ea typeface="ＭＳ Ｐゴシック"/>
        <a:cs typeface=""/>
      </a:majorFont>
      <a:minorFont>
        <a:latin typeface="Arial Unicode MS"/>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6"/>
        </a:solidFill>
        <a:ln>
          <a:noFill/>
        </a:ln>
        <a:effec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kumimoji="1" dirty="0" smtClean="0">
            <a:solidFill>
              <a:schemeClr val="tx1"/>
            </a:solidFill>
          </a:defRPr>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txDef>
      <a:spPr>
        <a:noFill/>
      </a:spPr>
      <a:bodyPr wrap="square" rtlCol="0">
        <a:spAutoFit/>
      </a:bodyPr>
      <a:lstStyle>
        <a:defPPr>
          <a:defRPr kumimoji="1" dirty="0" smtClean="0"/>
        </a:defPPr>
      </a:lstStyle>
    </a:txDef>
  </a:objectDefaults>
  <a:extraClrSchemeLst/>
</a:theme>
</file>

<file path=ppt/theme/theme5.xml><?xml version="1.0" encoding="utf-8"?>
<a:theme xmlns:a="http://schemas.openxmlformats.org/drawingml/2006/main" name="914_dl_template">
  <a:themeElements>
    <a:clrScheme name="第一生命 スマートアート対応">
      <a:dk1>
        <a:srgbClr val="000000"/>
      </a:dk1>
      <a:lt1>
        <a:sysClr val="window" lastClr="FFFFFF"/>
      </a:lt1>
      <a:dk2>
        <a:srgbClr val="DF0010"/>
      </a:dk2>
      <a:lt2>
        <a:srgbClr val="80725A"/>
      </a:lt2>
      <a:accent1>
        <a:srgbClr val="E2DDD4"/>
      </a:accent1>
      <a:accent2>
        <a:srgbClr val="E1825E"/>
      </a:accent2>
      <a:accent3>
        <a:srgbClr val="F0C3AB"/>
      </a:accent3>
      <a:accent4>
        <a:srgbClr val="92846E"/>
      </a:accent4>
      <a:accent5>
        <a:srgbClr val="C2B7A8"/>
      </a:accent5>
      <a:accent6>
        <a:srgbClr val="E2DDD4"/>
      </a:accent6>
      <a:hlink>
        <a:srgbClr val="D189A9"/>
      </a:hlink>
      <a:folHlink>
        <a:srgbClr val="0046A9"/>
      </a:folHlink>
    </a:clrScheme>
    <a:fontScheme name="new">
      <a:majorFont>
        <a:latin typeface="Arial Unicode MS"/>
        <a:ea typeface="ＭＳ Ｐゴシック"/>
        <a:cs typeface=""/>
      </a:majorFont>
      <a:minorFont>
        <a:latin typeface="Arial Unicode MS"/>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a:solidFill>
            <a:schemeClr val="tx1"/>
          </a:solidFill>
        </a:ln>
        <a:effec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000" b="1" dirty="0" smtClean="0">
            <a:solidFill>
              <a:schemeClr val="tx1"/>
            </a:solidFill>
            <a:latin typeface="Meiryo UI" panose="020B0604030504040204" pitchFamily="50" charset="-128"/>
            <a:ea typeface="Meiryo UI" panose="020B0604030504040204" pitchFamily="50" charset="-128"/>
          </a:defRPr>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txDef>
      <a:spPr>
        <a:noFill/>
      </a:spPr>
      <a:bodyPr wrap="square" rtlCol="0">
        <a:spAutoFit/>
      </a:bodyPr>
      <a:lstStyle>
        <a:defPPr>
          <a:defRPr kumimoji="1" dirty="0" smtClean="0"/>
        </a:defPPr>
      </a:lstStyle>
    </a:txDef>
  </a:objectDefaults>
  <a:extraClrSchemeLst/>
</a:theme>
</file>

<file path=ppt/theme/theme6.xml><?xml version="1.0" encoding="utf-8"?>
<a:theme xmlns:a="http://schemas.openxmlformats.org/drawingml/2006/main" name="3_ウォームグレー30％">
  <a:themeElements>
    <a:clrScheme name="DLテスト">
      <a:dk1>
        <a:srgbClr val="000000"/>
      </a:dk1>
      <a:lt1>
        <a:sysClr val="window" lastClr="FFFFFF"/>
      </a:lt1>
      <a:dk2>
        <a:srgbClr val="DF0010"/>
      </a:dk2>
      <a:lt2>
        <a:srgbClr val="80725A"/>
      </a:lt2>
      <a:accent1>
        <a:srgbClr val="E1825E"/>
      </a:accent1>
      <a:accent2>
        <a:srgbClr val="F0C3AB"/>
      </a:accent2>
      <a:accent3>
        <a:srgbClr val="C2B7A8"/>
      </a:accent3>
      <a:accent4>
        <a:srgbClr val="E2DDD4"/>
      </a:accent4>
      <a:accent5>
        <a:srgbClr val="D59533"/>
      </a:accent5>
      <a:accent6>
        <a:srgbClr val="DBBD36"/>
      </a:accent6>
      <a:hlink>
        <a:srgbClr val="A8416E"/>
      </a:hlink>
      <a:folHlink>
        <a:srgbClr val="605343"/>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txDef>
      <a:spPr>
        <a:solidFill>
          <a:schemeClr val="tx2">
            <a:lumMod val="20000"/>
            <a:lumOff val="80000"/>
          </a:schemeClr>
        </a:solidFill>
      </a:spPr>
      <a:bodyPr wrap="square" rtlCol="0">
        <a:spAutoFit/>
      </a:bodyPr>
      <a:lstStyle>
        <a:defPPr algn="ctr">
          <a:defRPr kumimoji="1" dirty="0" smtClean="0"/>
        </a:defPPr>
      </a:lstStyle>
    </a:txDef>
  </a:objectDefaults>
  <a:extraClrSchemeLst/>
</a:theme>
</file>

<file path=ppt/theme/theme7.xml><?xml version="1.0" encoding="utf-8"?>
<a:theme xmlns:a="http://schemas.openxmlformats.org/drawingml/2006/main" name="915_dl_template">
  <a:themeElements>
    <a:clrScheme name="第一生命 スマートアート対応">
      <a:dk1>
        <a:srgbClr val="000000"/>
      </a:dk1>
      <a:lt1>
        <a:sysClr val="window" lastClr="FFFFFF"/>
      </a:lt1>
      <a:dk2>
        <a:srgbClr val="DF0010"/>
      </a:dk2>
      <a:lt2>
        <a:srgbClr val="80725A"/>
      </a:lt2>
      <a:accent1>
        <a:srgbClr val="E2DDD4"/>
      </a:accent1>
      <a:accent2>
        <a:srgbClr val="E1825E"/>
      </a:accent2>
      <a:accent3>
        <a:srgbClr val="F0C3AB"/>
      </a:accent3>
      <a:accent4>
        <a:srgbClr val="92846E"/>
      </a:accent4>
      <a:accent5>
        <a:srgbClr val="C2B7A8"/>
      </a:accent5>
      <a:accent6>
        <a:srgbClr val="E2DDD4"/>
      </a:accent6>
      <a:hlink>
        <a:srgbClr val="D189A9"/>
      </a:hlink>
      <a:folHlink>
        <a:srgbClr val="0046A9"/>
      </a:folHlink>
    </a:clrScheme>
    <a:fontScheme name="new">
      <a:majorFont>
        <a:latin typeface="Arial Unicode MS"/>
        <a:ea typeface="ＭＳ Ｐゴシック"/>
        <a:cs typeface=""/>
      </a:majorFont>
      <a:minorFont>
        <a:latin typeface="Arial Unicode MS"/>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6"/>
        </a:solidFill>
        <a:ln>
          <a:noFill/>
        </a:ln>
        <a:effec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kumimoji="1" dirty="0" smtClean="0">
            <a:solidFill>
              <a:schemeClr val="tx1"/>
            </a:solidFill>
          </a:defRPr>
        </a:defPPr>
      </a:lstStyle>
      <a:style>
        <a:lnRef idx="1">
          <a:schemeClr val="accent1"/>
        </a:lnRef>
        <a:fillRef idx="3">
          <a:schemeClr val="accent1"/>
        </a:fillRef>
        <a:effectRef idx="2">
          <a:schemeClr val="accent1"/>
        </a:effectRef>
        <a:fontRef idx="minor">
          <a:schemeClr val="lt1"/>
        </a:fontRef>
      </a:style>
    </a:spDef>
    <a:lnDef>
      <a:spPr>
        <a:noFill/>
        <a:ln w="9525" cap="flat" cmpd="sng" algn="ctr">
          <a:solidFill>
            <a:srgbClr val="000000"/>
          </a:solidFill>
          <a:prstDash val="solid"/>
          <a:headEnd type="none" w="lg" len="med"/>
          <a:tailEnd type="none" w="lg" len="med"/>
        </a:ln>
        <a:effectLst/>
      </a:spPr>
      <a:bodyPr/>
      <a:lstStyle/>
    </a:lnDef>
    <a:txDef>
      <a:spPr>
        <a:noFill/>
      </a:spPr>
      <a:bodyPr wrap="square" rtlCol="0">
        <a:spAutoFit/>
      </a:bodyPr>
      <a:lstStyle>
        <a:defPPr>
          <a:defRPr kumimoji="1" dirty="0" smtClean="0"/>
        </a:defPPr>
      </a:lstStyle>
    </a:txDef>
  </a:objectDefaults>
  <a:extraClrSchemeLst/>
</a:theme>
</file>

<file path=ppt/theme/theme8.xml><?xml version="1.0" encoding="utf-8"?>
<a:theme xmlns:a="http://schemas.openxmlformats.org/drawingml/2006/main" name="12_ウォームグレー30％">
  <a:themeElements>
    <a:clrScheme name="DLテスト">
      <a:dk1>
        <a:srgbClr val="000000"/>
      </a:dk1>
      <a:lt1>
        <a:sysClr val="window" lastClr="FFFFFF"/>
      </a:lt1>
      <a:dk2>
        <a:srgbClr val="DF0010"/>
      </a:dk2>
      <a:lt2>
        <a:srgbClr val="80725A"/>
      </a:lt2>
      <a:accent1>
        <a:srgbClr val="E1825E"/>
      </a:accent1>
      <a:accent2>
        <a:srgbClr val="F0C3AB"/>
      </a:accent2>
      <a:accent3>
        <a:srgbClr val="C2B7A8"/>
      </a:accent3>
      <a:accent4>
        <a:srgbClr val="E2DDD4"/>
      </a:accent4>
      <a:accent5>
        <a:srgbClr val="D59533"/>
      </a:accent5>
      <a:accent6>
        <a:srgbClr val="DBBD36"/>
      </a:accent6>
      <a:hlink>
        <a:srgbClr val="A8416E"/>
      </a:hlink>
      <a:folHlink>
        <a:srgbClr val="605343"/>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lumMod val="85000"/>
          </a:schemeClr>
        </a:solidFill>
        <a:ln>
          <a:noFill/>
        </a:ln>
        <a:effectLst/>
      </a:spPr>
      <a:bodyPr lIns="36000" rIns="36000" rtlCol="0" anchor="ctr">
        <a:noAutofit/>
      </a:bodyPr>
      <a:lstStyle>
        <a:defPPr algn="ctr">
          <a:defRPr kumimoji="1" sz="1200" dirty="0" smtClean="0">
            <a:solidFill>
              <a:schemeClr val="tx1"/>
            </a:solidFill>
            <a:latin typeface="Meiryo UI" pitchFamily="50" charset="-128"/>
            <a:ea typeface="Meiryo UI" pitchFamily="50" charset="-128"/>
            <a:cs typeface="Meiryo UI" pitchFamily="50" charset="-128"/>
          </a:defRPr>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9.xml><?xml version="1.0" encoding="utf-8"?>
<a:theme xmlns:a="http://schemas.openxmlformats.org/drawingml/2006/main" name="913_dl_inner_templat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ユーザー定義 2">
      <a:majorFont>
        <a:latin typeface="Calibri"/>
        <a:ea typeface="Meiryo UI"/>
        <a:cs typeface=""/>
      </a:majorFont>
      <a:minorFont>
        <a:latin typeface="Calibri"/>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lumMod val="40000"/>
            <a:lumOff val="60000"/>
          </a:schemeClr>
        </a:solidFill>
        <a:ln>
          <a:noFill/>
        </a:ln>
        <a:effectLst/>
      </a:spPr>
      <a:bodyPr rtlCol="0" anchor="ctr"/>
      <a:lstStyle>
        <a:defPPr algn="ctr">
          <a:defRPr kumimoji="1" sz="1400">
            <a:solidFill>
              <a:schemeClr val="tx1">
                <a:lumMod val="65000"/>
                <a:lumOff val="35000"/>
              </a:schemeClr>
            </a:solidFill>
            <a:latin typeface="BIZ UDPゴシック" panose="020B0400000000000000" pitchFamily="50" charset="-128"/>
            <a:ea typeface="BIZ UDPゴシック" panose="020B0400000000000000" pitchFamily="50" charset="-128"/>
          </a:defRPr>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txDef>
      <a:spPr/>
      <a:bodyPr vert="horz" lIns="91440" tIns="45720" rIns="91440" bIns="45720" rtlCol="0" anchor="t">
        <a:noAutofit/>
      </a:bodyPr>
      <a:lstStyle>
        <a:defPPr fontAlgn="auto">
          <a:spcBef>
            <a:spcPts val="0"/>
          </a:spcBef>
          <a:spcAft>
            <a:spcPts val="0"/>
          </a:spcAft>
          <a:defRPr sz="1400" dirty="0" smtClean="0">
            <a:latin typeface="Meiryo UI" pitchFamily="50" charset="-128"/>
            <a:ea typeface="Meiryo UI" pitchFamily="50" charset="-128"/>
            <a:cs typeface="Meiryo UI" pitchFamily="50" charset="-128"/>
          </a:defRPr>
        </a:defPPr>
      </a:lstStyle>
    </a:txDef>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ドキュメント" ma:contentTypeID="0x010100C1BC663CBE90E04BBF9E2EF35670007F" ma:contentTypeVersion="10" ma:contentTypeDescription="新しいドキュメントを作成します。" ma:contentTypeScope="" ma:versionID="d1f9318ea89ed267d7d1a487cfe97ecb">
  <xsd:schema xmlns:xsd="http://www.w3.org/2001/XMLSchema" xmlns:xs="http://www.w3.org/2001/XMLSchema" xmlns:p="http://schemas.microsoft.com/office/2006/metadata/properties" xmlns:ns2="9a43e0a8-dcd6-41f9-a290-572c202f8661" xmlns:ns3="29a77b47-d302-4e94-9a2b-8181af38761d" targetNamespace="http://schemas.microsoft.com/office/2006/metadata/properties" ma:root="true" ma:fieldsID="e7da46066dfebbc867abf1840beb010f" ns2:_="" ns3:_="">
    <xsd:import namespace="9a43e0a8-dcd6-41f9-a290-572c202f8661"/>
    <xsd:import namespace="29a77b47-d302-4e94-9a2b-8181af38761d"/>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lcf76f155ced4ddcb4097134ff3c332f" minOccurs="0"/>
                <xsd:element ref="ns3:TaxCatchAll" minOccurs="0"/>
                <xsd:element ref="ns2:MediaServiceDateTaken" minOccurs="0"/>
                <xsd:element ref="ns2:MediaServiceOCR" minOccurs="0"/>
                <xsd:element ref="ns2:MediaServiceGenerationTime" minOccurs="0"/>
                <xsd:element ref="ns2: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9a43e0a8-dcd6-41f9-a290-572c202f8661"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lcf76f155ced4ddcb4097134ff3c332f" ma:index="12" nillable="true" ma:taxonomy="true" ma:internalName="lcf76f155ced4ddcb4097134ff3c332f" ma:taxonomyFieldName="MediaServiceImageTags" ma:displayName="画像タグ" ma:readOnly="false" ma:fieldId="{5cf76f15-5ced-4ddc-b409-7134ff3c332f}" ma:taxonomyMulti="true" ma:sspId="f9d5883a-5b3e-4ddf-a4a4-796123c12594" ma:termSetId="09814cd3-568e-fe90-9814-8d621ff8fb84" ma:anchorId="fba54fb3-c3e1-fe81-a776-ca4b69148c4d" ma:open="true" ma:isKeyword="false">
      <xsd:complexType>
        <xsd:sequence>
          <xsd:element ref="pc:Terms" minOccurs="0" maxOccurs="1"/>
        </xsd:sequence>
      </xsd:complexType>
    </xsd:element>
    <xsd:element name="MediaServiceDateTaken" ma:index="14" nillable="true" ma:displayName="MediaServiceDateTaken" ma:hidden="true" ma:indexed="true" ma:internalName="MediaServiceDateTaken" ma:readOnly="true">
      <xsd:simpleType>
        <xsd:restriction base="dms:Text"/>
      </xsd:simpleType>
    </xsd:element>
    <xsd:element name="MediaServiceOCR" ma:index="15" nillable="true" ma:displayName="Extracted Text" ma:internalName="MediaServiceOCR" ma:readOnly="true">
      <xsd:simpleType>
        <xsd:restriction base="dms:Note">
          <xsd:maxLength value="255"/>
        </xsd:restrictio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29a77b47-d302-4e94-9a2b-8181af38761d" elementFormDefault="qualified">
    <xsd:import namespace="http://schemas.microsoft.com/office/2006/documentManagement/types"/>
    <xsd:import namespace="http://schemas.microsoft.com/office/infopath/2007/PartnerControls"/>
    <xsd:element name="TaxCatchAll" ma:index="13" nillable="true" ma:displayName="Taxonomy Catch All Column" ma:hidden="true" ma:list="{9d42b784-1c12-4639-b04c-fb54dc49daed}" ma:internalName="TaxCatchAll" ma:showField="CatchAllData" ma:web="29a77b47-d302-4e94-9a2b-8181af38761d">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コンテンツ タイプ"/>
        <xsd:element ref="dc:title" minOccurs="0" maxOccurs="1" ma:index="4" ma:displayName="タイトル"/>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TaxCatchAll xmlns="29a77b47-d302-4e94-9a2b-8181af38761d" xsi:nil="true"/>
    <lcf76f155ced4ddcb4097134ff3c332f xmlns="9a43e0a8-dcd6-41f9-a290-572c202f8661">
      <Terms xmlns="http://schemas.microsoft.com/office/infopath/2007/PartnerControls"/>
    </lcf76f155ced4ddcb4097134ff3c332f>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E0345364-6AB9-42CD-AD57-D183533C816A}"/>
</file>

<file path=customXml/itemProps2.xml><?xml version="1.0" encoding="utf-8"?>
<ds:datastoreItem xmlns:ds="http://schemas.openxmlformats.org/officeDocument/2006/customXml" ds:itemID="{21130778-17F8-4EA5-B0FD-F2C39BB4EC59}">
  <ds:schemaRefs>
    <ds:schemaRef ds:uri="http://purl.org/dc/elements/1.1/"/>
    <ds:schemaRef ds:uri="http://schemas.microsoft.com/office/2006/metadata/properties"/>
    <ds:schemaRef ds:uri="8dfe77b0-c290-4a23-9047-c89c46071d09"/>
    <ds:schemaRef ds:uri="http://purl.org/dc/terms/"/>
    <ds:schemaRef ds:uri="http://schemas.openxmlformats.org/package/2006/metadata/core-properties"/>
    <ds:schemaRef ds:uri="1c1acb13-5018-45b9-b4e3-77591130aa23"/>
    <ds:schemaRef ds:uri="http://purl.org/dc/dcmitype/"/>
    <ds:schemaRef ds:uri="http://schemas.microsoft.com/office/2006/documentManagement/types"/>
    <ds:schemaRef ds:uri="http://schemas.microsoft.com/office/infopath/2007/PartnerControls"/>
    <ds:schemaRef ds:uri="http://www.w3.org/XML/1998/namespace"/>
  </ds:schemaRefs>
</ds:datastoreItem>
</file>

<file path=customXml/itemProps3.xml><?xml version="1.0" encoding="utf-8"?>
<ds:datastoreItem xmlns:ds="http://schemas.openxmlformats.org/officeDocument/2006/customXml" ds:itemID="{1D1F4AA5-2063-4976-B168-28785884A670}">
  <ds:schemaRefs>
    <ds:schemaRef ds:uri="http://schemas.microsoft.com/sharepoint/v3/contenttype/forms"/>
  </ds:schemaRefs>
</ds:datastoreItem>
</file>

<file path=docMetadata/LabelInfo.xml><?xml version="1.0" encoding="utf-8"?>
<clbl:labelList xmlns:clbl="http://schemas.microsoft.com/office/2020/mipLabelMetadata">
  <clbl:label id="{f42aa342-8706-4288-bd11-ebb85995028c}" enabled="1" method="Standard" siteId="{72f988bf-86f1-41af-91ab-2d7cd011db47}" contentBits="0" removed="0"/>
</clbl:labelList>
</file>

<file path=docProps/app.xml><?xml version="1.0" encoding="utf-8"?>
<Properties xmlns="http://schemas.openxmlformats.org/officeDocument/2006/extended-properties" xmlns:vt="http://schemas.openxmlformats.org/officeDocument/2006/docPropsVTypes">
  <Template/>
  <TotalTime>0</TotalTime>
  <Words>2750</Words>
  <Application>Microsoft Office PowerPoint</Application>
  <PresentationFormat>ワイド画面</PresentationFormat>
  <Paragraphs>345</Paragraphs>
  <Slides>9</Slides>
  <Notes>6</Notes>
  <HiddenSlides>0</HiddenSlides>
  <MMClips>0</MMClips>
  <ScaleCrop>false</ScaleCrop>
  <HeadingPairs>
    <vt:vector size="8" baseType="variant">
      <vt:variant>
        <vt:lpstr>使用されているフォント</vt:lpstr>
      </vt:variant>
      <vt:variant>
        <vt:i4>8</vt:i4>
      </vt:variant>
      <vt:variant>
        <vt:lpstr>テーマ</vt:lpstr>
      </vt:variant>
      <vt:variant>
        <vt:i4>10</vt:i4>
      </vt:variant>
      <vt:variant>
        <vt:lpstr>埋め込まれた OLE サーバー</vt:lpstr>
      </vt:variant>
      <vt:variant>
        <vt:i4>1</vt:i4>
      </vt:variant>
      <vt:variant>
        <vt:lpstr>スライド タイトル</vt:lpstr>
      </vt:variant>
      <vt:variant>
        <vt:i4>9</vt:i4>
      </vt:variant>
    </vt:vector>
  </HeadingPairs>
  <TitlesOfParts>
    <vt:vector size="28" baseType="lpstr">
      <vt:lpstr>Arial Unicode MS</vt:lpstr>
      <vt:lpstr>BIZ UDPゴシック</vt:lpstr>
      <vt:lpstr>Meiryo UI</vt:lpstr>
      <vt:lpstr>ＭＳ Ｐゴシック</vt:lpstr>
      <vt:lpstr>メイリオ</vt:lpstr>
      <vt:lpstr>Arial</vt:lpstr>
      <vt:lpstr>Calibri</vt:lpstr>
      <vt:lpstr>Wingdings</vt:lpstr>
      <vt:lpstr>911_dl_template</vt:lpstr>
      <vt:lpstr>ウォームグレー30％</vt:lpstr>
      <vt:lpstr>913_dl_template</vt:lpstr>
      <vt:lpstr>912_dl_template</vt:lpstr>
      <vt:lpstr>914_dl_template</vt:lpstr>
      <vt:lpstr>3_ウォームグレー30％</vt:lpstr>
      <vt:lpstr>915_dl_template</vt:lpstr>
      <vt:lpstr>12_ウォームグレー30％</vt:lpstr>
      <vt:lpstr>913_dl_inner_template</vt:lpstr>
      <vt:lpstr>7_その他カラー（社内使用限定）</vt:lpstr>
      <vt:lpstr>think-cell スライド</vt:lpstr>
      <vt:lpstr>４．【サマリ】デジタルバディとデジ棚の連携により実現すること</vt:lpstr>
      <vt:lpstr>本日のMTGを踏まえた今後のタスク</vt:lpstr>
      <vt:lpstr>新設バディカテゴリの内容最終決定について</vt:lpstr>
      <vt:lpstr>PowerPoint プレゼンテーション</vt:lpstr>
      <vt:lpstr>PowerPoint プレゼンテーション</vt:lpstr>
      <vt:lpstr>PowerPoint プレゼンテーション</vt:lpstr>
      <vt:lpstr>PowerPoint プレゼンテーション</vt:lpstr>
      <vt:lpstr>２．デジタルバディがデジ棚と連携してやりたいこと 　　バディのチラシ“お気に入り追加”によるデジ棚への連携</vt:lpstr>
      <vt:lpstr>PowerPoint プレゼンテーション</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プレゼンテーション</dc:title>
  <dc:creator>Windows ユーザー</dc:creator>
  <cp:lastModifiedBy>岡田 浩太郎</cp:lastModifiedBy>
  <cp:revision>1</cp:revision>
  <cp:lastPrinted>2016-08-26T04:59:14Z</cp:lastPrinted>
  <dcterms:created xsi:type="dcterms:W3CDTF">2014-03-06T11:35:38Z</dcterms:created>
  <dcterms:modified xsi:type="dcterms:W3CDTF">2025-04-30T08:53:1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1BC663CBE90E04BBF9E2EF35670007F</vt:lpwstr>
  </property>
  <property fmtid="{D5CDD505-2E9C-101B-9397-08002B2CF9AE}" pid="3" name="MediaServiceImageTags">
    <vt:lpwstr/>
  </property>
</Properties>
</file>